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handoutMasterIdLst>
    <p:handoutMasterId r:id="rId28"/>
  </p:handoutMasterIdLst>
  <p:sldIdLst>
    <p:sldId id="679" r:id="rId5"/>
    <p:sldId id="730" r:id="rId6"/>
    <p:sldId id="901" r:id="rId7"/>
    <p:sldId id="892" r:id="rId8"/>
    <p:sldId id="973" r:id="rId9"/>
    <p:sldId id="891" r:id="rId10"/>
    <p:sldId id="1012" r:id="rId11"/>
    <p:sldId id="893" r:id="rId12"/>
    <p:sldId id="800" r:id="rId13"/>
    <p:sldId id="974" r:id="rId14"/>
    <p:sldId id="1009" r:id="rId15"/>
    <p:sldId id="1000" r:id="rId16"/>
    <p:sldId id="1001" r:id="rId17"/>
    <p:sldId id="1002" r:id="rId18"/>
    <p:sldId id="1003" r:id="rId19"/>
    <p:sldId id="1004" r:id="rId20"/>
    <p:sldId id="1005" r:id="rId21"/>
    <p:sldId id="1006" r:id="rId22"/>
    <p:sldId id="1007" r:id="rId23"/>
    <p:sldId id="854" r:id="rId24"/>
    <p:sldId id="1010" r:id="rId25"/>
    <p:sldId id="1011" r:id="rId26"/>
  </p:sldIdLst>
  <p:sldSz cx="12190413" cy="6858000"/>
  <p:notesSz cx="6797675" cy="9928225"/>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1012"/>
            <p14:sldId id="893"/>
            <p14:sldId id="800"/>
          </p14:sldIdLst>
        </p14:section>
        <p14:section name="Presentations" id="{768534AD-7FCE-40A0-B958-E064229A2295}">
          <p14:sldIdLst>
            <p14:sldId id="974"/>
            <p14:sldId id="1009"/>
            <p14:sldId id="1000"/>
            <p14:sldId id="1001"/>
            <p14:sldId id="1002"/>
            <p14:sldId id="1003"/>
            <p14:sldId id="1004"/>
            <p14:sldId id="1005"/>
            <p14:sldId id="1006"/>
            <p14:sldId id="1007"/>
            <p14:sldId id="854"/>
            <p14:sldId id="1010"/>
            <p14:sldId id="1011"/>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9AAF8"/>
    <a:srgbClr val="0C1026"/>
    <a:srgbClr val="EEE8D5"/>
    <a:srgbClr val="002B36"/>
    <a:srgbClr val="4B4B4B"/>
    <a:srgbClr val="6D6D6D"/>
    <a:srgbClr val="2D28CD"/>
    <a:srgbClr val="FFFFFF"/>
    <a:srgbClr val="E4E4E4"/>
    <a:srgbClr val="D6D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5ACCFA-B3FA-4AE2-A82E-BBF81FEC4877}" v="720" dt="2024-10-17T11:23:09.0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03" autoAdjust="0"/>
    <p:restoredTop sz="94693" autoAdjust="0"/>
  </p:normalViewPr>
  <p:slideViewPr>
    <p:cSldViewPr snapToGrid="0" snapToObjects="1" showGuides="1">
      <p:cViewPr varScale="1">
        <p:scale>
          <a:sx n="136" d="100"/>
          <a:sy n="136" d="100"/>
        </p:scale>
        <p:origin x="132" y="630"/>
      </p:cViewPr>
      <p:guideLst>
        <p:guide orient="horz" pos="273"/>
        <p:guide orient="horz" pos="956"/>
        <p:guide orient="horz" pos="3664"/>
        <p:guide pos="340"/>
        <p:guide pos="3840"/>
        <p:guide pos="7338"/>
        <p:guide orient="horz" pos="3660"/>
        <p:guide orient="horz" pos="952"/>
        <p:guide pos="341"/>
        <p:guide pos="7337"/>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0"/>
    </p:cViewPr>
  </p:sorterViewPr>
  <p:notesViewPr>
    <p:cSldViewPr snapToGrid="0" snapToObjects="1" showGuides="1">
      <p:cViewPr varScale="1">
        <p:scale>
          <a:sx n="83" d="100"/>
          <a:sy n="83" d="100"/>
        </p:scale>
        <p:origin x="-3828" y="-78"/>
      </p:cViewPr>
      <p:guideLst>
        <p:guide orient="horz" pos="3127"/>
        <p:guide pos="2141"/>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ksrud Andreas" userId="9d9beba6-c052-407a-8599-c781a677a996" providerId="ADAL" clId="{03D60686-C1EE-406E-9930-E5E8C04507EA}"/>
    <pc:docChg chg="undo redo custSel addSld delSld modSld modSection">
      <pc:chgData name="Koksrud Andreas" userId="9d9beba6-c052-407a-8599-c781a677a996" providerId="ADAL" clId="{03D60686-C1EE-406E-9930-E5E8C04507EA}" dt="2022-10-12T19:24:40.890" v="123" actId="47"/>
      <pc:docMkLst>
        <pc:docMk/>
      </pc:docMkLst>
      <pc:sldChg chg="delSp mod">
        <pc:chgData name="Koksrud Andreas" userId="9d9beba6-c052-407a-8599-c781a677a996" providerId="ADAL" clId="{03D60686-C1EE-406E-9930-E5E8C04507EA}" dt="2022-10-12T19:24:32.602" v="121" actId="478"/>
        <pc:sldMkLst>
          <pc:docMk/>
          <pc:sldMk cId="0" sldId="269"/>
        </pc:sldMkLst>
        <pc:spChg chg="del">
          <ac:chgData name="Koksrud Andreas" userId="9d9beba6-c052-407a-8599-c781a677a996" providerId="ADAL" clId="{03D60686-C1EE-406E-9930-E5E8C04507EA}" dt="2022-10-12T19:24:32.602" v="121" actId="478"/>
          <ac:spMkLst>
            <pc:docMk/>
            <pc:sldMk cId="0" sldId="269"/>
            <ac:spMk id="107" creationId="{CC3A3BAC-B7F7-48CD-ADC9-D0EA5526CFAB}"/>
          </ac:spMkLst>
        </pc:spChg>
      </pc:sldChg>
      <pc:sldChg chg="modSp mod">
        <pc:chgData name="Koksrud Andreas" userId="9d9beba6-c052-407a-8599-c781a677a996" providerId="ADAL" clId="{03D60686-C1EE-406E-9930-E5E8C04507EA}" dt="2022-10-12T19:22:22.776" v="50" actId="20577"/>
        <pc:sldMkLst>
          <pc:docMk/>
          <pc:sldMk cId="697137886" sldId="679"/>
        </pc:sldMkLst>
        <pc:spChg chg="mod">
          <ac:chgData name="Koksrud Andreas" userId="9d9beba6-c052-407a-8599-c781a677a996" providerId="ADAL" clId="{03D60686-C1EE-406E-9930-E5E8C04507EA}" dt="2022-10-12T19:22:22.776" v="50" actId="20577"/>
          <ac:spMkLst>
            <pc:docMk/>
            <pc:sldMk cId="697137886" sldId="679"/>
            <ac:spMk id="2" creationId="{00000000-0000-0000-0000-000000000000}"/>
          </ac:spMkLst>
        </pc:spChg>
      </pc:sldChg>
      <pc:sldChg chg="delSp modSp mod">
        <pc:chgData name="Koksrud Andreas" userId="9d9beba6-c052-407a-8599-c781a677a996" providerId="ADAL" clId="{03D60686-C1EE-406E-9930-E5E8C04507EA}" dt="2022-10-12T19:23:55.331" v="120" actId="20577"/>
        <pc:sldMkLst>
          <pc:docMk/>
          <pc:sldMk cId="2087783305" sldId="730"/>
        </pc:sldMkLst>
        <pc:spChg chg="mod">
          <ac:chgData name="Koksrud Andreas" userId="9d9beba6-c052-407a-8599-c781a677a996" providerId="ADAL" clId="{03D60686-C1EE-406E-9930-E5E8C04507EA}" dt="2022-10-12T19:23:55.331" v="120" actId="20577"/>
          <ac:spMkLst>
            <pc:docMk/>
            <pc:sldMk cId="2087783305" sldId="730"/>
            <ac:spMk id="2" creationId="{E83F8947-299D-4698-B80E-56B8E23125F0}"/>
          </ac:spMkLst>
        </pc:spChg>
        <pc:spChg chg="mod">
          <ac:chgData name="Koksrud Andreas" userId="9d9beba6-c052-407a-8599-c781a677a996" providerId="ADAL" clId="{03D60686-C1EE-406E-9930-E5E8C04507EA}" dt="2022-10-12T19:22:42.253" v="81" actId="20577"/>
          <ac:spMkLst>
            <pc:docMk/>
            <pc:sldMk cId="2087783305" sldId="730"/>
            <ac:spMk id="8" creationId="{F6664A8B-FDC6-48AB-8C23-E58136970003}"/>
          </ac:spMkLst>
        </pc:spChg>
        <pc:spChg chg="del">
          <ac:chgData name="Koksrud Andreas" userId="9d9beba6-c052-407a-8599-c781a677a996" providerId="ADAL" clId="{03D60686-C1EE-406E-9930-E5E8C04507EA}" dt="2022-10-12T19:22:47.947" v="83" actId="478"/>
          <ac:spMkLst>
            <pc:docMk/>
            <pc:sldMk cId="2087783305" sldId="730"/>
            <ac:spMk id="11" creationId="{618A10C5-431B-4229-87F2-69FEAE5298F3}"/>
          </ac:spMkLst>
        </pc:spChg>
        <pc:spChg chg="del">
          <ac:chgData name="Koksrud Andreas" userId="9d9beba6-c052-407a-8599-c781a677a996" providerId="ADAL" clId="{03D60686-C1EE-406E-9930-E5E8C04507EA}" dt="2022-10-12T19:22:49.642" v="84" actId="478"/>
          <ac:spMkLst>
            <pc:docMk/>
            <pc:sldMk cId="2087783305" sldId="730"/>
            <ac:spMk id="12" creationId="{F4823D76-F745-416B-B271-20B77344DBD4}"/>
          </ac:spMkLst>
        </pc:spChg>
        <pc:spChg chg="del">
          <ac:chgData name="Koksrud Andreas" userId="9d9beba6-c052-407a-8599-c781a677a996" providerId="ADAL" clId="{03D60686-C1EE-406E-9930-E5E8C04507EA}" dt="2022-10-12T19:22:45.869" v="82" actId="478"/>
          <ac:spMkLst>
            <pc:docMk/>
            <pc:sldMk cId="2087783305" sldId="730"/>
            <ac:spMk id="13" creationId="{65A2EA35-6E56-4E08-BAAC-9895D08AD256}"/>
          </ac:spMkLst>
        </pc:spChg>
      </pc:sldChg>
      <pc:sldChg chg="add del">
        <pc:chgData name="Koksrud Andreas" userId="9d9beba6-c052-407a-8599-c781a677a996" providerId="ADAL" clId="{03D60686-C1EE-406E-9930-E5E8C04507EA}" dt="2022-10-12T19:24:40.890" v="123" actId="47"/>
        <pc:sldMkLst>
          <pc:docMk/>
          <pc:sldMk cId="286125317" sldId="779"/>
        </pc:sldMkLst>
      </pc:sldChg>
      <pc:sldChg chg="add">
        <pc:chgData name="Koksrud Andreas" userId="9d9beba6-c052-407a-8599-c781a677a996" providerId="ADAL" clId="{03D60686-C1EE-406E-9930-E5E8C04507EA}" dt="2022-10-12T19:22:31.302" v="51"/>
        <pc:sldMkLst>
          <pc:docMk/>
          <pc:sldMk cId="3764478461" sldId="795"/>
        </pc:sldMkLst>
      </pc:sldChg>
    </pc:docChg>
  </pc:docChgLst>
  <pc:docChgLst>
    <pc:chgData name="Koksrud Andreas" userId="9d9beba6-c052-407a-8599-c781a677a996" providerId="ADAL" clId="{2BDAD6B4-EC88-4247-A67F-2D4A93DD6E01}"/>
    <pc:docChg chg="undo custSel addSld delSld modSld sldOrd modSection">
      <pc:chgData name="Koksrud Andreas" userId="9d9beba6-c052-407a-8599-c781a677a996" providerId="ADAL" clId="{2BDAD6B4-EC88-4247-A67F-2D4A93DD6E01}" dt="2023-11-02T11:35:28.652" v="8268" actId="20577"/>
      <pc:docMkLst>
        <pc:docMk/>
      </pc:docMkLst>
      <pc:sldChg chg="modSp mod">
        <pc:chgData name="Koksrud Andreas" userId="9d9beba6-c052-407a-8599-c781a677a996" providerId="ADAL" clId="{2BDAD6B4-EC88-4247-A67F-2D4A93DD6E01}" dt="2023-10-26T20:09:59.760" v="306" actId="313"/>
        <pc:sldMkLst>
          <pc:docMk/>
          <pc:sldMk cId="2087783305" sldId="730"/>
        </pc:sldMkLst>
        <pc:spChg chg="mod">
          <ac:chgData name="Koksrud Andreas" userId="9d9beba6-c052-407a-8599-c781a677a996" providerId="ADAL" clId="{2BDAD6B4-EC88-4247-A67F-2D4A93DD6E01}" dt="2023-10-26T20:09:59.760" v="306" actId="313"/>
          <ac:spMkLst>
            <pc:docMk/>
            <pc:sldMk cId="2087783305" sldId="730"/>
            <ac:spMk id="2" creationId="{E83F8947-299D-4698-B80E-56B8E23125F0}"/>
          </ac:spMkLst>
        </pc:spChg>
      </pc:sldChg>
      <pc:sldChg chg="delSp modSp mod ord">
        <pc:chgData name="Koksrud Andreas" userId="9d9beba6-c052-407a-8599-c781a677a996" providerId="ADAL" clId="{2BDAD6B4-EC88-4247-A67F-2D4A93DD6E01}" dt="2023-10-27T14:40:41.011" v="5735" actId="20577"/>
        <pc:sldMkLst>
          <pc:docMk/>
          <pc:sldMk cId="662028914" sldId="756"/>
        </pc:sldMkLst>
        <pc:spChg chg="mod">
          <ac:chgData name="Koksrud Andreas" userId="9d9beba6-c052-407a-8599-c781a677a996" providerId="ADAL" clId="{2BDAD6B4-EC88-4247-A67F-2D4A93DD6E01}" dt="2023-10-26T20:18:32.681" v="455" actId="20577"/>
          <ac:spMkLst>
            <pc:docMk/>
            <pc:sldMk cId="662028914" sldId="756"/>
            <ac:spMk id="180" creationId="{00000000-0000-0000-0000-000000000000}"/>
          </ac:spMkLst>
        </pc:spChg>
        <pc:spChg chg="mod">
          <ac:chgData name="Koksrud Andreas" userId="9d9beba6-c052-407a-8599-c781a677a996" providerId="ADAL" clId="{2BDAD6B4-EC88-4247-A67F-2D4A93DD6E01}" dt="2023-10-27T14:40:41.011" v="5735" actId="20577"/>
          <ac:spMkLst>
            <pc:docMk/>
            <pc:sldMk cId="662028914" sldId="756"/>
            <ac:spMk id="181" creationId="{00000000-0000-0000-0000-000000000000}"/>
          </ac:spMkLst>
        </pc:spChg>
        <pc:picChg chg="del">
          <ac:chgData name="Koksrud Andreas" userId="9d9beba6-c052-407a-8599-c781a677a996" providerId="ADAL" clId="{2BDAD6B4-EC88-4247-A67F-2D4A93DD6E01}" dt="2023-10-26T20:17:27.708" v="325" actId="478"/>
          <ac:picMkLst>
            <pc:docMk/>
            <pc:sldMk cId="662028914" sldId="756"/>
            <ac:picMk id="3" creationId="{CA340183-2C69-459C-B076-84B2B0C7CE08}"/>
          </ac:picMkLst>
        </pc:picChg>
      </pc:sldChg>
      <pc:sldChg chg="del">
        <pc:chgData name="Koksrud Andreas" userId="9d9beba6-c052-407a-8599-c781a677a996" providerId="ADAL" clId="{2BDAD6B4-EC88-4247-A67F-2D4A93DD6E01}" dt="2023-10-26T20:17:07.687" v="309" actId="47"/>
        <pc:sldMkLst>
          <pc:docMk/>
          <pc:sldMk cId="396736890" sldId="757"/>
        </pc:sldMkLst>
      </pc:sldChg>
      <pc:sldChg chg="addSp delSp modSp add mod">
        <pc:chgData name="Koksrud Andreas" userId="9d9beba6-c052-407a-8599-c781a677a996" providerId="ADAL" clId="{2BDAD6B4-EC88-4247-A67F-2D4A93DD6E01}" dt="2023-10-27T14:42:25.445" v="5742" actId="20577"/>
        <pc:sldMkLst>
          <pc:docMk/>
          <pc:sldMk cId="1459679819" sldId="757"/>
        </pc:sldMkLst>
        <pc:spChg chg="mod">
          <ac:chgData name="Koksrud Andreas" userId="9d9beba6-c052-407a-8599-c781a677a996" providerId="ADAL" clId="{2BDAD6B4-EC88-4247-A67F-2D4A93DD6E01}" dt="2023-10-26T20:19:25.407" v="608" actId="20577"/>
          <ac:spMkLst>
            <pc:docMk/>
            <pc:sldMk cId="1459679819" sldId="757"/>
            <ac:spMk id="180" creationId="{00000000-0000-0000-0000-000000000000}"/>
          </ac:spMkLst>
        </pc:spChg>
        <pc:spChg chg="mod">
          <ac:chgData name="Koksrud Andreas" userId="9d9beba6-c052-407a-8599-c781a677a996" providerId="ADAL" clId="{2BDAD6B4-EC88-4247-A67F-2D4A93DD6E01}" dt="2023-10-27T14:42:25.445" v="5742" actId="20577"/>
          <ac:spMkLst>
            <pc:docMk/>
            <pc:sldMk cId="1459679819" sldId="757"/>
            <ac:spMk id="181" creationId="{00000000-0000-0000-0000-000000000000}"/>
          </ac:spMkLst>
        </pc:spChg>
        <pc:picChg chg="add mod">
          <ac:chgData name="Koksrud Andreas" userId="9d9beba6-c052-407a-8599-c781a677a996" providerId="ADAL" clId="{2BDAD6B4-EC88-4247-A67F-2D4A93DD6E01}" dt="2023-10-27T14:42:12.821" v="5739" actId="1076"/>
          <ac:picMkLst>
            <pc:docMk/>
            <pc:sldMk cId="1459679819" sldId="757"/>
            <ac:picMk id="3" creationId="{1898F475-5227-FBA5-3BE7-4F105062441A}"/>
          </ac:picMkLst>
        </pc:picChg>
        <pc:picChg chg="add del">
          <ac:chgData name="Koksrud Andreas" userId="9d9beba6-c052-407a-8599-c781a677a996" providerId="ADAL" clId="{2BDAD6B4-EC88-4247-A67F-2D4A93DD6E01}" dt="2023-10-27T14:41:53.783" v="5737" actId="478"/>
          <ac:picMkLst>
            <pc:docMk/>
            <pc:sldMk cId="1459679819" sldId="757"/>
            <ac:picMk id="2050" creationId="{DCF13C48-05DE-03C6-AF49-EFEA24F96AFE}"/>
          </ac:picMkLst>
        </pc:picChg>
      </pc:sldChg>
      <pc:sldChg chg="modSp add mod">
        <pc:chgData name="Koksrud Andreas" userId="9d9beba6-c052-407a-8599-c781a677a996" providerId="ADAL" clId="{2BDAD6B4-EC88-4247-A67F-2D4A93DD6E01}" dt="2023-10-27T14:43:16.053" v="5746" actId="20577"/>
        <pc:sldMkLst>
          <pc:docMk/>
          <pc:sldMk cId="3262562090" sldId="758"/>
        </pc:sldMkLst>
        <pc:spChg chg="mod">
          <ac:chgData name="Koksrud Andreas" userId="9d9beba6-c052-407a-8599-c781a677a996" providerId="ADAL" clId="{2BDAD6B4-EC88-4247-A67F-2D4A93DD6E01}" dt="2023-10-26T20:20:16.961" v="691" actId="20577"/>
          <ac:spMkLst>
            <pc:docMk/>
            <pc:sldMk cId="3262562090" sldId="758"/>
            <ac:spMk id="180" creationId="{00000000-0000-0000-0000-000000000000}"/>
          </ac:spMkLst>
        </pc:spChg>
        <pc:spChg chg="mod">
          <ac:chgData name="Koksrud Andreas" userId="9d9beba6-c052-407a-8599-c781a677a996" providerId="ADAL" clId="{2BDAD6B4-EC88-4247-A67F-2D4A93DD6E01}" dt="2023-10-27T14:43:16.053" v="5746" actId="20577"/>
          <ac:spMkLst>
            <pc:docMk/>
            <pc:sldMk cId="3262562090" sldId="758"/>
            <ac:spMk id="181" creationId="{00000000-0000-0000-0000-000000000000}"/>
          </ac:spMkLst>
        </pc:spChg>
      </pc:sldChg>
      <pc:sldChg chg="modSp add mod">
        <pc:chgData name="Koksrud Andreas" userId="9d9beba6-c052-407a-8599-c781a677a996" providerId="ADAL" clId="{2BDAD6B4-EC88-4247-A67F-2D4A93DD6E01}" dt="2023-10-27T20:08:56.120" v="5934" actId="20577"/>
        <pc:sldMkLst>
          <pc:docMk/>
          <pc:sldMk cId="461679863" sldId="759"/>
        </pc:sldMkLst>
        <pc:spChg chg="mod">
          <ac:chgData name="Koksrud Andreas" userId="9d9beba6-c052-407a-8599-c781a677a996" providerId="ADAL" clId="{2BDAD6B4-EC88-4247-A67F-2D4A93DD6E01}" dt="2023-10-26T20:20:53.399" v="742" actId="20577"/>
          <ac:spMkLst>
            <pc:docMk/>
            <pc:sldMk cId="461679863" sldId="759"/>
            <ac:spMk id="180" creationId="{00000000-0000-0000-0000-000000000000}"/>
          </ac:spMkLst>
        </pc:spChg>
        <pc:spChg chg="mod">
          <ac:chgData name="Koksrud Andreas" userId="9d9beba6-c052-407a-8599-c781a677a996" providerId="ADAL" clId="{2BDAD6B4-EC88-4247-A67F-2D4A93DD6E01}" dt="2023-10-27T20:08:56.120" v="5934" actId="20577"/>
          <ac:spMkLst>
            <pc:docMk/>
            <pc:sldMk cId="461679863" sldId="759"/>
            <ac:spMk id="181" creationId="{00000000-0000-0000-0000-000000000000}"/>
          </ac:spMkLst>
        </pc:spChg>
      </pc:sldChg>
      <pc:sldChg chg="modSp add del mod ord">
        <pc:chgData name="Koksrud Andreas" userId="9d9beba6-c052-407a-8599-c781a677a996" providerId="ADAL" clId="{2BDAD6B4-EC88-4247-A67F-2D4A93DD6E01}" dt="2023-10-27T20:10:50.398" v="5997" actId="47"/>
        <pc:sldMkLst>
          <pc:docMk/>
          <pc:sldMk cId="1267367396" sldId="760"/>
        </pc:sldMkLst>
        <pc:spChg chg="mod">
          <ac:chgData name="Koksrud Andreas" userId="9d9beba6-c052-407a-8599-c781a677a996" providerId="ADAL" clId="{2BDAD6B4-EC88-4247-A67F-2D4A93DD6E01}" dt="2023-10-26T20:22:28.256" v="987" actId="20577"/>
          <ac:spMkLst>
            <pc:docMk/>
            <pc:sldMk cId="1267367396" sldId="760"/>
            <ac:spMk id="180" creationId="{00000000-0000-0000-0000-000000000000}"/>
          </ac:spMkLst>
        </pc:spChg>
        <pc:spChg chg="mod">
          <ac:chgData name="Koksrud Andreas" userId="9d9beba6-c052-407a-8599-c781a677a996" providerId="ADAL" clId="{2BDAD6B4-EC88-4247-A67F-2D4A93DD6E01}" dt="2023-10-27T20:10:33.431" v="5996" actId="20577"/>
          <ac:spMkLst>
            <pc:docMk/>
            <pc:sldMk cId="1267367396" sldId="760"/>
            <ac:spMk id="181" creationId="{00000000-0000-0000-0000-000000000000}"/>
          </ac:spMkLst>
        </pc:spChg>
      </pc:sldChg>
      <pc:sldChg chg="modSp add mod">
        <pc:chgData name="Koksrud Andreas" userId="9d9beba6-c052-407a-8599-c781a677a996" providerId="ADAL" clId="{2BDAD6B4-EC88-4247-A67F-2D4A93DD6E01}" dt="2023-10-27T20:25:31.970" v="6983" actId="20577"/>
        <pc:sldMkLst>
          <pc:docMk/>
          <pc:sldMk cId="1172803293" sldId="761"/>
        </pc:sldMkLst>
        <pc:spChg chg="mod">
          <ac:chgData name="Koksrud Andreas" userId="9d9beba6-c052-407a-8599-c781a677a996" providerId="ADAL" clId="{2BDAD6B4-EC88-4247-A67F-2D4A93DD6E01}" dt="2023-10-26T20:22:38.976" v="1004" actId="20577"/>
          <ac:spMkLst>
            <pc:docMk/>
            <pc:sldMk cId="1172803293" sldId="761"/>
            <ac:spMk id="180" creationId="{00000000-0000-0000-0000-000000000000}"/>
          </ac:spMkLst>
        </pc:spChg>
        <pc:spChg chg="mod">
          <ac:chgData name="Koksrud Andreas" userId="9d9beba6-c052-407a-8599-c781a677a996" providerId="ADAL" clId="{2BDAD6B4-EC88-4247-A67F-2D4A93DD6E01}" dt="2023-10-27T20:25:31.970" v="6983" actId="20577"/>
          <ac:spMkLst>
            <pc:docMk/>
            <pc:sldMk cId="1172803293" sldId="761"/>
            <ac:spMk id="181" creationId="{00000000-0000-0000-0000-000000000000}"/>
          </ac:spMkLst>
        </pc:spChg>
      </pc:sldChg>
      <pc:sldChg chg="del">
        <pc:chgData name="Koksrud Andreas" userId="9d9beba6-c052-407a-8599-c781a677a996" providerId="ADAL" clId="{2BDAD6B4-EC88-4247-A67F-2D4A93DD6E01}" dt="2023-10-26T20:17:18.820" v="323" actId="47"/>
        <pc:sldMkLst>
          <pc:docMk/>
          <pc:sldMk cId="3548956945" sldId="762"/>
        </pc:sldMkLst>
      </pc:sldChg>
      <pc:sldChg chg="modSp add mod ord">
        <pc:chgData name="Koksrud Andreas" userId="9d9beba6-c052-407a-8599-c781a677a996" providerId="ADAL" clId="{2BDAD6B4-EC88-4247-A67F-2D4A93DD6E01}" dt="2023-10-27T20:12:53.477" v="5999"/>
        <pc:sldMkLst>
          <pc:docMk/>
          <pc:sldMk cId="4159893121" sldId="762"/>
        </pc:sldMkLst>
        <pc:spChg chg="mod">
          <ac:chgData name="Koksrud Andreas" userId="9d9beba6-c052-407a-8599-c781a677a996" providerId="ADAL" clId="{2BDAD6B4-EC88-4247-A67F-2D4A93DD6E01}" dt="2023-10-26T20:27:07.093" v="1775" actId="20577"/>
          <ac:spMkLst>
            <pc:docMk/>
            <pc:sldMk cId="4159893121" sldId="762"/>
            <ac:spMk id="180" creationId="{00000000-0000-0000-0000-000000000000}"/>
          </ac:spMkLst>
        </pc:spChg>
        <pc:spChg chg="mod">
          <ac:chgData name="Koksrud Andreas" userId="9d9beba6-c052-407a-8599-c781a677a996" providerId="ADAL" clId="{2BDAD6B4-EC88-4247-A67F-2D4A93DD6E01}" dt="2023-10-26T20:28:07.433" v="1956" actId="20577"/>
          <ac:spMkLst>
            <pc:docMk/>
            <pc:sldMk cId="4159893121" sldId="762"/>
            <ac:spMk id="181" creationId="{00000000-0000-0000-0000-000000000000}"/>
          </ac:spMkLst>
        </pc:spChg>
      </pc:sldChg>
      <pc:sldChg chg="modSp add mod ord">
        <pc:chgData name="Koksrud Andreas" userId="9d9beba6-c052-407a-8599-c781a677a996" providerId="ADAL" clId="{2BDAD6B4-EC88-4247-A67F-2D4A93DD6E01}" dt="2023-10-27T20:13:13.771" v="6001"/>
        <pc:sldMkLst>
          <pc:docMk/>
          <pc:sldMk cId="2660123184" sldId="763"/>
        </pc:sldMkLst>
        <pc:spChg chg="mod">
          <ac:chgData name="Koksrud Andreas" userId="9d9beba6-c052-407a-8599-c781a677a996" providerId="ADAL" clId="{2BDAD6B4-EC88-4247-A67F-2D4A93DD6E01}" dt="2023-10-26T20:28:27.783" v="1975" actId="20577"/>
          <ac:spMkLst>
            <pc:docMk/>
            <pc:sldMk cId="2660123184" sldId="763"/>
            <ac:spMk id="180" creationId="{00000000-0000-0000-0000-000000000000}"/>
          </ac:spMkLst>
        </pc:spChg>
        <pc:spChg chg="mod">
          <ac:chgData name="Koksrud Andreas" userId="9d9beba6-c052-407a-8599-c781a677a996" providerId="ADAL" clId="{2BDAD6B4-EC88-4247-A67F-2D4A93DD6E01}" dt="2023-10-26T20:30:36.371" v="2576" actId="20577"/>
          <ac:spMkLst>
            <pc:docMk/>
            <pc:sldMk cId="2660123184" sldId="763"/>
            <ac:spMk id="181" creationId="{00000000-0000-0000-0000-000000000000}"/>
          </ac:spMkLst>
        </pc:spChg>
      </pc:sldChg>
      <pc:sldChg chg="modSp add mod ord">
        <pc:chgData name="Koksrud Andreas" userId="9d9beba6-c052-407a-8599-c781a677a996" providerId="ADAL" clId="{2BDAD6B4-EC88-4247-A67F-2D4A93DD6E01}" dt="2023-10-27T20:13:13.771" v="6001"/>
        <pc:sldMkLst>
          <pc:docMk/>
          <pc:sldMk cId="1888191167" sldId="764"/>
        </pc:sldMkLst>
        <pc:spChg chg="mod">
          <ac:chgData name="Koksrud Andreas" userId="9d9beba6-c052-407a-8599-c781a677a996" providerId="ADAL" clId="{2BDAD6B4-EC88-4247-A67F-2D4A93DD6E01}" dt="2023-10-26T20:30:56.798" v="2580" actId="20577"/>
          <ac:spMkLst>
            <pc:docMk/>
            <pc:sldMk cId="1888191167" sldId="764"/>
            <ac:spMk id="180" creationId="{00000000-0000-0000-0000-000000000000}"/>
          </ac:spMkLst>
        </pc:spChg>
        <pc:spChg chg="mod">
          <ac:chgData name="Koksrud Andreas" userId="9d9beba6-c052-407a-8599-c781a677a996" providerId="ADAL" clId="{2BDAD6B4-EC88-4247-A67F-2D4A93DD6E01}" dt="2023-10-26T20:32:19.404" v="2892" actId="20577"/>
          <ac:spMkLst>
            <pc:docMk/>
            <pc:sldMk cId="1888191167" sldId="764"/>
            <ac:spMk id="181" creationId="{00000000-0000-0000-0000-000000000000}"/>
          </ac:spMkLst>
        </pc:spChg>
      </pc:sldChg>
      <pc:sldChg chg="modSp add mod">
        <pc:chgData name="Koksrud Andreas" userId="9d9beba6-c052-407a-8599-c781a677a996" providerId="ADAL" clId="{2BDAD6B4-EC88-4247-A67F-2D4A93DD6E01}" dt="2023-10-27T20:52:44.665" v="7522" actId="6549"/>
        <pc:sldMkLst>
          <pc:docMk/>
          <pc:sldMk cId="1743956420" sldId="765"/>
        </pc:sldMkLst>
        <pc:spChg chg="mod">
          <ac:chgData name="Koksrud Andreas" userId="9d9beba6-c052-407a-8599-c781a677a996" providerId="ADAL" clId="{2BDAD6B4-EC88-4247-A67F-2D4A93DD6E01}" dt="2023-10-27T20:50:30.829" v="7469" actId="20577"/>
          <ac:spMkLst>
            <pc:docMk/>
            <pc:sldMk cId="1743956420" sldId="765"/>
            <ac:spMk id="180" creationId="{00000000-0000-0000-0000-000000000000}"/>
          </ac:spMkLst>
        </pc:spChg>
        <pc:spChg chg="mod">
          <ac:chgData name="Koksrud Andreas" userId="9d9beba6-c052-407a-8599-c781a677a996" providerId="ADAL" clId="{2BDAD6B4-EC88-4247-A67F-2D4A93DD6E01}" dt="2023-10-27T20:52:44.665" v="7522" actId="6549"/>
          <ac:spMkLst>
            <pc:docMk/>
            <pc:sldMk cId="1743956420" sldId="765"/>
            <ac:spMk id="181" creationId="{00000000-0000-0000-0000-000000000000}"/>
          </ac:spMkLst>
        </pc:spChg>
      </pc:sldChg>
      <pc:sldChg chg="modSp add mod">
        <pc:chgData name="Koksrud Andreas" userId="9d9beba6-c052-407a-8599-c781a677a996" providerId="ADAL" clId="{2BDAD6B4-EC88-4247-A67F-2D4A93DD6E01}" dt="2023-10-26T20:50:34.064" v="3573" actId="20577"/>
        <pc:sldMkLst>
          <pc:docMk/>
          <pc:sldMk cId="3156992607" sldId="766"/>
        </pc:sldMkLst>
        <pc:spChg chg="mod">
          <ac:chgData name="Koksrud Andreas" userId="9d9beba6-c052-407a-8599-c781a677a996" providerId="ADAL" clId="{2BDAD6B4-EC88-4247-A67F-2D4A93DD6E01}" dt="2023-10-26T20:50:27.771" v="3534" actId="20577"/>
          <ac:spMkLst>
            <pc:docMk/>
            <pc:sldMk cId="3156992607" sldId="766"/>
            <ac:spMk id="180" creationId="{00000000-0000-0000-0000-000000000000}"/>
          </ac:spMkLst>
        </pc:spChg>
        <pc:spChg chg="mod">
          <ac:chgData name="Koksrud Andreas" userId="9d9beba6-c052-407a-8599-c781a677a996" providerId="ADAL" clId="{2BDAD6B4-EC88-4247-A67F-2D4A93DD6E01}" dt="2023-10-26T20:50:34.064" v="3573" actId="20577"/>
          <ac:spMkLst>
            <pc:docMk/>
            <pc:sldMk cId="3156992607" sldId="766"/>
            <ac:spMk id="181" creationId="{00000000-0000-0000-0000-000000000000}"/>
          </ac:spMkLst>
        </pc:spChg>
      </pc:sldChg>
      <pc:sldChg chg="modSp add mod">
        <pc:chgData name="Koksrud Andreas" userId="9d9beba6-c052-407a-8599-c781a677a996" providerId="ADAL" clId="{2BDAD6B4-EC88-4247-A67F-2D4A93DD6E01}" dt="2023-10-26T20:50:55.711" v="3633" actId="20577"/>
        <pc:sldMkLst>
          <pc:docMk/>
          <pc:sldMk cId="3099146481" sldId="767"/>
        </pc:sldMkLst>
        <pc:spChg chg="mod">
          <ac:chgData name="Koksrud Andreas" userId="9d9beba6-c052-407a-8599-c781a677a996" providerId="ADAL" clId="{2BDAD6B4-EC88-4247-A67F-2D4A93DD6E01}" dt="2023-10-26T20:50:47.591" v="3585" actId="20577"/>
          <ac:spMkLst>
            <pc:docMk/>
            <pc:sldMk cId="3099146481" sldId="767"/>
            <ac:spMk id="180" creationId="{00000000-0000-0000-0000-000000000000}"/>
          </ac:spMkLst>
        </pc:spChg>
        <pc:spChg chg="mod">
          <ac:chgData name="Koksrud Andreas" userId="9d9beba6-c052-407a-8599-c781a677a996" providerId="ADAL" clId="{2BDAD6B4-EC88-4247-A67F-2D4A93DD6E01}" dt="2023-10-26T20:50:55.711" v="3633" actId="20577"/>
          <ac:spMkLst>
            <pc:docMk/>
            <pc:sldMk cId="3099146481" sldId="767"/>
            <ac:spMk id="181" creationId="{00000000-0000-0000-0000-000000000000}"/>
          </ac:spMkLst>
        </pc:spChg>
      </pc:sldChg>
      <pc:sldChg chg="modSp add mod">
        <pc:chgData name="Koksrud Andreas" userId="9d9beba6-c052-407a-8599-c781a677a996" providerId="ADAL" clId="{2BDAD6B4-EC88-4247-A67F-2D4A93DD6E01}" dt="2023-10-26T20:52:33.650" v="3857" actId="20577"/>
        <pc:sldMkLst>
          <pc:docMk/>
          <pc:sldMk cId="4003498005" sldId="768"/>
        </pc:sldMkLst>
        <pc:spChg chg="mod">
          <ac:chgData name="Koksrud Andreas" userId="9d9beba6-c052-407a-8599-c781a677a996" providerId="ADAL" clId="{2BDAD6B4-EC88-4247-A67F-2D4A93DD6E01}" dt="2023-10-26T20:51:20.384" v="3663" actId="20577"/>
          <ac:spMkLst>
            <pc:docMk/>
            <pc:sldMk cId="4003498005" sldId="768"/>
            <ac:spMk id="180" creationId="{00000000-0000-0000-0000-000000000000}"/>
          </ac:spMkLst>
        </pc:spChg>
        <pc:spChg chg="mod">
          <ac:chgData name="Koksrud Andreas" userId="9d9beba6-c052-407a-8599-c781a677a996" providerId="ADAL" clId="{2BDAD6B4-EC88-4247-A67F-2D4A93DD6E01}" dt="2023-10-26T20:52:33.650" v="3857" actId="20577"/>
          <ac:spMkLst>
            <pc:docMk/>
            <pc:sldMk cId="4003498005" sldId="768"/>
            <ac:spMk id="181" creationId="{00000000-0000-0000-0000-000000000000}"/>
          </ac:spMkLst>
        </pc:spChg>
      </pc:sldChg>
      <pc:sldChg chg="modSp add mod">
        <pc:chgData name="Koksrud Andreas" userId="9d9beba6-c052-407a-8599-c781a677a996" providerId="ADAL" clId="{2BDAD6B4-EC88-4247-A67F-2D4A93DD6E01}" dt="2023-10-27T20:13:38.739" v="6038" actId="20577"/>
        <pc:sldMkLst>
          <pc:docMk/>
          <pc:sldMk cId="257484981" sldId="769"/>
        </pc:sldMkLst>
        <pc:spChg chg="mod">
          <ac:chgData name="Koksrud Andreas" userId="9d9beba6-c052-407a-8599-c781a677a996" providerId="ADAL" clId="{2BDAD6B4-EC88-4247-A67F-2D4A93DD6E01}" dt="2023-10-26T20:52:38.017" v="3861" actId="20577"/>
          <ac:spMkLst>
            <pc:docMk/>
            <pc:sldMk cId="257484981" sldId="769"/>
            <ac:spMk id="180" creationId="{00000000-0000-0000-0000-000000000000}"/>
          </ac:spMkLst>
        </pc:spChg>
        <pc:spChg chg="mod">
          <ac:chgData name="Koksrud Andreas" userId="9d9beba6-c052-407a-8599-c781a677a996" providerId="ADAL" clId="{2BDAD6B4-EC88-4247-A67F-2D4A93DD6E01}" dt="2023-10-27T20:13:38.739" v="6038" actId="20577"/>
          <ac:spMkLst>
            <pc:docMk/>
            <pc:sldMk cId="257484981" sldId="769"/>
            <ac:spMk id="181" creationId="{00000000-0000-0000-0000-000000000000}"/>
          </ac:spMkLst>
        </pc:spChg>
      </pc:sldChg>
      <pc:sldChg chg="add del">
        <pc:chgData name="Koksrud Andreas" userId="9d9beba6-c052-407a-8599-c781a677a996" providerId="ADAL" clId="{2BDAD6B4-EC88-4247-A67F-2D4A93DD6E01}" dt="2023-10-27T12:54:27.121" v="4046" actId="47"/>
        <pc:sldMkLst>
          <pc:docMk/>
          <pc:sldMk cId="2211337562" sldId="770"/>
        </pc:sldMkLst>
      </pc:sldChg>
      <pc:sldChg chg="add del">
        <pc:chgData name="Koksrud Andreas" userId="9d9beba6-c052-407a-8599-c781a677a996" providerId="ADAL" clId="{2BDAD6B4-EC88-4247-A67F-2D4A93DD6E01}" dt="2023-10-27T12:54:27.458" v="4047" actId="47"/>
        <pc:sldMkLst>
          <pc:docMk/>
          <pc:sldMk cId="3575855052" sldId="771"/>
        </pc:sldMkLst>
      </pc:sldChg>
      <pc:sldChg chg="add del">
        <pc:chgData name="Koksrud Andreas" userId="9d9beba6-c052-407a-8599-c781a677a996" providerId="ADAL" clId="{2BDAD6B4-EC88-4247-A67F-2D4A93DD6E01}" dt="2023-10-27T12:54:28.044" v="4048" actId="47"/>
        <pc:sldMkLst>
          <pc:docMk/>
          <pc:sldMk cId="3371885878" sldId="772"/>
        </pc:sldMkLst>
      </pc:sldChg>
      <pc:sldChg chg="add del">
        <pc:chgData name="Koksrud Andreas" userId="9d9beba6-c052-407a-8599-c781a677a996" providerId="ADAL" clId="{2BDAD6B4-EC88-4247-A67F-2D4A93DD6E01}" dt="2023-10-27T12:54:29.033" v="4049" actId="47"/>
        <pc:sldMkLst>
          <pc:docMk/>
          <pc:sldMk cId="1318066020" sldId="773"/>
        </pc:sldMkLst>
      </pc:sldChg>
      <pc:sldChg chg="addSp modSp add mod">
        <pc:chgData name="Koksrud Andreas" userId="9d9beba6-c052-407a-8599-c781a677a996" providerId="ADAL" clId="{2BDAD6B4-EC88-4247-A67F-2D4A93DD6E01}" dt="2023-10-27T13:15:25.359" v="4380" actId="20577"/>
        <pc:sldMkLst>
          <pc:docMk/>
          <pc:sldMk cId="3236957713" sldId="774"/>
        </pc:sldMkLst>
        <pc:spChg chg="mod">
          <ac:chgData name="Koksrud Andreas" userId="9d9beba6-c052-407a-8599-c781a677a996" providerId="ADAL" clId="{2BDAD6B4-EC88-4247-A67F-2D4A93DD6E01}" dt="2023-10-26T20:24:16.102" v="1200" actId="20577"/>
          <ac:spMkLst>
            <pc:docMk/>
            <pc:sldMk cId="3236957713" sldId="774"/>
            <ac:spMk id="180" creationId="{00000000-0000-0000-0000-000000000000}"/>
          </ac:spMkLst>
        </pc:spChg>
        <pc:spChg chg="mod">
          <ac:chgData name="Koksrud Andreas" userId="9d9beba6-c052-407a-8599-c781a677a996" providerId="ADAL" clId="{2BDAD6B4-EC88-4247-A67F-2D4A93DD6E01}" dt="2023-10-27T13:15:25.359" v="4380" actId="20577"/>
          <ac:spMkLst>
            <pc:docMk/>
            <pc:sldMk cId="3236957713" sldId="774"/>
            <ac:spMk id="181" creationId="{00000000-0000-0000-0000-000000000000}"/>
          </ac:spMkLst>
        </pc:spChg>
        <pc:picChg chg="add mod">
          <ac:chgData name="Koksrud Andreas" userId="9d9beba6-c052-407a-8599-c781a677a996" providerId="ADAL" clId="{2BDAD6B4-EC88-4247-A67F-2D4A93DD6E01}" dt="2023-10-27T13:15:05.815" v="4310" actId="1076"/>
          <ac:picMkLst>
            <pc:docMk/>
            <pc:sldMk cId="3236957713" sldId="774"/>
            <ac:picMk id="3" creationId="{7836E636-2614-B997-070A-14FF8F560467}"/>
          </ac:picMkLst>
        </pc:picChg>
      </pc:sldChg>
      <pc:sldChg chg="addSp modSp add mod ord">
        <pc:chgData name="Koksrud Andreas" userId="9d9beba6-c052-407a-8599-c781a677a996" providerId="ADAL" clId="{2BDAD6B4-EC88-4247-A67F-2D4A93DD6E01}" dt="2023-10-27T13:15:37.238" v="4382"/>
        <pc:sldMkLst>
          <pc:docMk/>
          <pc:sldMk cId="4184721091" sldId="775"/>
        </pc:sldMkLst>
        <pc:spChg chg="mod">
          <ac:chgData name="Koksrud Andreas" userId="9d9beba6-c052-407a-8599-c781a677a996" providerId="ADAL" clId="{2BDAD6B4-EC88-4247-A67F-2D4A93DD6E01}" dt="2023-10-27T13:04:22.971" v="4074" actId="20577"/>
          <ac:spMkLst>
            <pc:docMk/>
            <pc:sldMk cId="4184721091" sldId="775"/>
            <ac:spMk id="180" creationId="{00000000-0000-0000-0000-000000000000}"/>
          </ac:spMkLst>
        </pc:spChg>
        <pc:spChg chg="mod">
          <ac:chgData name="Koksrud Andreas" userId="9d9beba6-c052-407a-8599-c781a677a996" providerId="ADAL" clId="{2BDAD6B4-EC88-4247-A67F-2D4A93DD6E01}" dt="2023-10-27T13:13:25.824" v="4304" actId="6549"/>
          <ac:spMkLst>
            <pc:docMk/>
            <pc:sldMk cId="4184721091" sldId="775"/>
            <ac:spMk id="181" creationId="{00000000-0000-0000-0000-000000000000}"/>
          </ac:spMkLst>
        </pc:spChg>
        <pc:picChg chg="add mod">
          <ac:chgData name="Koksrud Andreas" userId="9d9beba6-c052-407a-8599-c781a677a996" providerId="ADAL" clId="{2BDAD6B4-EC88-4247-A67F-2D4A93DD6E01}" dt="2023-10-27T13:13:05.532" v="4249" actId="1076"/>
          <ac:picMkLst>
            <pc:docMk/>
            <pc:sldMk cId="4184721091" sldId="775"/>
            <ac:picMk id="3" creationId="{98CAB3EE-A208-4F00-EDC8-E5A810FC41EF}"/>
          </ac:picMkLst>
        </pc:picChg>
      </pc:sldChg>
      <pc:sldChg chg="del">
        <pc:chgData name="Koksrud Andreas" userId="9d9beba6-c052-407a-8599-c781a677a996" providerId="ADAL" clId="{2BDAD6B4-EC88-4247-A67F-2D4A93DD6E01}" dt="2023-10-26T20:17:16.118" v="316" actId="47"/>
        <pc:sldMkLst>
          <pc:docMk/>
          <pc:sldMk cId="2831047971" sldId="776"/>
        </pc:sldMkLst>
      </pc:sldChg>
      <pc:sldChg chg="addSp delSp modSp add mod">
        <pc:chgData name="Koksrud Andreas" userId="9d9beba6-c052-407a-8599-c781a677a996" providerId="ADAL" clId="{2BDAD6B4-EC88-4247-A67F-2D4A93DD6E01}" dt="2023-10-27T13:39:31.723" v="4631" actId="20577"/>
        <pc:sldMkLst>
          <pc:docMk/>
          <pc:sldMk cId="3102905591" sldId="776"/>
        </pc:sldMkLst>
        <pc:spChg chg="mod">
          <ac:chgData name="Koksrud Andreas" userId="9d9beba6-c052-407a-8599-c781a677a996" providerId="ADAL" clId="{2BDAD6B4-EC88-4247-A67F-2D4A93DD6E01}" dt="2023-10-27T13:16:15.232" v="4393" actId="20577"/>
          <ac:spMkLst>
            <pc:docMk/>
            <pc:sldMk cId="3102905591" sldId="776"/>
            <ac:spMk id="180" creationId="{00000000-0000-0000-0000-000000000000}"/>
          </ac:spMkLst>
        </pc:spChg>
        <pc:spChg chg="mod">
          <ac:chgData name="Koksrud Andreas" userId="9d9beba6-c052-407a-8599-c781a677a996" providerId="ADAL" clId="{2BDAD6B4-EC88-4247-A67F-2D4A93DD6E01}" dt="2023-10-27T13:39:31.723" v="4631" actId="20577"/>
          <ac:spMkLst>
            <pc:docMk/>
            <pc:sldMk cId="3102905591" sldId="776"/>
            <ac:spMk id="181" creationId="{00000000-0000-0000-0000-000000000000}"/>
          </ac:spMkLst>
        </pc:spChg>
        <pc:picChg chg="del">
          <ac:chgData name="Koksrud Andreas" userId="9d9beba6-c052-407a-8599-c781a677a996" providerId="ADAL" clId="{2BDAD6B4-EC88-4247-A67F-2D4A93DD6E01}" dt="2023-10-27T13:16:28.025" v="4432" actId="478"/>
          <ac:picMkLst>
            <pc:docMk/>
            <pc:sldMk cId="3102905591" sldId="776"/>
            <ac:picMk id="3" creationId="{7836E636-2614-B997-070A-14FF8F560467}"/>
          </ac:picMkLst>
        </pc:picChg>
        <pc:picChg chg="add mod">
          <ac:chgData name="Koksrud Andreas" userId="9d9beba6-c052-407a-8599-c781a677a996" providerId="ADAL" clId="{2BDAD6B4-EC88-4247-A67F-2D4A93DD6E01}" dt="2023-10-27T13:39:07.125" v="4584" actId="1076"/>
          <ac:picMkLst>
            <pc:docMk/>
            <pc:sldMk cId="3102905591" sldId="776"/>
            <ac:picMk id="4" creationId="{42DADEF3-89E6-5769-FB12-8C5C42781D51}"/>
          </ac:picMkLst>
        </pc:picChg>
      </pc:sldChg>
      <pc:sldChg chg="addSp delSp modSp add mod">
        <pc:chgData name="Koksrud Andreas" userId="9d9beba6-c052-407a-8599-c781a677a996" providerId="ADAL" clId="{2BDAD6B4-EC88-4247-A67F-2D4A93DD6E01}" dt="2023-10-27T13:59:13.812" v="5592" actId="13926"/>
        <pc:sldMkLst>
          <pc:docMk/>
          <pc:sldMk cId="298508261" sldId="777"/>
        </pc:sldMkLst>
        <pc:spChg chg="mod">
          <ac:chgData name="Koksrud Andreas" userId="9d9beba6-c052-407a-8599-c781a677a996" providerId="ADAL" clId="{2BDAD6B4-EC88-4247-A67F-2D4A93DD6E01}" dt="2023-10-27T13:56:10.203" v="5296" actId="20577"/>
          <ac:spMkLst>
            <pc:docMk/>
            <pc:sldMk cId="298508261" sldId="777"/>
            <ac:spMk id="180" creationId="{00000000-0000-0000-0000-000000000000}"/>
          </ac:spMkLst>
        </pc:spChg>
        <pc:spChg chg="mod">
          <ac:chgData name="Koksrud Andreas" userId="9d9beba6-c052-407a-8599-c781a677a996" providerId="ADAL" clId="{2BDAD6B4-EC88-4247-A67F-2D4A93DD6E01}" dt="2023-10-27T13:59:13.812" v="5592" actId="13926"/>
          <ac:spMkLst>
            <pc:docMk/>
            <pc:sldMk cId="298508261" sldId="777"/>
            <ac:spMk id="181" creationId="{00000000-0000-0000-0000-000000000000}"/>
          </ac:spMkLst>
        </pc:spChg>
        <pc:picChg chg="del">
          <ac:chgData name="Koksrud Andreas" userId="9d9beba6-c052-407a-8599-c781a677a996" providerId="ADAL" clId="{2BDAD6B4-EC88-4247-A67F-2D4A93DD6E01}" dt="2023-10-27T13:41:45.439" v="4650" actId="478"/>
          <ac:picMkLst>
            <pc:docMk/>
            <pc:sldMk cId="298508261" sldId="777"/>
            <ac:picMk id="3" creationId="{7836E636-2614-B997-070A-14FF8F560467}"/>
          </ac:picMkLst>
        </pc:picChg>
        <pc:picChg chg="add del mod">
          <ac:chgData name="Koksrud Andreas" userId="9d9beba6-c052-407a-8599-c781a677a996" providerId="ADAL" clId="{2BDAD6B4-EC88-4247-A67F-2D4A93DD6E01}" dt="2023-10-27T13:56:13.373" v="5297" actId="478"/>
          <ac:picMkLst>
            <pc:docMk/>
            <pc:sldMk cId="298508261" sldId="777"/>
            <ac:picMk id="4" creationId="{5B3F51A8-9353-979B-1EEE-DE1B381813EF}"/>
          </ac:picMkLst>
        </pc:picChg>
        <pc:picChg chg="add del mod">
          <ac:chgData name="Koksrud Andreas" userId="9d9beba6-c052-407a-8599-c781a677a996" providerId="ADAL" clId="{2BDAD6B4-EC88-4247-A67F-2D4A93DD6E01}" dt="2023-10-27T13:44:26.407" v="4743" actId="478"/>
          <ac:picMkLst>
            <pc:docMk/>
            <pc:sldMk cId="298508261" sldId="777"/>
            <ac:picMk id="1026" creationId="{2BA078FB-34A6-346C-16FE-9AC3202D1D92}"/>
          </ac:picMkLst>
        </pc:picChg>
      </pc:sldChg>
      <pc:sldChg chg="del">
        <pc:chgData name="Koksrud Andreas" userId="9d9beba6-c052-407a-8599-c781a677a996" providerId="ADAL" clId="{2BDAD6B4-EC88-4247-A67F-2D4A93DD6E01}" dt="2023-10-26T20:17:18.445" v="322" actId="47"/>
        <pc:sldMkLst>
          <pc:docMk/>
          <pc:sldMk cId="1447749266" sldId="777"/>
        </pc:sldMkLst>
      </pc:sldChg>
      <pc:sldChg chg="delSp modSp add mod">
        <pc:chgData name="Koksrud Andreas" userId="9d9beba6-c052-407a-8599-c781a677a996" providerId="ADAL" clId="{2BDAD6B4-EC88-4247-A67F-2D4A93DD6E01}" dt="2023-10-27T13:51:34.590" v="5286" actId="20577"/>
        <pc:sldMkLst>
          <pc:docMk/>
          <pc:sldMk cId="867521254" sldId="778"/>
        </pc:sldMkLst>
        <pc:spChg chg="mod">
          <ac:chgData name="Koksrud Andreas" userId="9d9beba6-c052-407a-8599-c781a677a996" providerId="ADAL" clId="{2BDAD6B4-EC88-4247-A67F-2D4A93DD6E01}" dt="2023-10-27T13:49:51.101" v="4891" actId="20577"/>
          <ac:spMkLst>
            <pc:docMk/>
            <pc:sldMk cId="867521254" sldId="778"/>
            <ac:spMk id="180" creationId="{00000000-0000-0000-0000-000000000000}"/>
          </ac:spMkLst>
        </pc:spChg>
        <pc:spChg chg="mod">
          <ac:chgData name="Koksrud Andreas" userId="9d9beba6-c052-407a-8599-c781a677a996" providerId="ADAL" clId="{2BDAD6B4-EC88-4247-A67F-2D4A93DD6E01}" dt="2023-10-27T13:51:34.590" v="5286" actId="20577"/>
          <ac:spMkLst>
            <pc:docMk/>
            <pc:sldMk cId="867521254" sldId="778"/>
            <ac:spMk id="181" creationId="{00000000-0000-0000-0000-000000000000}"/>
          </ac:spMkLst>
        </pc:spChg>
        <pc:picChg chg="del">
          <ac:chgData name="Koksrud Andreas" userId="9d9beba6-c052-407a-8599-c781a677a996" providerId="ADAL" clId="{2BDAD6B4-EC88-4247-A67F-2D4A93DD6E01}" dt="2023-10-27T13:49:56.406" v="4892" actId="478"/>
          <ac:picMkLst>
            <pc:docMk/>
            <pc:sldMk cId="867521254" sldId="778"/>
            <ac:picMk id="4" creationId="{5B3F51A8-9353-979B-1EEE-DE1B381813EF}"/>
          </ac:picMkLst>
        </pc:picChg>
      </pc:sldChg>
      <pc:sldChg chg="add">
        <pc:chgData name="Koksrud Andreas" userId="9d9beba6-c052-407a-8599-c781a677a996" providerId="ADAL" clId="{2BDAD6B4-EC88-4247-A67F-2D4A93DD6E01}" dt="2023-10-27T13:56:03.034" v="5287"/>
        <pc:sldMkLst>
          <pc:docMk/>
          <pc:sldMk cId="2800815207" sldId="779"/>
        </pc:sldMkLst>
      </pc:sldChg>
      <pc:sldChg chg="addSp delSp modSp add mod">
        <pc:chgData name="Koksrud Andreas" userId="9d9beba6-c052-407a-8599-c781a677a996" providerId="ADAL" clId="{2BDAD6B4-EC88-4247-A67F-2D4A93DD6E01}" dt="2023-10-27T19:44:28.797" v="5870" actId="20577"/>
        <pc:sldMkLst>
          <pc:docMk/>
          <pc:sldMk cId="5783671" sldId="780"/>
        </pc:sldMkLst>
        <pc:spChg chg="add mod">
          <ac:chgData name="Koksrud Andreas" userId="9d9beba6-c052-407a-8599-c781a677a996" providerId="ADAL" clId="{2BDAD6B4-EC88-4247-A67F-2D4A93DD6E01}" dt="2023-10-27T19:44:28.797" v="5870" actId="20577"/>
          <ac:spMkLst>
            <pc:docMk/>
            <pc:sldMk cId="5783671" sldId="780"/>
            <ac:spMk id="5" creationId="{B6B94A19-5BAA-1F57-3F80-2CEC619721D3}"/>
          </ac:spMkLst>
        </pc:spChg>
        <pc:spChg chg="add mod">
          <ac:chgData name="Koksrud Andreas" userId="9d9beba6-c052-407a-8599-c781a677a996" providerId="ADAL" clId="{2BDAD6B4-EC88-4247-A67F-2D4A93DD6E01}" dt="2023-10-27T19:43:40.594" v="5802" actId="1076"/>
          <ac:spMkLst>
            <pc:docMk/>
            <pc:sldMk cId="5783671" sldId="780"/>
            <ac:spMk id="7" creationId="{592DA35E-EAB2-3A9E-9460-F08FF672AC28}"/>
          </ac:spMkLst>
        </pc:spChg>
        <pc:spChg chg="del">
          <ac:chgData name="Koksrud Andreas" userId="9d9beba6-c052-407a-8599-c781a677a996" providerId="ADAL" clId="{2BDAD6B4-EC88-4247-A67F-2D4A93DD6E01}" dt="2023-10-27T14:56:24.741" v="5763" actId="478"/>
          <ac:spMkLst>
            <pc:docMk/>
            <pc:sldMk cId="5783671" sldId="780"/>
            <ac:spMk id="180" creationId="{00000000-0000-0000-0000-000000000000}"/>
          </ac:spMkLst>
        </pc:spChg>
        <pc:spChg chg="del mod">
          <ac:chgData name="Koksrud Andreas" userId="9d9beba6-c052-407a-8599-c781a677a996" providerId="ADAL" clId="{2BDAD6B4-EC88-4247-A67F-2D4A93DD6E01}" dt="2023-10-27T14:56:22.725" v="5762" actId="478"/>
          <ac:spMkLst>
            <pc:docMk/>
            <pc:sldMk cId="5783671" sldId="780"/>
            <ac:spMk id="181" creationId="{00000000-0000-0000-0000-000000000000}"/>
          </ac:spMkLst>
        </pc:spChg>
        <pc:picChg chg="add del mod modCrop">
          <ac:chgData name="Koksrud Andreas" userId="9d9beba6-c052-407a-8599-c781a677a996" providerId="ADAL" clId="{2BDAD6B4-EC88-4247-A67F-2D4A93DD6E01}" dt="2023-10-27T14:56:13.730" v="5761" actId="21"/>
          <ac:picMkLst>
            <pc:docMk/>
            <pc:sldMk cId="5783671" sldId="780"/>
            <ac:picMk id="3" creationId="{9A99796D-A6E9-DFBE-8990-467380BDA332}"/>
          </ac:picMkLst>
        </pc:picChg>
        <pc:picChg chg="add mod ord modCrop">
          <ac:chgData name="Koksrud Andreas" userId="9d9beba6-c052-407a-8599-c781a677a996" providerId="ADAL" clId="{2BDAD6B4-EC88-4247-A67F-2D4A93DD6E01}" dt="2023-10-27T19:43:13.650" v="5771" actId="167"/>
          <ac:picMkLst>
            <pc:docMk/>
            <pc:sldMk cId="5783671" sldId="780"/>
            <ac:picMk id="8" creationId="{466251A9-E069-CC25-8FE7-03C2D0DF17CD}"/>
          </ac:picMkLst>
        </pc:picChg>
        <pc:picChg chg="add del mod">
          <ac:chgData name="Koksrud Andreas" userId="9d9beba6-c052-407a-8599-c781a677a996" providerId="ADAL" clId="{2BDAD6B4-EC88-4247-A67F-2D4A93DD6E01}" dt="2023-10-27T14:54:46.906" v="5754" actId="478"/>
          <ac:picMkLst>
            <pc:docMk/>
            <pc:sldMk cId="5783671" sldId="780"/>
            <ac:picMk id="5122" creationId="{B96C7E78-D7EE-D198-F253-7E6D39B44A3F}"/>
          </ac:picMkLst>
        </pc:picChg>
      </pc:sldChg>
      <pc:sldChg chg="del">
        <pc:chgData name="Koksrud Andreas" userId="9d9beba6-c052-407a-8599-c781a677a996" providerId="ADAL" clId="{2BDAD6B4-EC88-4247-A67F-2D4A93DD6E01}" dt="2023-10-26T20:17:19.738" v="324" actId="47"/>
        <pc:sldMkLst>
          <pc:docMk/>
          <pc:sldMk cId="2127300312" sldId="780"/>
        </pc:sldMkLst>
      </pc:sldChg>
      <pc:sldChg chg="modSp add mod">
        <pc:chgData name="Koksrud Andreas" userId="9d9beba6-c052-407a-8599-c781a677a996" providerId="ADAL" clId="{2BDAD6B4-EC88-4247-A67F-2D4A93DD6E01}" dt="2023-10-27T20:15:07.698" v="6108" actId="20577"/>
        <pc:sldMkLst>
          <pc:docMk/>
          <pc:sldMk cId="135523954" sldId="781"/>
        </pc:sldMkLst>
        <pc:spChg chg="mod">
          <ac:chgData name="Koksrud Andreas" userId="9d9beba6-c052-407a-8599-c781a677a996" providerId="ADAL" clId="{2BDAD6B4-EC88-4247-A67F-2D4A93DD6E01}" dt="2023-10-27T20:14:40.018" v="6050" actId="20577"/>
          <ac:spMkLst>
            <pc:docMk/>
            <pc:sldMk cId="135523954" sldId="781"/>
            <ac:spMk id="180" creationId="{00000000-0000-0000-0000-000000000000}"/>
          </ac:spMkLst>
        </pc:spChg>
        <pc:spChg chg="mod">
          <ac:chgData name="Koksrud Andreas" userId="9d9beba6-c052-407a-8599-c781a677a996" providerId="ADAL" clId="{2BDAD6B4-EC88-4247-A67F-2D4A93DD6E01}" dt="2023-10-27T20:15:07.698" v="6108" actId="20577"/>
          <ac:spMkLst>
            <pc:docMk/>
            <pc:sldMk cId="135523954" sldId="781"/>
            <ac:spMk id="181" creationId="{00000000-0000-0000-0000-000000000000}"/>
          </ac:spMkLst>
        </pc:spChg>
      </pc:sldChg>
      <pc:sldChg chg="delSp modSp add del mod">
        <pc:chgData name="Koksrud Andreas" userId="9d9beba6-c052-407a-8599-c781a677a996" providerId="ADAL" clId="{2BDAD6B4-EC88-4247-A67F-2D4A93DD6E01}" dt="2023-10-27T19:44:40.009" v="5871" actId="47"/>
        <pc:sldMkLst>
          <pc:docMk/>
          <pc:sldMk cId="3742512147" sldId="781"/>
        </pc:sldMkLst>
        <pc:spChg chg="mod">
          <ac:chgData name="Koksrud Andreas" userId="9d9beba6-c052-407a-8599-c781a677a996" providerId="ADAL" clId="{2BDAD6B4-EC88-4247-A67F-2D4A93DD6E01}" dt="2023-10-27T14:57:09.887" v="5770" actId="20577"/>
          <ac:spMkLst>
            <pc:docMk/>
            <pc:sldMk cId="3742512147" sldId="781"/>
            <ac:spMk id="181" creationId="{00000000-0000-0000-0000-000000000000}"/>
          </ac:spMkLst>
        </pc:spChg>
        <pc:picChg chg="del">
          <ac:chgData name="Koksrud Andreas" userId="9d9beba6-c052-407a-8599-c781a677a996" providerId="ADAL" clId="{2BDAD6B4-EC88-4247-A67F-2D4A93DD6E01}" dt="2023-10-27T14:55:22.351" v="5760" actId="478"/>
          <ac:picMkLst>
            <pc:docMk/>
            <pc:sldMk cId="3742512147" sldId="781"/>
            <ac:picMk id="3" creationId="{9A99796D-A6E9-DFBE-8990-467380BDA332}"/>
          </ac:picMkLst>
        </pc:picChg>
      </pc:sldChg>
      <pc:sldChg chg="addSp modSp add mod">
        <pc:chgData name="Koksrud Andreas" userId="9d9beba6-c052-407a-8599-c781a677a996" providerId="ADAL" clId="{2BDAD6B4-EC88-4247-A67F-2D4A93DD6E01}" dt="2023-10-27T20:38:02.877" v="7188" actId="20577"/>
        <pc:sldMkLst>
          <pc:docMk/>
          <pc:sldMk cId="2431776702" sldId="782"/>
        </pc:sldMkLst>
        <pc:spChg chg="mod">
          <ac:chgData name="Koksrud Andreas" userId="9d9beba6-c052-407a-8599-c781a677a996" providerId="ADAL" clId="{2BDAD6B4-EC88-4247-A67F-2D4A93DD6E01}" dt="2023-10-27T20:22:35.584" v="6700" actId="20577"/>
          <ac:spMkLst>
            <pc:docMk/>
            <pc:sldMk cId="2431776702" sldId="782"/>
            <ac:spMk id="180" creationId="{00000000-0000-0000-0000-000000000000}"/>
          </ac:spMkLst>
        </pc:spChg>
        <pc:spChg chg="mod">
          <ac:chgData name="Koksrud Andreas" userId="9d9beba6-c052-407a-8599-c781a677a996" providerId="ADAL" clId="{2BDAD6B4-EC88-4247-A67F-2D4A93DD6E01}" dt="2023-10-27T20:38:02.877" v="7188" actId="20577"/>
          <ac:spMkLst>
            <pc:docMk/>
            <pc:sldMk cId="2431776702" sldId="782"/>
            <ac:spMk id="181" creationId="{00000000-0000-0000-0000-000000000000}"/>
          </ac:spMkLst>
        </pc:spChg>
        <pc:picChg chg="add mod modCrop">
          <ac:chgData name="Koksrud Andreas" userId="9d9beba6-c052-407a-8599-c781a677a996" providerId="ADAL" clId="{2BDAD6B4-EC88-4247-A67F-2D4A93DD6E01}" dt="2023-10-27T20:27:15.198" v="6987" actId="1076"/>
          <ac:picMkLst>
            <pc:docMk/>
            <pc:sldMk cId="2431776702" sldId="782"/>
            <ac:picMk id="3" creationId="{042E7B5A-76AD-6CC7-1F56-6A2FDCAEB32D}"/>
          </ac:picMkLst>
        </pc:picChg>
      </pc:sldChg>
      <pc:sldChg chg="addSp delSp modSp add mod">
        <pc:chgData name="Koksrud Andreas" userId="9d9beba6-c052-407a-8599-c781a677a996" providerId="ADAL" clId="{2BDAD6B4-EC88-4247-A67F-2D4A93DD6E01}" dt="2023-10-27T20:49:36.248" v="7403" actId="1076"/>
        <pc:sldMkLst>
          <pc:docMk/>
          <pc:sldMk cId="4084346027" sldId="783"/>
        </pc:sldMkLst>
        <pc:spChg chg="mod">
          <ac:chgData name="Koksrud Andreas" userId="9d9beba6-c052-407a-8599-c781a677a996" providerId="ADAL" clId="{2BDAD6B4-EC88-4247-A67F-2D4A93DD6E01}" dt="2023-10-27T20:27:42.034" v="6998" actId="20577"/>
          <ac:spMkLst>
            <pc:docMk/>
            <pc:sldMk cId="4084346027" sldId="783"/>
            <ac:spMk id="180" creationId="{00000000-0000-0000-0000-000000000000}"/>
          </ac:spMkLst>
        </pc:spChg>
        <pc:spChg chg="mod">
          <ac:chgData name="Koksrud Andreas" userId="9d9beba6-c052-407a-8599-c781a677a996" providerId="ADAL" clId="{2BDAD6B4-EC88-4247-A67F-2D4A93DD6E01}" dt="2023-10-27T20:49:27.249" v="7401" actId="20577"/>
          <ac:spMkLst>
            <pc:docMk/>
            <pc:sldMk cId="4084346027" sldId="783"/>
            <ac:spMk id="181" creationId="{00000000-0000-0000-0000-000000000000}"/>
          </ac:spMkLst>
        </pc:spChg>
        <pc:picChg chg="del">
          <ac:chgData name="Koksrud Andreas" userId="9d9beba6-c052-407a-8599-c781a677a996" providerId="ADAL" clId="{2BDAD6B4-EC88-4247-A67F-2D4A93DD6E01}" dt="2023-10-27T20:27:50.125" v="6999" actId="478"/>
          <ac:picMkLst>
            <pc:docMk/>
            <pc:sldMk cId="4084346027" sldId="783"/>
            <ac:picMk id="3" creationId="{042E7B5A-76AD-6CC7-1F56-6A2FDCAEB32D}"/>
          </ac:picMkLst>
        </pc:picChg>
        <pc:picChg chg="add mod">
          <ac:chgData name="Koksrud Andreas" userId="9d9beba6-c052-407a-8599-c781a677a996" providerId="ADAL" clId="{2BDAD6B4-EC88-4247-A67F-2D4A93DD6E01}" dt="2023-10-27T20:49:36.248" v="7403" actId="1076"/>
          <ac:picMkLst>
            <pc:docMk/>
            <pc:sldMk cId="4084346027" sldId="783"/>
            <ac:picMk id="4" creationId="{5894BF46-B166-EA61-DE0D-6458FA4BC1B1}"/>
          </ac:picMkLst>
        </pc:picChg>
      </pc:sldChg>
      <pc:sldChg chg="modSp add mod">
        <pc:chgData name="Koksrud Andreas" userId="9d9beba6-c052-407a-8599-c781a677a996" providerId="ADAL" clId="{2BDAD6B4-EC88-4247-A67F-2D4A93DD6E01}" dt="2023-11-02T11:35:28.652" v="8268" actId="20577"/>
        <pc:sldMkLst>
          <pc:docMk/>
          <pc:sldMk cId="2842146877" sldId="784"/>
        </pc:sldMkLst>
        <pc:spChg chg="mod">
          <ac:chgData name="Koksrud Andreas" userId="9d9beba6-c052-407a-8599-c781a677a996" providerId="ADAL" clId="{2BDAD6B4-EC88-4247-A67F-2D4A93DD6E01}" dt="2023-11-02T11:32:01.301" v="7568" actId="20577"/>
          <ac:spMkLst>
            <pc:docMk/>
            <pc:sldMk cId="2842146877" sldId="784"/>
            <ac:spMk id="180" creationId="{00000000-0000-0000-0000-000000000000}"/>
          </ac:spMkLst>
        </pc:spChg>
        <pc:spChg chg="mod">
          <ac:chgData name="Koksrud Andreas" userId="9d9beba6-c052-407a-8599-c781a677a996" providerId="ADAL" clId="{2BDAD6B4-EC88-4247-A67F-2D4A93DD6E01}" dt="2023-11-02T11:35:28.652" v="8268" actId="20577"/>
          <ac:spMkLst>
            <pc:docMk/>
            <pc:sldMk cId="2842146877" sldId="784"/>
            <ac:spMk id="181" creationId="{00000000-0000-0000-0000-000000000000}"/>
          </ac:spMkLst>
        </pc:spChg>
      </pc:sldChg>
      <pc:sldChg chg="del">
        <pc:chgData name="Koksrud Andreas" userId="9d9beba6-c052-407a-8599-c781a677a996" providerId="ADAL" clId="{2BDAD6B4-EC88-4247-A67F-2D4A93DD6E01}" dt="2023-10-26T20:17:07.002" v="308" actId="47"/>
        <pc:sldMkLst>
          <pc:docMk/>
          <pc:sldMk cId="178375220" sldId="794"/>
        </pc:sldMkLst>
      </pc:sldChg>
      <pc:sldChg chg="del">
        <pc:chgData name="Koksrud Andreas" userId="9d9beba6-c052-407a-8599-c781a677a996" providerId="ADAL" clId="{2BDAD6B4-EC88-4247-A67F-2D4A93DD6E01}" dt="2023-10-26T20:16:58.598" v="307" actId="47"/>
        <pc:sldMkLst>
          <pc:docMk/>
          <pc:sldMk cId="3764478461" sldId="795"/>
        </pc:sldMkLst>
      </pc:sldChg>
      <pc:sldChg chg="del">
        <pc:chgData name="Koksrud Andreas" userId="9d9beba6-c052-407a-8599-c781a677a996" providerId="ADAL" clId="{2BDAD6B4-EC88-4247-A67F-2D4A93DD6E01}" dt="2023-10-26T20:17:08.811" v="311" actId="47"/>
        <pc:sldMkLst>
          <pc:docMk/>
          <pc:sldMk cId="1907635855" sldId="796"/>
        </pc:sldMkLst>
      </pc:sldChg>
      <pc:sldChg chg="del">
        <pc:chgData name="Koksrud Andreas" userId="9d9beba6-c052-407a-8599-c781a677a996" providerId="ADAL" clId="{2BDAD6B4-EC88-4247-A67F-2D4A93DD6E01}" dt="2023-10-26T20:17:09.250" v="312" actId="47"/>
        <pc:sldMkLst>
          <pc:docMk/>
          <pc:sldMk cId="1982064828" sldId="797"/>
        </pc:sldMkLst>
      </pc:sldChg>
      <pc:sldChg chg="del">
        <pc:chgData name="Koksrud Andreas" userId="9d9beba6-c052-407a-8599-c781a677a996" providerId="ADAL" clId="{2BDAD6B4-EC88-4247-A67F-2D4A93DD6E01}" dt="2023-10-26T20:17:15.180" v="314" actId="47"/>
        <pc:sldMkLst>
          <pc:docMk/>
          <pc:sldMk cId="3022261891" sldId="798"/>
        </pc:sldMkLst>
      </pc:sldChg>
      <pc:sldChg chg="del">
        <pc:chgData name="Koksrud Andreas" userId="9d9beba6-c052-407a-8599-c781a677a996" providerId="ADAL" clId="{2BDAD6B4-EC88-4247-A67F-2D4A93DD6E01}" dt="2023-10-26T20:17:16.538" v="317" actId="47"/>
        <pc:sldMkLst>
          <pc:docMk/>
          <pc:sldMk cId="3047001927" sldId="799"/>
        </pc:sldMkLst>
      </pc:sldChg>
      <pc:sldChg chg="del">
        <pc:chgData name="Koksrud Andreas" userId="9d9beba6-c052-407a-8599-c781a677a996" providerId="ADAL" clId="{2BDAD6B4-EC88-4247-A67F-2D4A93DD6E01}" dt="2023-10-26T20:17:16.936" v="318" actId="47"/>
        <pc:sldMkLst>
          <pc:docMk/>
          <pc:sldMk cId="370428494" sldId="800"/>
        </pc:sldMkLst>
      </pc:sldChg>
      <pc:sldChg chg="del">
        <pc:chgData name="Koksrud Andreas" userId="9d9beba6-c052-407a-8599-c781a677a996" providerId="ADAL" clId="{2BDAD6B4-EC88-4247-A67F-2D4A93DD6E01}" dt="2023-10-26T20:17:17.719" v="320" actId="47"/>
        <pc:sldMkLst>
          <pc:docMk/>
          <pc:sldMk cId="490059796" sldId="801"/>
        </pc:sldMkLst>
      </pc:sldChg>
      <pc:sldChg chg="del">
        <pc:chgData name="Koksrud Andreas" userId="9d9beba6-c052-407a-8599-c781a677a996" providerId="ADAL" clId="{2BDAD6B4-EC88-4247-A67F-2D4A93DD6E01}" dt="2023-10-26T20:17:18.027" v="321" actId="47"/>
        <pc:sldMkLst>
          <pc:docMk/>
          <pc:sldMk cId="4103761933" sldId="802"/>
        </pc:sldMkLst>
      </pc:sldChg>
      <pc:sldChg chg="del">
        <pc:chgData name="Koksrud Andreas" userId="9d9beba6-c052-407a-8599-c781a677a996" providerId="ADAL" clId="{2BDAD6B4-EC88-4247-A67F-2D4A93DD6E01}" dt="2023-10-26T20:17:17.336" v="319" actId="47"/>
        <pc:sldMkLst>
          <pc:docMk/>
          <pc:sldMk cId="2082423837" sldId="803"/>
        </pc:sldMkLst>
      </pc:sldChg>
      <pc:sldChg chg="del">
        <pc:chgData name="Koksrud Andreas" userId="9d9beba6-c052-407a-8599-c781a677a996" providerId="ADAL" clId="{2BDAD6B4-EC88-4247-A67F-2D4A93DD6E01}" dt="2023-10-26T20:17:08.313" v="310" actId="47"/>
        <pc:sldMkLst>
          <pc:docMk/>
          <pc:sldMk cId="652182716" sldId="804"/>
        </pc:sldMkLst>
      </pc:sldChg>
      <pc:sldChg chg="del">
        <pc:chgData name="Koksrud Andreas" userId="9d9beba6-c052-407a-8599-c781a677a996" providerId="ADAL" clId="{2BDAD6B4-EC88-4247-A67F-2D4A93DD6E01}" dt="2023-10-26T20:17:09.638" v="313" actId="47"/>
        <pc:sldMkLst>
          <pc:docMk/>
          <pc:sldMk cId="2465847695" sldId="805"/>
        </pc:sldMkLst>
      </pc:sldChg>
      <pc:sldChg chg="del">
        <pc:chgData name="Koksrud Andreas" userId="9d9beba6-c052-407a-8599-c781a677a996" providerId="ADAL" clId="{2BDAD6B4-EC88-4247-A67F-2D4A93DD6E01}" dt="2023-10-26T20:17:15.552" v="315" actId="47"/>
        <pc:sldMkLst>
          <pc:docMk/>
          <pc:sldMk cId="2061140835" sldId="806"/>
        </pc:sldMkLst>
      </pc:sldChg>
    </pc:docChg>
  </pc:docChgLst>
  <pc:docChgLst>
    <pc:chgData name="Koksrud Andreas" userId="9d9beba6-c052-407a-8599-c781a677a996" providerId="ADAL" clId="{4FE90A26-74BB-45D9-B110-78981551CFFA}"/>
    <pc:docChg chg="undo custSel addSld delSld modSld modSection">
      <pc:chgData name="Koksrud Andreas" userId="9d9beba6-c052-407a-8599-c781a677a996" providerId="ADAL" clId="{4FE90A26-74BB-45D9-B110-78981551CFFA}" dt="2022-10-12T20:54:44.818" v="1440" actId="47"/>
      <pc:docMkLst>
        <pc:docMk/>
      </pc:docMkLst>
      <pc:sldChg chg="modSp mod">
        <pc:chgData name="Koksrud Andreas" userId="9d9beba6-c052-407a-8599-c781a677a996" providerId="ADAL" clId="{4FE90A26-74BB-45D9-B110-78981551CFFA}" dt="2022-10-12T19:26:40.009" v="34" actId="20577"/>
        <pc:sldMkLst>
          <pc:docMk/>
          <pc:sldMk cId="697137886" sldId="679"/>
        </pc:sldMkLst>
        <pc:spChg chg="mod">
          <ac:chgData name="Koksrud Andreas" userId="9d9beba6-c052-407a-8599-c781a677a996" providerId="ADAL" clId="{4FE90A26-74BB-45D9-B110-78981551CFFA}" dt="2022-10-12T19:26:40.009" v="34" actId="20577"/>
          <ac:spMkLst>
            <pc:docMk/>
            <pc:sldMk cId="697137886" sldId="679"/>
            <ac:spMk id="2" creationId="{00000000-0000-0000-0000-000000000000}"/>
          </ac:spMkLst>
        </pc:spChg>
      </pc:sldChg>
      <pc:sldChg chg="modSp mod">
        <pc:chgData name="Koksrud Andreas" userId="9d9beba6-c052-407a-8599-c781a677a996" providerId="ADAL" clId="{4FE90A26-74BB-45D9-B110-78981551CFFA}" dt="2022-10-12T19:27:23.535" v="152" actId="20577"/>
        <pc:sldMkLst>
          <pc:docMk/>
          <pc:sldMk cId="2087783305" sldId="730"/>
        </pc:sldMkLst>
        <pc:spChg chg="mod">
          <ac:chgData name="Koksrud Andreas" userId="9d9beba6-c052-407a-8599-c781a677a996" providerId="ADAL" clId="{4FE90A26-74BB-45D9-B110-78981551CFFA}" dt="2022-10-12T19:27:23.535" v="152" actId="20577"/>
          <ac:spMkLst>
            <pc:docMk/>
            <pc:sldMk cId="2087783305" sldId="730"/>
            <ac:spMk id="2" creationId="{E83F8947-299D-4698-B80E-56B8E23125F0}"/>
          </ac:spMkLst>
        </pc:spChg>
      </pc:sldChg>
      <pc:sldChg chg="addSp delSp modSp mod">
        <pc:chgData name="Koksrud Andreas" userId="9d9beba6-c052-407a-8599-c781a677a996" providerId="ADAL" clId="{4FE90A26-74BB-45D9-B110-78981551CFFA}" dt="2022-10-12T19:59:20.056" v="735" actId="14100"/>
        <pc:sldMkLst>
          <pc:docMk/>
          <pc:sldMk cId="396736890" sldId="757"/>
        </pc:sldMkLst>
        <pc:spChg chg="mod">
          <ac:chgData name="Koksrud Andreas" userId="9d9beba6-c052-407a-8599-c781a677a996" providerId="ADAL" clId="{4FE90A26-74BB-45D9-B110-78981551CFFA}" dt="2022-10-12T19:58:14.957" v="721" actId="14100"/>
          <ac:spMkLst>
            <pc:docMk/>
            <pc:sldMk cId="396736890" sldId="757"/>
            <ac:spMk id="4" creationId="{2ECF3AB8-A6F7-4C86-8007-5158B60C6A0E}"/>
          </ac:spMkLst>
        </pc:spChg>
        <pc:spChg chg="mod">
          <ac:chgData name="Koksrud Andreas" userId="9d9beba6-c052-407a-8599-c781a677a996" providerId="ADAL" clId="{4FE90A26-74BB-45D9-B110-78981551CFFA}" dt="2022-10-12T19:57:55.139" v="715" actId="14100"/>
          <ac:spMkLst>
            <pc:docMk/>
            <pc:sldMk cId="396736890" sldId="757"/>
            <ac:spMk id="7" creationId="{6068465B-FC64-4B96-946D-409C1A0164D1}"/>
          </ac:spMkLst>
        </pc:spChg>
        <pc:spChg chg="mod">
          <ac:chgData name="Koksrud Andreas" userId="9d9beba6-c052-407a-8599-c781a677a996" providerId="ADAL" clId="{4FE90A26-74BB-45D9-B110-78981551CFFA}" dt="2022-10-12T19:58:22.597" v="722" actId="1076"/>
          <ac:spMkLst>
            <pc:docMk/>
            <pc:sldMk cId="396736890" sldId="757"/>
            <ac:spMk id="10" creationId="{B8AD7035-B1E6-4BAC-809E-880AE16677EC}"/>
          </ac:spMkLst>
        </pc:spChg>
        <pc:spChg chg="add del mod">
          <ac:chgData name="Koksrud Andreas" userId="9d9beba6-c052-407a-8599-c781a677a996" providerId="ADAL" clId="{4FE90A26-74BB-45D9-B110-78981551CFFA}" dt="2022-10-12T19:55:16.165" v="612" actId="478"/>
          <ac:spMkLst>
            <pc:docMk/>
            <pc:sldMk cId="396736890" sldId="757"/>
            <ac:spMk id="11" creationId="{5232FF80-411C-4F2C-9A3C-E32740E81A95}"/>
          </ac:spMkLst>
        </pc:spChg>
        <pc:spChg chg="add mod">
          <ac:chgData name="Koksrud Andreas" userId="9d9beba6-c052-407a-8599-c781a677a996" providerId="ADAL" clId="{4FE90A26-74BB-45D9-B110-78981551CFFA}" dt="2022-10-12T19:57:06.514" v="688" actId="20577"/>
          <ac:spMkLst>
            <pc:docMk/>
            <pc:sldMk cId="396736890" sldId="757"/>
            <ac:spMk id="12" creationId="{12E40938-6728-48DC-A135-E93B4CFB06AF}"/>
          </ac:spMkLst>
        </pc:spChg>
        <pc:spChg chg="mod">
          <ac:chgData name="Koksrud Andreas" userId="9d9beba6-c052-407a-8599-c781a677a996" providerId="ADAL" clId="{4FE90A26-74BB-45D9-B110-78981551CFFA}" dt="2022-10-12T19:57:43.407" v="712" actId="14100"/>
          <ac:spMkLst>
            <pc:docMk/>
            <pc:sldMk cId="396736890" sldId="757"/>
            <ac:spMk id="15" creationId="{C9C592CD-35F0-4396-97D0-9E7728F1C86D}"/>
          </ac:spMkLst>
        </pc:spChg>
        <pc:spChg chg="add mod">
          <ac:chgData name="Koksrud Andreas" userId="9d9beba6-c052-407a-8599-c781a677a996" providerId="ADAL" clId="{4FE90A26-74BB-45D9-B110-78981551CFFA}" dt="2022-10-12T19:52:06.263" v="610" actId="14100"/>
          <ac:spMkLst>
            <pc:docMk/>
            <pc:sldMk cId="396736890" sldId="757"/>
            <ac:spMk id="16" creationId="{07DBB511-C5F0-4D38-9327-A4DD7CCD8691}"/>
          </ac:spMkLst>
        </pc:spChg>
        <pc:spChg chg="add mod">
          <ac:chgData name="Koksrud Andreas" userId="9d9beba6-c052-407a-8599-c781a677a996" providerId="ADAL" clId="{4FE90A26-74BB-45D9-B110-78981551CFFA}" dt="2022-10-12T19:57:19.931" v="699" actId="20577"/>
          <ac:spMkLst>
            <pc:docMk/>
            <pc:sldMk cId="396736890" sldId="757"/>
            <ac:spMk id="21" creationId="{6863767D-A90F-4028-8874-5F81AE2B27F3}"/>
          </ac:spMkLst>
        </pc:spChg>
        <pc:spChg chg="add mod">
          <ac:chgData name="Koksrud Andreas" userId="9d9beba6-c052-407a-8599-c781a677a996" providerId="ADAL" clId="{4FE90A26-74BB-45D9-B110-78981551CFFA}" dt="2022-10-12T19:58:59.079" v="730" actId="14100"/>
          <ac:spMkLst>
            <pc:docMk/>
            <pc:sldMk cId="396736890" sldId="757"/>
            <ac:spMk id="30" creationId="{76B2A01D-6F66-4771-97AD-3C58C01E7EF7}"/>
          </ac:spMkLst>
        </pc:spChg>
        <pc:spChg chg="add mod">
          <ac:chgData name="Koksrud Andreas" userId="9d9beba6-c052-407a-8599-c781a677a996" providerId="ADAL" clId="{4FE90A26-74BB-45D9-B110-78981551CFFA}" dt="2022-10-12T19:59:08.531" v="732" actId="1076"/>
          <ac:spMkLst>
            <pc:docMk/>
            <pc:sldMk cId="396736890" sldId="757"/>
            <ac:spMk id="31" creationId="{7ACC2683-E91B-4ACE-8782-1EC35BE01537}"/>
          </ac:spMkLst>
        </pc:spChg>
        <pc:spChg chg="mod">
          <ac:chgData name="Koksrud Andreas" userId="9d9beba6-c052-407a-8599-c781a677a996" providerId="ADAL" clId="{4FE90A26-74BB-45D9-B110-78981551CFFA}" dt="2022-10-12T19:51:14.711" v="498" actId="20577"/>
          <ac:spMkLst>
            <pc:docMk/>
            <pc:sldMk cId="396736890" sldId="757"/>
            <ac:spMk id="180" creationId="{00000000-0000-0000-0000-000000000000}"/>
          </ac:spMkLst>
        </pc:spChg>
        <pc:picChg chg="del">
          <ac:chgData name="Koksrud Andreas" userId="9d9beba6-c052-407a-8599-c781a677a996" providerId="ADAL" clId="{4FE90A26-74BB-45D9-B110-78981551CFFA}" dt="2022-10-12T19:55:06.686" v="611" actId="478"/>
          <ac:picMkLst>
            <pc:docMk/>
            <pc:sldMk cId="396736890" sldId="757"/>
            <ac:picMk id="3" creationId="{21988043-E318-4771-B6B5-07823EFDB4E4}"/>
          </ac:picMkLst>
        </pc:picChg>
        <pc:picChg chg="add mod ord">
          <ac:chgData name="Koksrud Andreas" userId="9d9beba6-c052-407a-8599-c781a677a996" providerId="ADAL" clId="{4FE90A26-74BB-45D9-B110-78981551CFFA}" dt="2022-10-12T19:58:49.498" v="728" actId="1076"/>
          <ac:picMkLst>
            <pc:docMk/>
            <pc:sldMk cId="396736890" sldId="757"/>
            <ac:picMk id="17" creationId="{C6160B23-DB6A-46B7-82CB-D12F6C26C5F6}"/>
          </ac:picMkLst>
        </pc:picChg>
        <pc:cxnChg chg="mod">
          <ac:chgData name="Koksrud Andreas" userId="9d9beba6-c052-407a-8599-c781a677a996" providerId="ADAL" clId="{4FE90A26-74BB-45D9-B110-78981551CFFA}" dt="2022-10-12T19:58:29.336" v="724" actId="14100"/>
          <ac:cxnSpMkLst>
            <pc:docMk/>
            <pc:sldMk cId="396736890" sldId="757"/>
            <ac:cxnSpMk id="6" creationId="{277973A1-4F9D-496B-AED6-59A78234FF48}"/>
          </ac:cxnSpMkLst>
        </pc:cxnChg>
        <pc:cxnChg chg="mod">
          <ac:chgData name="Koksrud Andreas" userId="9d9beba6-c052-407a-8599-c781a677a996" providerId="ADAL" clId="{4FE90A26-74BB-45D9-B110-78981551CFFA}" dt="2022-10-12T19:57:58.353" v="716" actId="14100"/>
          <ac:cxnSpMkLst>
            <pc:docMk/>
            <pc:sldMk cId="396736890" sldId="757"/>
            <ac:cxnSpMk id="9" creationId="{9ECF109E-52D4-4978-8BB7-265D06CCB3E5}"/>
          </ac:cxnSpMkLst>
        </pc:cxnChg>
        <pc:cxnChg chg="add mod">
          <ac:chgData name="Koksrud Andreas" userId="9d9beba6-c052-407a-8599-c781a677a996" providerId="ADAL" clId="{4FE90A26-74BB-45D9-B110-78981551CFFA}" dt="2022-10-12T19:58:41.578" v="725" actId="14100"/>
          <ac:cxnSpMkLst>
            <pc:docMk/>
            <pc:sldMk cId="396736890" sldId="757"/>
            <ac:cxnSpMk id="13" creationId="{5E61798F-0846-4D58-A3D1-175853F3945A}"/>
          </ac:cxnSpMkLst>
        </pc:cxnChg>
        <pc:cxnChg chg="add mod">
          <ac:chgData name="Koksrud Andreas" userId="9d9beba6-c052-407a-8599-c781a677a996" providerId="ADAL" clId="{4FE90A26-74BB-45D9-B110-78981551CFFA}" dt="2022-10-12T19:59:20.056" v="735" actId="14100"/>
          <ac:cxnSpMkLst>
            <pc:docMk/>
            <pc:sldMk cId="396736890" sldId="757"/>
            <ac:cxnSpMk id="32" creationId="{1F6C5685-455E-4868-A46C-95B393FC102D}"/>
          </ac:cxnSpMkLst>
        </pc:cxnChg>
      </pc:sldChg>
      <pc:sldChg chg="del">
        <pc:chgData name="Koksrud Andreas" userId="9d9beba6-c052-407a-8599-c781a677a996" providerId="ADAL" clId="{4FE90A26-74BB-45D9-B110-78981551CFFA}" dt="2022-10-12T19:59:44.074" v="737" actId="47"/>
        <pc:sldMkLst>
          <pc:docMk/>
          <pc:sldMk cId="2706780473" sldId="758"/>
        </pc:sldMkLst>
      </pc:sldChg>
      <pc:sldChg chg="del">
        <pc:chgData name="Koksrud Andreas" userId="9d9beba6-c052-407a-8599-c781a677a996" providerId="ADAL" clId="{4FE90A26-74BB-45D9-B110-78981551CFFA}" dt="2022-10-12T19:59:56.077" v="740" actId="47"/>
        <pc:sldMkLst>
          <pc:docMk/>
          <pc:sldMk cId="2616277657" sldId="759"/>
        </pc:sldMkLst>
      </pc:sldChg>
      <pc:sldChg chg="del">
        <pc:chgData name="Koksrud Andreas" userId="9d9beba6-c052-407a-8599-c781a677a996" providerId="ADAL" clId="{4FE90A26-74BB-45D9-B110-78981551CFFA}" dt="2022-10-12T20:10:58.414" v="867" actId="47"/>
        <pc:sldMkLst>
          <pc:docMk/>
          <pc:sldMk cId="1725751202" sldId="760"/>
        </pc:sldMkLst>
      </pc:sldChg>
      <pc:sldChg chg="del">
        <pc:chgData name="Koksrud Andreas" userId="9d9beba6-c052-407a-8599-c781a677a996" providerId="ADAL" clId="{4FE90A26-74BB-45D9-B110-78981551CFFA}" dt="2022-10-12T20:11:01.710" v="870" actId="47"/>
        <pc:sldMkLst>
          <pc:docMk/>
          <pc:sldMk cId="1019764475" sldId="761"/>
        </pc:sldMkLst>
      </pc:sldChg>
      <pc:sldChg chg="modSp mod">
        <pc:chgData name="Koksrud Andreas" userId="9d9beba6-c052-407a-8599-c781a677a996" providerId="ADAL" clId="{4FE90A26-74BB-45D9-B110-78981551CFFA}" dt="2022-10-12T20:16:50.641" v="1114" actId="1076"/>
        <pc:sldMkLst>
          <pc:docMk/>
          <pc:sldMk cId="3548956945" sldId="762"/>
        </pc:sldMkLst>
        <pc:spChg chg="mod">
          <ac:chgData name="Koksrud Andreas" userId="9d9beba6-c052-407a-8599-c781a677a996" providerId="ADAL" clId="{4FE90A26-74BB-45D9-B110-78981551CFFA}" dt="2022-10-12T20:16:50.641" v="1114" actId="1076"/>
          <ac:spMkLst>
            <pc:docMk/>
            <pc:sldMk cId="3548956945" sldId="762"/>
            <ac:spMk id="19" creationId="{5D456D15-BECC-4AA9-909E-81B3C7B91D77}"/>
          </ac:spMkLst>
        </pc:spChg>
        <pc:spChg chg="mod">
          <ac:chgData name="Koksrud Andreas" userId="9d9beba6-c052-407a-8599-c781a677a996" providerId="ADAL" clId="{4FE90A26-74BB-45D9-B110-78981551CFFA}" dt="2022-10-12T20:16:36.832" v="1112" actId="20577"/>
          <ac:spMkLst>
            <pc:docMk/>
            <pc:sldMk cId="3548956945" sldId="762"/>
            <ac:spMk id="180" creationId="{00000000-0000-0000-0000-000000000000}"/>
          </ac:spMkLst>
        </pc:spChg>
        <pc:picChg chg="mod">
          <ac:chgData name="Koksrud Andreas" userId="9d9beba6-c052-407a-8599-c781a677a996" providerId="ADAL" clId="{4FE90A26-74BB-45D9-B110-78981551CFFA}" dt="2022-10-12T20:16:45.665" v="1113" actId="1076"/>
          <ac:picMkLst>
            <pc:docMk/>
            <pc:sldMk cId="3548956945" sldId="762"/>
            <ac:picMk id="18" creationId="{82FBB2CF-FD0D-468E-A54F-86B9E9FE8D36}"/>
          </ac:picMkLst>
        </pc:picChg>
      </pc:sldChg>
      <pc:sldChg chg="del">
        <pc:chgData name="Koksrud Andreas" userId="9d9beba6-c052-407a-8599-c781a677a996" providerId="ADAL" clId="{4FE90A26-74BB-45D9-B110-78981551CFFA}" dt="2022-10-12T20:11:30.888" v="884" actId="47"/>
        <pc:sldMkLst>
          <pc:docMk/>
          <pc:sldMk cId="1523800458" sldId="763"/>
        </pc:sldMkLst>
      </pc:sldChg>
      <pc:sldChg chg="del">
        <pc:chgData name="Koksrud Andreas" userId="9d9beba6-c052-407a-8599-c781a677a996" providerId="ADAL" clId="{4FE90A26-74BB-45D9-B110-78981551CFFA}" dt="2022-10-12T20:11:00.768" v="869" actId="47"/>
        <pc:sldMkLst>
          <pc:docMk/>
          <pc:sldMk cId="1963101599" sldId="764"/>
        </pc:sldMkLst>
      </pc:sldChg>
      <pc:sldChg chg="del">
        <pc:chgData name="Koksrud Andreas" userId="9d9beba6-c052-407a-8599-c781a677a996" providerId="ADAL" clId="{4FE90A26-74BB-45D9-B110-78981551CFFA}" dt="2022-10-12T20:11:05.440" v="872" actId="47"/>
        <pc:sldMkLst>
          <pc:docMk/>
          <pc:sldMk cId="1133620909" sldId="765"/>
        </pc:sldMkLst>
      </pc:sldChg>
      <pc:sldChg chg="del">
        <pc:chgData name="Koksrud Andreas" userId="9d9beba6-c052-407a-8599-c781a677a996" providerId="ADAL" clId="{4FE90A26-74BB-45D9-B110-78981551CFFA}" dt="2022-10-12T20:11:10.049" v="876" actId="47"/>
        <pc:sldMkLst>
          <pc:docMk/>
          <pc:sldMk cId="2033200031" sldId="766"/>
        </pc:sldMkLst>
      </pc:sldChg>
      <pc:sldChg chg="del">
        <pc:chgData name="Koksrud Andreas" userId="9d9beba6-c052-407a-8599-c781a677a996" providerId="ADAL" clId="{4FE90A26-74BB-45D9-B110-78981551CFFA}" dt="2022-10-12T20:11:07.093" v="873" actId="47"/>
        <pc:sldMkLst>
          <pc:docMk/>
          <pc:sldMk cId="3428711004" sldId="767"/>
        </pc:sldMkLst>
      </pc:sldChg>
      <pc:sldChg chg="del">
        <pc:chgData name="Koksrud Andreas" userId="9d9beba6-c052-407a-8599-c781a677a996" providerId="ADAL" clId="{4FE90A26-74BB-45D9-B110-78981551CFFA}" dt="2022-10-12T20:11:09.247" v="875" actId="47"/>
        <pc:sldMkLst>
          <pc:docMk/>
          <pc:sldMk cId="1456486215" sldId="768"/>
        </pc:sldMkLst>
      </pc:sldChg>
      <pc:sldChg chg="del">
        <pc:chgData name="Koksrud Andreas" userId="9d9beba6-c052-407a-8599-c781a677a996" providerId="ADAL" clId="{4FE90A26-74BB-45D9-B110-78981551CFFA}" dt="2022-10-12T20:11:12.822" v="877" actId="47"/>
        <pc:sldMkLst>
          <pc:docMk/>
          <pc:sldMk cId="1313933673" sldId="769"/>
        </pc:sldMkLst>
      </pc:sldChg>
      <pc:sldChg chg="del">
        <pc:chgData name="Koksrud Andreas" userId="9d9beba6-c052-407a-8599-c781a677a996" providerId="ADAL" clId="{4FE90A26-74BB-45D9-B110-78981551CFFA}" dt="2022-10-12T20:11:15.032" v="878" actId="47"/>
        <pc:sldMkLst>
          <pc:docMk/>
          <pc:sldMk cId="284321844" sldId="770"/>
        </pc:sldMkLst>
      </pc:sldChg>
      <pc:sldChg chg="del">
        <pc:chgData name="Koksrud Andreas" userId="9d9beba6-c052-407a-8599-c781a677a996" providerId="ADAL" clId="{4FE90A26-74BB-45D9-B110-78981551CFFA}" dt="2022-10-12T20:11:16.569" v="879" actId="47"/>
        <pc:sldMkLst>
          <pc:docMk/>
          <pc:sldMk cId="3521944309" sldId="771"/>
        </pc:sldMkLst>
      </pc:sldChg>
      <pc:sldChg chg="del">
        <pc:chgData name="Koksrud Andreas" userId="9d9beba6-c052-407a-8599-c781a677a996" providerId="ADAL" clId="{4FE90A26-74BB-45D9-B110-78981551CFFA}" dt="2022-10-12T20:11:24.140" v="880" actId="47"/>
        <pc:sldMkLst>
          <pc:docMk/>
          <pc:sldMk cId="4174575932" sldId="772"/>
        </pc:sldMkLst>
      </pc:sldChg>
      <pc:sldChg chg="del">
        <pc:chgData name="Koksrud Andreas" userId="9d9beba6-c052-407a-8599-c781a677a996" providerId="ADAL" clId="{4FE90A26-74BB-45D9-B110-78981551CFFA}" dt="2022-10-12T20:11:26.072" v="881" actId="47"/>
        <pc:sldMkLst>
          <pc:docMk/>
          <pc:sldMk cId="1893841773" sldId="773"/>
        </pc:sldMkLst>
      </pc:sldChg>
      <pc:sldChg chg="del">
        <pc:chgData name="Koksrud Andreas" userId="9d9beba6-c052-407a-8599-c781a677a996" providerId="ADAL" clId="{4FE90A26-74BB-45D9-B110-78981551CFFA}" dt="2022-10-12T20:11:27.296" v="882" actId="47"/>
        <pc:sldMkLst>
          <pc:docMk/>
          <pc:sldMk cId="1749779748" sldId="774"/>
        </pc:sldMkLst>
      </pc:sldChg>
      <pc:sldChg chg="del">
        <pc:chgData name="Koksrud Andreas" userId="9d9beba6-c052-407a-8599-c781a677a996" providerId="ADAL" clId="{4FE90A26-74BB-45D9-B110-78981551CFFA}" dt="2022-10-12T20:11:29.779" v="883" actId="47"/>
        <pc:sldMkLst>
          <pc:docMk/>
          <pc:sldMk cId="2963068298" sldId="775"/>
        </pc:sldMkLst>
      </pc:sldChg>
      <pc:sldChg chg="addSp delSp modSp mod">
        <pc:chgData name="Koksrud Andreas" userId="9d9beba6-c052-407a-8599-c781a677a996" providerId="ADAL" clId="{4FE90A26-74BB-45D9-B110-78981551CFFA}" dt="2022-10-12T20:22:16.039" v="1241" actId="1076"/>
        <pc:sldMkLst>
          <pc:docMk/>
          <pc:sldMk cId="2831047971" sldId="776"/>
        </pc:sldMkLst>
        <pc:spChg chg="add del mod">
          <ac:chgData name="Koksrud Andreas" userId="9d9beba6-c052-407a-8599-c781a677a996" providerId="ADAL" clId="{4FE90A26-74BB-45D9-B110-78981551CFFA}" dt="2022-10-12T20:16:09.173" v="1079" actId="478"/>
          <ac:spMkLst>
            <pc:docMk/>
            <pc:sldMk cId="2831047971" sldId="776"/>
            <ac:spMk id="4" creationId="{C8BC275D-F912-48B3-8D8B-3D2A4EA23D8D}"/>
          </ac:spMkLst>
        </pc:spChg>
        <pc:spChg chg="add mod">
          <ac:chgData name="Koksrud Andreas" userId="9d9beba6-c052-407a-8599-c781a677a996" providerId="ADAL" clId="{4FE90A26-74BB-45D9-B110-78981551CFFA}" dt="2022-10-12T20:21:55.690" v="1236" actId="14100"/>
          <ac:spMkLst>
            <pc:docMk/>
            <pc:sldMk cId="2831047971" sldId="776"/>
            <ac:spMk id="13" creationId="{0C341034-813F-4889-BFA8-0E22D92271B6}"/>
          </ac:spMkLst>
        </pc:spChg>
        <pc:spChg chg="add mod">
          <ac:chgData name="Koksrud Andreas" userId="9d9beba6-c052-407a-8599-c781a677a996" providerId="ADAL" clId="{4FE90A26-74BB-45D9-B110-78981551CFFA}" dt="2022-10-12T20:22:06.766" v="1239" actId="14100"/>
          <ac:spMkLst>
            <pc:docMk/>
            <pc:sldMk cId="2831047971" sldId="776"/>
            <ac:spMk id="14" creationId="{216E1D07-528B-4841-8DD5-451F1091E1D4}"/>
          </ac:spMkLst>
        </pc:spChg>
        <pc:spChg chg="add mod">
          <ac:chgData name="Koksrud Andreas" userId="9d9beba6-c052-407a-8599-c781a677a996" providerId="ADAL" clId="{4FE90A26-74BB-45D9-B110-78981551CFFA}" dt="2022-10-12T20:22:16.039" v="1241" actId="1076"/>
          <ac:spMkLst>
            <pc:docMk/>
            <pc:sldMk cId="2831047971" sldId="776"/>
            <ac:spMk id="15" creationId="{6D2CD49D-7972-4CBA-9E1D-AE67CA6C2509}"/>
          </ac:spMkLst>
        </pc:spChg>
        <pc:spChg chg="mod">
          <ac:chgData name="Koksrud Andreas" userId="9d9beba6-c052-407a-8599-c781a677a996" providerId="ADAL" clId="{4FE90A26-74BB-45D9-B110-78981551CFFA}" dt="2022-10-12T20:18:01.829" v="1149" actId="20577"/>
          <ac:spMkLst>
            <pc:docMk/>
            <pc:sldMk cId="2831047971" sldId="776"/>
            <ac:spMk id="180" creationId="{00000000-0000-0000-0000-000000000000}"/>
          </ac:spMkLst>
        </pc:spChg>
        <pc:spChg chg="del">
          <ac:chgData name="Koksrud Andreas" userId="9d9beba6-c052-407a-8599-c781a677a996" providerId="ADAL" clId="{4FE90A26-74BB-45D9-B110-78981551CFFA}" dt="2022-10-12T20:16:03.695" v="1078" actId="478"/>
          <ac:spMkLst>
            <pc:docMk/>
            <pc:sldMk cId="2831047971" sldId="776"/>
            <ac:spMk id="181" creationId="{00000000-0000-0000-0000-000000000000}"/>
          </ac:spMkLst>
        </pc:spChg>
        <pc:picChg chg="del">
          <ac:chgData name="Koksrud Andreas" userId="9d9beba6-c052-407a-8599-c781a677a996" providerId="ADAL" clId="{4FE90A26-74BB-45D9-B110-78981551CFFA}" dt="2022-10-12T20:16:10.633" v="1080" actId="478"/>
          <ac:picMkLst>
            <pc:docMk/>
            <pc:sldMk cId="2831047971" sldId="776"/>
            <ac:picMk id="3" creationId="{11D96017-4683-4EA7-8338-CB14A3C6A78B}"/>
          </ac:picMkLst>
        </pc:picChg>
        <pc:picChg chg="add mod">
          <ac:chgData name="Koksrud Andreas" userId="9d9beba6-c052-407a-8599-c781a677a996" providerId="ADAL" clId="{4FE90A26-74BB-45D9-B110-78981551CFFA}" dt="2022-10-12T20:20:49.538" v="1229" actId="931"/>
          <ac:picMkLst>
            <pc:docMk/>
            <pc:sldMk cId="2831047971" sldId="776"/>
            <ac:picMk id="6" creationId="{C196C345-90F3-48B1-B5A0-0C8E497C94F6}"/>
          </ac:picMkLst>
        </pc:picChg>
        <pc:picChg chg="add mod">
          <ac:chgData name="Koksrud Andreas" userId="9d9beba6-c052-407a-8599-c781a677a996" providerId="ADAL" clId="{4FE90A26-74BB-45D9-B110-78981551CFFA}" dt="2022-10-12T20:21:36.396" v="1233" actId="14100"/>
          <ac:picMkLst>
            <pc:docMk/>
            <pc:sldMk cId="2831047971" sldId="776"/>
            <ac:picMk id="8" creationId="{CB717F23-0F01-421D-BF21-FE8BD1C1188E}"/>
          </ac:picMkLst>
        </pc:picChg>
      </pc:sldChg>
      <pc:sldChg chg="modSp mod">
        <pc:chgData name="Koksrud Andreas" userId="9d9beba6-c052-407a-8599-c781a677a996" providerId="ADAL" clId="{4FE90A26-74BB-45D9-B110-78981551CFFA}" dt="2022-10-12T20:16:26.582" v="1096" actId="20577"/>
        <pc:sldMkLst>
          <pc:docMk/>
          <pc:sldMk cId="1447749266" sldId="777"/>
        </pc:sldMkLst>
        <pc:spChg chg="mod">
          <ac:chgData name="Koksrud Andreas" userId="9d9beba6-c052-407a-8599-c781a677a996" providerId="ADAL" clId="{4FE90A26-74BB-45D9-B110-78981551CFFA}" dt="2022-10-12T20:16:26.582" v="1096" actId="20577"/>
          <ac:spMkLst>
            <pc:docMk/>
            <pc:sldMk cId="1447749266" sldId="777"/>
            <ac:spMk id="180" creationId="{00000000-0000-0000-0000-000000000000}"/>
          </ac:spMkLst>
        </pc:spChg>
      </pc:sldChg>
      <pc:sldChg chg="del">
        <pc:chgData name="Koksrud Andreas" userId="9d9beba6-c052-407a-8599-c781a677a996" providerId="ADAL" clId="{4FE90A26-74BB-45D9-B110-78981551CFFA}" dt="2022-10-12T20:17:36.492" v="1135" actId="47"/>
        <pc:sldMkLst>
          <pc:docMk/>
          <pc:sldMk cId="286125317" sldId="779"/>
        </pc:sldMkLst>
      </pc:sldChg>
      <pc:sldChg chg="modSp mod">
        <pc:chgData name="Koksrud Andreas" userId="9d9beba6-c052-407a-8599-c781a677a996" providerId="ADAL" clId="{4FE90A26-74BB-45D9-B110-78981551CFFA}" dt="2022-10-12T20:17:14.991" v="1134" actId="20577"/>
        <pc:sldMkLst>
          <pc:docMk/>
          <pc:sldMk cId="2127300312" sldId="780"/>
        </pc:sldMkLst>
        <pc:spChg chg="mod">
          <ac:chgData name="Koksrud Andreas" userId="9d9beba6-c052-407a-8599-c781a677a996" providerId="ADAL" clId="{4FE90A26-74BB-45D9-B110-78981551CFFA}" dt="2022-10-12T20:17:14.991" v="1134" actId="20577"/>
          <ac:spMkLst>
            <pc:docMk/>
            <pc:sldMk cId="2127300312" sldId="780"/>
            <ac:spMk id="180" creationId="{00000000-0000-0000-0000-000000000000}"/>
          </ac:spMkLst>
        </pc:spChg>
      </pc:sldChg>
      <pc:sldChg chg="del">
        <pc:chgData name="Koksrud Andreas" userId="9d9beba6-c052-407a-8599-c781a677a996" providerId="ADAL" clId="{4FE90A26-74BB-45D9-B110-78981551CFFA}" dt="2022-10-12T19:59:54.252" v="739" actId="47"/>
        <pc:sldMkLst>
          <pc:docMk/>
          <pc:sldMk cId="2324317775" sldId="781"/>
        </pc:sldMkLst>
      </pc:sldChg>
      <pc:sldChg chg="del">
        <pc:chgData name="Koksrud Andreas" userId="9d9beba6-c052-407a-8599-c781a677a996" providerId="ADAL" clId="{4FE90A26-74BB-45D9-B110-78981551CFFA}" dt="2022-10-12T19:59:52.571" v="738" actId="47"/>
        <pc:sldMkLst>
          <pc:docMk/>
          <pc:sldMk cId="1584291209" sldId="782"/>
        </pc:sldMkLst>
      </pc:sldChg>
      <pc:sldChg chg="del">
        <pc:chgData name="Koksrud Andreas" userId="9d9beba6-c052-407a-8599-c781a677a996" providerId="ADAL" clId="{4FE90A26-74BB-45D9-B110-78981551CFFA}" dt="2022-10-12T19:59:41.994" v="736" actId="47"/>
        <pc:sldMkLst>
          <pc:docMk/>
          <pc:sldMk cId="2272527178" sldId="783"/>
        </pc:sldMkLst>
      </pc:sldChg>
      <pc:sldChg chg="del">
        <pc:chgData name="Koksrud Andreas" userId="9d9beba6-c052-407a-8599-c781a677a996" providerId="ADAL" clId="{4FE90A26-74BB-45D9-B110-78981551CFFA}" dt="2022-10-12T19:59:56.780" v="741" actId="47"/>
        <pc:sldMkLst>
          <pc:docMk/>
          <pc:sldMk cId="2035997049" sldId="784"/>
        </pc:sldMkLst>
      </pc:sldChg>
      <pc:sldChg chg="del">
        <pc:chgData name="Koksrud Andreas" userId="9d9beba6-c052-407a-8599-c781a677a996" providerId="ADAL" clId="{4FE90A26-74BB-45D9-B110-78981551CFFA}" dt="2022-10-12T19:59:57.428" v="742" actId="47"/>
        <pc:sldMkLst>
          <pc:docMk/>
          <pc:sldMk cId="1437315232" sldId="785"/>
        </pc:sldMkLst>
      </pc:sldChg>
      <pc:sldChg chg="del">
        <pc:chgData name="Koksrud Andreas" userId="9d9beba6-c052-407a-8599-c781a677a996" providerId="ADAL" clId="{4FE90A26-74BB-45D9-B110-78981551CFFA}" dt="2022-10-12T19:59:58.089" v="743" actId="47"/>
        <pc:sldMkLst>
          <pc:docMk/>
          <pc:sldMk cId="439586449" sldId="786"/>
        </pc:sldMkLst>
      </pc:sldChg>
      <pc:sldChg chg="del">
        <pc:chgData name="Koksrud Andreas" userId="9d9beba6-c052-407a-8599-c781a677a996" providerId="ADAL" clId="{4FE90A26-74BB-45D9-B110-78981551CFFA}" dt="2022-10-12T19:59:58.929" v="744" actId="47"/>
        <pc:sldMkLst>
          <pc:docMk/>
          <pc:sldMk cId="3919586401" sldId="787"/>
        </pc:sldMkLst>
      </pc:sldChg>
      <pc:sldChg chg="del">
        <pc:chgData name="Koksrud Andreas" userId="9d9beba6-c052-407a-8599-c781a677a996" providerId="ADAL" clId="{4FE90A26-74BB-45D9-B110-78981551CFFA}" dt="2022-10-12T20:00:00.164" v="745" actId="47"/>
        <pc:sldMkLst>
          <pc:docMk/>
          <pc:sldMk cId="463834088" sldId="788"/>
        </pc:sldMkLst>
      </pc:sldChg>
      <pc:sldChg chg="del">
        <pc:chgData name="Koksrud Andreas" userId="9d9beba6-c052-407a-8599-c781a677a996" providerId="ADAL" clId="{4FE90A26-74BB-45D9-B110-78981551CFFA}" dt="2022-10-12T20:00:00.997" v="746" actId="47"/>
        <pc:sldMkLst>
          <pc:docMk/>
          <pc:sldMk cId="1168678729" sldId="789"/>
        </pc:sldMkLst>
      </pc:sldChg>
      <pc:sldChg chg="del">
        <pc:chgData name="Koksrud Andreas" userId="9d9beba6-c052-407a-8599-c781a677a996" providerId="ADAL" clId="{4FE90A26-74BB-45D9-B110-78981551CFFA}" dt="2022-10-12T20:11:02.807" v="871" actId="47"/>
        <pc:sldMkLst>
          <pc:docMk/>
          <pc:sldMk cId="2352117430" sldId="790"/>
        </pc:sldMkLst>
      </pc:sldChg>
      <pc:sldChg chg="del">
        <pc:chgData name="Koksrud Andreas" userId="9d9beba6-c052-407a-8599-c781a677a996" providerId="ADAL" clId="{4FE90A26-74BB-45D9-B110-78981551CFFA}" dt="2022-10-12T20:11:08.038" v="874" actId="47"/>
        <pc:sldMkLst>
          <pc:docMk/>
          <pc:sldMk cId="1582857246" sldId="791"/>
        </pc:sldMkLst>
      </pc:sldChg>
      <pc:sldChg chg="del">
        <pc:chgData name="Koksrud Andreas" userId="9d9beba6-c052-407a-8599-c781a677a996" providerId="ADAL" clId="{4FE90A26-74BB-45D9-B110-78981551CFFA}" dt="2022-10-12T20:16:13.631" v="1081" actId="47"/>
        <pc:sldMkLst>
          <pc:docMk/>
          <pc:sldMk cId="95454940" sldId="792"/>
        </pc:sldMkLst>
      </pc:sldChg>
      <pc:sldChg chg="del">
        <pc:chgData name="Koksrud Andreas" userId="9d9beba6-c052-407a-8599-c781a677a996" providerId="ADAL" clId="{4FE90A26-74BB-45D9-B110-78981551CFFA}" dt="2022-10-12T20:10:59.769" v="868" actId="47"/>
        <pc:sldMkLst>
          <pc:docMk/>
          <pc:sldMk cId="2873046022" sldId="793"/>
        </pc:sldMkLst>
      </pc:sldChg>
      <pc:sldChg chg="modSp mod">
        <pc:chgData name="Koksrud Andreas" userId="9d9beba6-c052-407a-8599-c781a677a996" providerId="ADAL" clId="{4FE90A26-74BB-45D9-B110-78981551CFFA}" dt="2022-10-12T19:41:26.587" v="406" actId="20577"/>
        <pc:sldMkLst>
          <pc:docMk/>
          <pc:sldMk cId="3764478461" sldId="795"/>
        </pc:sldMkLst>
        <pc:spChg chg="mod">
          <ac:chgData name="Koksrud Andreas" userId="9d9beba6-c052-407a-8599-c781a677a996" providerId="ADAL" clId="{4FE90A26-74BB-45D9-B110-78981551CFFA}" dt="2022-10-12T19:41:20.883" v="394" actId="20577"/>
          <ac:spMkLst>
            <pc:docMk/>
            <pc:sldMk cId="3764478461" sldId="795"/>
            <ac:spMk id="11" creationId="{618A10C5-431B-4229-87F2-69FEAE5298F3}"/>
          </ac:spMkLst>
        </pc:spChg>
        <pc:spChg chg="mod">
          <ac:chgData name="Koksrud Andreas" userId="9d9beba6-c052-407a-8599-c781a677a996" providerId="ADAL" clId="{4FE90A26-74BB-45D9-B110-78981551CFFA}" dt="2022-10-12T19:41:26.587" v="406" actId="20577"/>
          <ac:spMkLst>
            <pc:docMk/>
            <pc:sldMk cId="3764478461" sldId="795"/>
            <ac:spMk id="12" creationId="{F4823D76-F745-416B-B271-20B77344DBD4}"/>
          </ac:spMkLst>
        </pc:spChg>
        <pc:spChg chg="mod">
          <ac:chgData name="Koksrud Andreas" userId="9d9beba6-c052-407a-8599-c781a677a996" providerId="ADAL" clId="{4FE90A26-74BB-45D9-B110-78981551CFFA}" dt="2022-10-12T19:41:03.033" v="373" actId="20577"/>
          <ac:spMkLst>
            <pc:docMk/>
            <pc:sldMk cId="3764478461" sldId="795"/>
            <ac:spMk id="13" creationId="{65A2EA35-6E56-4E08-BAAC-9895D08AD256}"/>
          </ac:spMkLst>
        </pc:spChg>
      </pc:sldChg>
      <pc:sldChg chg="addSp delSp modSp add mod">
        <pc:chgData name="Koksrud Andreas" userId="9d9beba6-c052-407a-8599-c781a677a996" providerId="ADAL" clId="{4FE90A26-74BB-45D9-B110-78981551CFFA}" dt="2022-10-12T20:11:53.947" v="900" actId="20577"/>
        <pc:sldMkLst>
          <pc:docMk/>
          <pc:sldMk cId="1907635855" sldId="796"/>
        </pc:sldMkLst>
        <pc:spChg chg="del">
          <ac:chgData name="Koksrud Andreas" userId="9d9beba6-c052-407a-8599-c781a677a996" providerId="ADAL" clId="{4FE90A26-74BB-45D9-B110-78981551CFFA}" dt="2022-10-12T20:00:41.463" v="774" actId="478"/>
          <ac:spMkLst>
            <pc:docMk/>
            <pc:sldMk cId="1907635855" sldId="796"/>
            <ac:spMk id="4" creationId="{2ECF3AB8-A6F7-4C86-8007-5158B60C6A0E}"/>
          </ac:spMkLst>
        </pc:spChg>
        <pc:spChg chg="del">
          <ac:chgData name="Koksrud Andreas" userId="9d9beba6-c052-407a-8599-c781a677a996" providerId="ADAL" clId="{4FE90A26-74BB-45D9-B110-78981551CFFA}" dt="2022-10-12T20:00:41.463" v="774" actId="478"/>
          <ac:spMkLst>
            <pc:docMk/>
            <pc:sldMk cId="1907635855" sldId="796"/>
            <ac:spMk id="7" creationId="{6068465B-FC64-4B96-946D-409C1A0164D1}"/>
          </ac:spMkLst>
        </pc:spChg>
        <pc:spChg chg="del">
          <ac:chgData name="Koksrud Andreas" userId="9d9beba6-c052-407a-8599-c781a677a996" providerId="ADAL" clId="{4FE90A26-74BB-45D9-B110-78981551CFFA}" dt="2022-10-12T20:00:41.463" v="774" actId="478"/>
          <ac:spMkLst>
            <pc:docMk/>
            <pc:sldMk cId="1907635855" sldId="796"/>
            <ac:spMk id="10" creationId="{B8AD7035-B1E6-4BAC-809E-880AE16677EC}"/>
          </ac:spMkLst>
        </pc:spChg>
        <pc:spChg chg="del">
          <ac:chgData name="Koksrud Andreas" userId="9d9beba6-c052-407a-8599-c781a677a996" providerId="ADAL" clId="{4FE90A26-74BB-45D9-B110-78981551CFFA}" dt="2022-10-12T20:00:45.390" v="775" actId="478"/>
          <ac:spMkLst>
            <pc:docMk/>
            <pc:sldMk cId="1907635855" sldId="796"/>
            <ac:spMk id="12" creationId="{12E40938-6728-48DC-A135-E93B4CFB06AF}"/>
          </ac:spMkLst>
        </pc:spChg>
        <pc:spChg chg="del">
          <ac:chgData name="Koksrud Andreas" userId="9d9beba6-c052-407a-8599-c781a677a996" providerId="ADAL" clId="{4FE90A26-74BB-45D9-B110-78981551CFFA}" dt="2022-10-12T20:00:41.463" v="774" actId="478"/>
          <ac:spMkLst>
            <pc:docMk/>
            <pc:sldMk cId="1907635855" sldId="796"/>
            <ac:spMk id="15" creationId="{C9C592CD-35F0-4396-97D0-9E7728F1C86D}"/>
          </ac:spMkLst>
        </pc:spChg>
        <pc:spChg chg="mod">
          <ac:chgData name="Koksrud Andreas" userId="9d9beba6-c052-407a-8599-c781a677a996" providerId="ADAL" clId="{4FE90A26-74BB-45D9-B110-78981551CFFA}" dt="2022-10-12T20:03:05.327" v="778" actId="20577"/>
          <ac:spMkLst>
            <pc:docMk/>
            <pc:sldMk cId="1907635855" sldId="796"/>
            <ac:spMk id="16" creationId="{07DBB511-C5F0-4D38-9327-A4DD7CCD8691}"/>
          </ac:spMkLst>
        </pc:spChg>
        <pc:spChg chg="del">
          <ac:chgData name="Koksrud Andreas" userId="9d9beba6-c052-407a-8599-c781a677a996" providerId="ADAL" clId="{4FE90A26-74BB-45D9-B110-78981551CFFA}" dt="2022-10-12T20:00:45.390" v="775" actId="478"/>
          <ac:spMkLst>
            <pc:docMk/>
            <pc:sldMk cId="1907635855" sldId="796"/>
            <ac:spMk id="21" creationId="{6863767D-A90F-4028-8874-5F81AE2B27F3}"/>
          </ac:spMkLst>
        </pc:spChg>
        <pc:spChg chg="del">
          <ac:chgData name="Koksrud Andreas" userId="9d9beba6-c052-407a-8599-c781a677a996" providerId="ADAL" clId="{4FE90A26-74BB-45D9-B110-78981551CFFA}" dt="2022-10-12T20:00:41.463" v="774" actId="478"/>
          <ac:spMkLst>
            <pc:docMk/>
            <pc:sldMk cId="1907635855" sldId="796"/>
            <ac:spMk id="30" creationId="{76B2A01D-6F66-4771-97AD-3C58C01E7EF7}"/>
          </ac:spMkLst>
        </pc:spChg>
        <pc:spChg chg="del">
          <ac:chgData name="Koksrud Andreas" userId="9d9beba6-c052-407a-8599-c781a677a996" providerId="ADAL" clId="{4FE90A26-74BB-45D9-B110-78981551CFFA}" dt="2022-10-12T20:00:45.390" v="775" actId="478"/>
          <ac:spMkLst>
            <pc:docMk/>
            <pc:sldMk cId="1907635855" sldId="796"/>
            <ac:spMk id="31" creationId="{7ACC2683-E91B-4ACE-8782-1EC35BE01537}"/>
          </ac:spMkLst>
        </pc:spChg>
        <pc:spChg chg="mod">
          <ac:chgData name="Koksrud Andreas" userId="9d9beba6-c052-407a-8599-c781a677a996" providerId="ADAL" clId="{4FE90A26-74BB-45D9-B110-78981551CFFA}" dt="2022-10-12T20:11:53.947" v="900" actId="20577"/>
          <ac:spMkLst>
            <pc:docMk/>
            <pc:sldMk cId="1907635855" sldId="796"/>
            <ac:spMk id="180" creationId="{00000000-0000-0000-0000-000000000000}"/>
          </ac:spMkLst>
        </pc:spChg>
        <pc:picChg chg="add mod modCrop">
          <ac:chgData name="Koksrud Andreas" userId="9d9beba6-c052-407a-8599-c781a677a996" providerId="ADAL" clId="{4FE90A26-74BB-45D9-B110-78981551CFFA}" dt="2022-10-12T20:04:54.821" v="787" actId="732"/>
          <ac:picMkLst>
            <pc:docMk/>
            <pc:sldMk cId="1907635855" sldId="796"/>
            <ac:picMk id="3" creationId="{0795624C-FAC5-4B4C-B67F-C14A716416D1}"/>
          </ac:picMkLst>
        </pc:picChg>
        <pc:picChg chg="add mod">
          <ac:chgData name="Koksrud Andreas" userId="9d9beba6-c052-407a-8599-c781a677a996" providerId="ADAL" clId="{4FE90A26-74BB-45D9-B110-78981551CFFA}" dt="2022-10-12T20:04:10.256" v="782" actId="1076"/>
          <ac:picMkLst>
            <pc:docMk/>
            <pc:sldMk cId="1907635855" sldId="796"/>
            <ac:picMk id="8" creationId="{23582907-3160-41B0-A874-64BD1F1E7507}"/>
          </ac:picMkLst>
        </pc:picChg>
        <pc:picChg chg="add mod modCrop">
          <ac:chgData name="Koksrud Andreas" userId="9d9beba6-c052-407a-8599-c781a677a996" providerId="ADAL" clId="{4FE90A26-74BB-45D9-B110-78981551CFFA}" dt="2022-10-12T20:06:17.252" v="791" actId="732"/>
          <ac:picMkLst>
            <pc:docMk/>
            <pc:sldMk cId="1907635855" sldId="796"/>
            <ac:picMk id="14" creationId="{107818D8-79C6-4080-9D24-53E85B3DA644}"/>
          </ac:picMkLst>
        </pc:picChg>
        <pc:picChg chg="del">
          <ac:chgData name="Koksrud Andreas" userId="9d9beba6-c052-407a-8599-c781a677a996" providerId="ADAL" clId="{4FE90A26-74BB-45D9-B110-78981551CFFA}" dt="2022-10-12T20:00:38.315" v="773" actId="478"/>
          <ac:picMkLst>
            <pc:docMk/>
            <pc:sldMk cId="1907635855" sldId="796"/>
            <ac:picMk id="17" creationId="{C6160B23-DB6A-46B7-82CB-D12F6C26C5F6}"/>
          </ac:picMkLst>
        </pc:picChg>
        <pc:cxnChg chg="del">
          <ac:chgData name="Koksrud Andreas" userId="9d9beba6-c052-407a-8599-c781a677a996" providerId="ADAL" clId="{4FE90A26-74BB-45D9-B110-78981551CFFA}" dt="2022-10-12T20:00:41.463" v="774" actId="478"/>
          <ac:cxnSpMkLst>
            <pc:docMk/>
            <pc:sldMk cId="1907635855" sldId="796"/>
            <ac:cxnSpMk id="6" creationId="{277973A1-4F9D-496B-AED6-59A78234FF48}"/>
          </ac:cxnSpMkLst>
        </pc:cxnChg>
        <pc:cxnChg chg="del mod">
          <ac:chgData name="Koksrud Andreas" userId="9d9beba6-c052-407a-8599-c781a677a996" providerId="ADAL" clId="{4FE90A26-74BB-45D9-B110-78981551CFFA}" dt="2022-10-12T20:00:41.463" v="774" actId="478"/>
          <ac:cxnSpMkLst>
            <pc:docMk/>
            <pc:sldMk cId="1907635855" sldId="796"/>
            <ac:cxnSpMk id="9" creationId="{9ECF109E-52D4-4978-8BB7-265D06CCB3E5}"/>
          </ac:cxnSpMkLst>
        </pc:cxnChg>
        <pc:cxnChg chg="del">
          <ac:chgData name="Koksrud Andreas" userId="9d9beba6-c052-407a-8599-c781a677a996" providerId="ADAL" clId="{4FE90A26-74BB-45D9-B110-78981551CFFA}" dt="2022-10-12T20:00:45.390" v="775" actId="478"/>
          <ac:cxnSpMkLst>
            <pc:docMk/>
            <pc:sldMk cId="1907635855" sldId="796"/>
            <ac:cxnSpMk id="13" creationId="{5E61798F-0846-4D58-A3D1-175853F3945A}"/>
          </ac:cxnSpMkLst>
        </pc:cxnChg>
        <pc:cxnChg chg="del mod">
          <ac:chgData name="Koksrud Andreas" userId="9d9beba6-c052-407a-8599-c781a677a996" providerId="ADAL" clId="{4FE90A26-74BB-45D9-B110-78981551CFFA}" dt="2022-10-12T20:00:45.390" v="775" actId="478"/>
          <ac:cxnSpMkLst>
            <pc:docMk/>
            <pc:sldMk cId="1907635855" sldId="796"/>
            <ac:cxnSpMk id="32" creationId="{1F6C5685-455E-4868-A46C-95B393FC102D}"/>
          </ac:cxnSpMkLst>
        </pc:cxnChg>
      </pc:sldChg>
      <pc:sldChg chg="addSp delSp modSp add mod">
        <pc:chgData name="Koksrud Andreas" userId="9d9beba6-c052-407a-8599-c781a677a996" providerId="ADAL" clId="{4FE90A26-74BB-45D9-B110-78981551CFFA}" dt="2022-10-12T20:12:01.475" v="913" actId="20577"/>
        <pc:sldMkLst>
          <pc:docMk/>
          <pc:sldMk cId="1982064828" sldId="797"/>
        </pc:sldMkLst>
        <pc:spChg chg="mod">
          <ac:chgData name="Koksrud Andreas" userId="9d9beba6-c052-407a-8599-c781a677a996" providerId="ADAL" clId="{4FE90A26-74BB-45D9-B110-78981551CFFA}" dt="2022-10-12T20:10:40.926" v="865" actId="14100"/>
          <ac:spMkLst>
            <pc:docMk/>
            <pc:sldMk cId="1982064828" sldId="797"/>
            <ac:spMk id="16" creationId="{07DBB511-C5F0-4D38-9327-A4DD7CCD8691}"/>
          </ac:spMkLst>
        </pc:spChg>
        <pc:spChg chg="mod">
          <ac:chgData name="Koksrud Andreas" userId="9d9beba6-c052-407a-8599-c781a677a996" providerId="ADAL" clId="{4FE90A26-74BB-45D9-B110-78981551CFFA}" dt="2022-10-12T20:12:01.475" v="913" actId="20577"/>
          <ac:spMkLst>
            <pc:docMk/>
            <pc:sldMk cId="1982064828" sldId="797"/>
            <ac:spMk id="180" creationId="{00000000-0000-0000-0000-000000000000}"/>
          </ac:spMkLst>
        </pc:spChg>
        <pc:picChg chg="del">
          <ac:chgData name="Koksrud Andreas" userId="9d9beba6-c052-407a-8599-c781a677a996" providerId="ADAL" clId="{4FE90A26-74BB-45D9-B110-78981551CFFA}" dt="2022-10-12T20:07:58.654" v="814" actId="478"/>
          <ac:picMkLst>
            <pc:docMk/>
            <pc:sldMk cId="1982064828" sldId="797"/>
            <ac:picMk id="3" creationId="{0795624C-FAC5-4B4C-B67F-C14A716416D1}"/>
          </ac:picMkLst>
        </pc:picChg>
        <pc:picChg chg="add mod">
          <ac:chgData name="Koksrud Andreas" userId="9d9beba6-c052-407a-8599-c781a677a996" providerId="ADAL" clId="{4FE90A26-74BB-45D9-B110-78981551CFFA}" dt="2022-10-12T20:10:44.353" v="866" actId="1076"/>
          <ac:picMkLst>
            <pc:docMk/>
            <pc:sldMk cId="1982064828" sldId="797"/>
            <ac:picMk id="4" creationId="{7891C853-CDA4-472D-9162-47563510944C}"/>
          </ac:picMkLst>
        </pc:picChg>
        <pc:picChg chg="add del mod">
          <ac:chgData name="Koksrud Andreas" userId="9d9beba6-c052-407a-8599-c781a677a996" providerId="ADAL" clId="{4FE90A26-74BB-45D9-B110-78981551CFFA}" dt="2022-10-12T20:09:06.948" v="819" actId="478"/>
          <ac:picMkLst>
            <pc:docMk/>
            <pc:sldMk cId="1982064828" sldId="797"/>
            <ac:picMk id="6" creationId="{692E9468-62BC-40E3-B182-D3E38F1C34C7}"/>
          </ac:picMkLst>
        </pc:picChg>
        <pc:picChg chg="del">
          <ac:chgData name="Koksrud Andreas" userId="9d9beba6-c052-407a-8599-c781a677a996" providerId="ADAL" clId="{4FE90A26-74BB-45D9-B110-78981551CFFA}" dt="2022-10-12T20:08:00.539" v="815" actId="478"/>
          <ac:picMkLst>
            <pc:docMk/>
            <pc:sldMk cId="1982064828" sldId="797"/>
            <ac:picMk id="8" creationId="{23582907-3160-41B0-A874-64BD1F1E7507}"/>
          </ac:picMkLst>
        </pc:picChg>
        <pc:picChg chg="add del mod">
          <ac:chgData name="Koksrud Andreas" userId="9d9beba6-c052-407a-8599-c781a677a996" providerId="ADAL" clId="{4FE90A26-74BB-45D9-B110-78981551CFFA}" dt="2022-10-12T20:09:26.541" v="822" actId="478"/>
          <ac:picMkLst>
            <pc:docMk/>
            <pc:sldMk cId="1982064828" sldId="797"/>
            <ac:picMk id="9" creationId="{FAF59FAD-86F5-44E3-AFFF-12F11F48454C}"/>
          </ac:picMkLst>
        </pc:picChg>
        <pc:picChg chg="add mod modCrop">
          <ac:chgData name="Koksrud Andreas" userId="9d9beba6-c052-407a-8599-c781a677a996" providerId="ADAL" clId="{4FE90A26-74BB-45D9-B110-78981551CFFA}" dt="2022-10-12T20:10:29.740" v="863" actId="1076"/>
          <ac:picMkLst>
            <pc:docMk/>
            <pc:sldMk cId="1982064828" sldId="797"/>
            <ac:picMk id="11" creationId="{E492126D-5EC5-4497-9B11-E4D46B3F63C6}"/>
          </ac:picMkLst>
        </pc:picChg>
        <pc:picChg chg="del">
          <ac:chgData name="Koksrud Andreas" userId="9d9beba6-c052-407a-8599-c781a677a996" providerId="ADAL" clId="{4FE90A26-74BB-45D9-B110-78981551CFFA}" dt="2022-10-12T20:08:02.093" v="816" actId="478"/>
          <ac:picMkLst>
            <pc:docMk/>
            <pc:sldMk cId="1982064828" sldId="797"/>
            <ac:picMk id="14" creationId="{107818D8-79C6-4080-9D24-53E85B3DA644}"/>
          </ac:picMkLst>
        </pc:picChg>
      </pc:sldChg>
      <pc:sldChg chg="addSp delSp modSp add mod">
        <pc:chgData name="Koksrud Andreas" userId="9d9beba6-c052-407a-8599-c781a677a996" providerId="ADAL" clId="{4FE90A26-74BB-45D9-B110-78981551CFFA}" dt="2022-10-12T20:14:45.324" v="1035" actId="1076"/>
        <pc:sldMkLst>
          <pc:docMk/>
          <pc:sldMk cId="3022261891" sldId="798"/>
        </pc:sldMkLst>
        <pc:spChg chg="mod">
          <ac:chgData name="Koksrud Andreas" userId="9d9beba6-c052-407a-8599-c781a677a996" providerId="ADAL" clId="{4FE90A26-74BB-45D9-B110-78981551CFFA}" dt="2022-10-12T20:13:38.087" v="1025" actId="14100"/>
          <ac:spMkLst>
            <pc:docMk/>
            <pc:sldMk cId="3022261891" sldId="798"/>
            <ac:spMk id="16" creationId="{07DBB511-C5F0-4D38-9327-A4DD7CCD8691}"/>
          </ac:spMkLst>
        </pc:spChg>
        <pc:spChg chg="mod">
          <ac:chgData name="Koksrud Andreas" userId="9d9beba6-c052-407a-8599-c781a677a996" providerId="ADAL" clId="{4FE90A26-74BB-45D9-B110-78981551CFFA}" dt="2022-10-12T20:12:21.885" v="968" actId="20577"/>
          <ac:spMkLst>
            <pc:docMk/>
            <pc:sldMk cId="3022261891" sldId="798"/>
            <ac:spMk id="180" creationId="{00000000-0000-0000-0000-000000000000}"/>
          </ac:spMkLst>
        </pc:spChg>
        <pc:picChg chg="add mod modCrop">
          <ac:chgData name="Koksrud Andreas" userId="9d9beba6-c052-407a-8599-c781a677a996" providerId="ADAL" clId="{4FE90A26-74BB-45D9-B110-78981551CFFA}" dt="2022-10-12T20:14:38.386" v="1034" actId="1076"/>
          <ac:picMkLst>
            <pc:docMk/>
            <pc:sldMk cId="3022261891" sldId="798"/>
            <ac:picMk id="3" creationId="{6ABB57AC-7592-47D1-B631-85AFA423E9EF}"/>
          </ac:picMkLst>
        </pc:picChg>
        <pc:picChg chg="del">
          <ac:chgData name="Koksrud Andreas" userId="9d9beba6-c052-407a-8599-c781a677a996" providerId="ADAL" clId="{4FE90A26-74BB-45D9-B110-78981551CFFA}" dt="2022-10-12T20:12:44.488" v="1000" actId="478"/>
          <ac:picMkLst>
            <pc:docMk/>
            <pc:sldMk cId="3022261891" sldId="798"/>
            <ac:picMk id="4" creationId="{7891C853-CDA4-472D-9162-47563510944C}"/>
          </ac:picMkLst>
        </pc:picChg>
        <pc:picChg chg="add mod">
          <ac:chgData name="Koksrud Andreas" userId="9d9beba6-c052-407a-8599-c781a677a996" providerId="ADAL" clId="{4FE90A26-74BB-45D9-B110-78981551CFFA}" dt="2022-10-12T20:14:45.324" v="1035" actId="1076"/>
          <ac:picMkLst>
            <pc:docMk/>
            <pc:sldMk cId="3022261891" sldId="798"/>
            <ac:picMk id="6" creationId="{6DABEE66-A329-43B4-BF14-D98B56393712}"/>
          </ac:picMkLst>
        </pc:picChg>
        <pc:picChg chg="add del mod">
          <ac:chgData name="Koksrud Andreas" userId="9d9beba6-c052-407a-8599-c781a677a996" providerId="ADAL" clId="{4FE90A26-74BB-45D9-B110-78981551CFFA}" dt="2022-10-12T20:13:58.922" v="1027" actId="478"/>
          <ac:picMkLst>
            <pc:docMk/>
            <pc:sldMk cId="3022261891" sldId="798"/>
            <ac:picMk id="8" creationId="{007847FC-438C-4F08-B9CB-E47B1380D488}"/>
          </ac:picMkLst>
        </pc:picChg>
        <pc:picChg chg="add mod modCrop">
          <ac:chgData name="Koksrud Andreas" userId="9d9beba6-c052-407a-8599-c781a677a996" providerId="ADAL" clId="{4FE90A26-74BB-45D9-B110-78981551CFFA}" dt="2022-10-12T20:14:16.054" v="1030" actId="732"/>
          <ac:picMkLst>
            <pc:docMk/>
            <pc:sldMk cId="3022261891" sldId="798"/>
            <ac:picMk id="10" creationId="{75DBD8B8-9F53-470C-8D87-984D384A448D}"/>
          </ac:picMkLst>
        </pc:picChg>
        <pc:picChg chg="del">
          <ac:chgData name="Koksrud Andreas" userId="9d9beba6-c052-407a-8599-c781a677a996" providerId="ADAL" clId="{4FE90A26-74BB-45D9-B110-78981551CFFA}" dt="2022-10-12T20:12:25.157" v="969" actId="478"/>
          <ac:picMkLst>
            <pc:docMk/>
            <pc:sldMk cId="3022261891" sldId="798"/>
            <ac:picMk id="11" creationId="{E492126D-5EC5-4497-9B11-E4D46B3F63C6}"/>
          </ac:picMkLst>
        </pc:picChg>
      </pc:sldChg>
      <pc:sldChg chg="addSp modSp add mod">
        <pc:chgData name="Koksrud Andreas" userId="9d9beba6-c052-407a-8599-c781a677a996" providerId="ADAL" clId="{4FE90A26-74BB-45D9-B110-78981551CFFA}" dt="2022-10-12T20:26:01.516" v="1253" actId="1582"/>
        <pc:sldMkLst>
          <pc:docMk/>
          <pc:sldMk cId="3047001927" sldId="799"/>
        </pc:sldMkLst>
        <pc:spChg chg="add mod">
          <ac:chgData name="Koksrud Andreas" userId="9d9beba6-c052-407a-8599-c781a677a996" providerId="ADAL" clId="{4FE90A26-74BB-45D9-B110-78981551CFFA}" dt="2022-10-12T20:25:07.304" v="1248" actId="14100"/>
          <ac:spMkLst>
            <pc:docMk/>
            <pc:sldMk cId="3047001927" sldId="799"/>
            <ac:spMk id="9" creationId="{F822F018-9315-4889-AC17-787B1BD79F2F}"/>
          </ac:spMkLst>
        </pc:spChg>
        <pc:spChg chg="add mod">
          <ac:chgData name="Koksrud Andreas" userId="9d9beba6-c052-407a-8599-c781a677a996" providerId="ADAL" clId="{4FE90A26-74BB-45D9-B110-78981551CFFA}" dt="2022-10-12T20:25:14.981" v="1250" actId="1076"/>
          <ac:spMkLst>
            <pc:docMk/>
            <pc:sldMk cId="3047001927" sldId="799"/>
            <ac:spMk id="10" creationId="{E6CE9D03-47C8-4C83-B559-7DE6C4A3B822}"/>
          </ac:spMkLst>
        </pc:spChg>
        <pc:spChg chg="mod">
          <ac:chgData name="Koksrud Andreas" userId="9d9beba6-c052-407a-8599-c781a677a996" providerId="ADAL" clId="{4FE90A26-74BB-45D9-B110-78981551CFFA}" dt="2022-10-12T20:18:17.547" v="1175" actId="20577"/>
          <ac:spMkLst>
            <pc:docMk/>
            <pc:sldMk cId="3047001927" sldId="799"/>
            <ac:spMk id="180" creationId="{00000000-0000-0000-0000-000000000000}"/>
          </ac:spMkLst>
        </pc:spChg>
        <pc:picChg chg="add mod">
          <ac:chgData name="Koksrud Andreas" userId="9d9beba6-c052-407a-8599-c781a677a996" providerId="ADAL" clId="{4FE90A26-74BB-45D9-B110-78981551CFFA}" dt="2022-10-12T20:24:18.671" v="1243" actId="1076"/>
          <ac:picMkLst>
            <pc:docMk/>
            <pc:sldMk cId="3047001927" sldId="799"/>
            <ac:picMk id="3" creationId="{B1A6F25B-7528-4B3D-8975-9F5FEC3F5683}"/>
          </ac:picMkLst>
        </pc:picChg>
        <pc:picChg chg="add mod">
          <ac:chgData name="Koksrud Andreas" userId="9d9beba6-c052-407a-8599-c781a677a996" providerId="ADAL" clId="{4FE90A26-74BB-45D9-B110-78981551CFFA}" dt="2022-10-12T20:24:54.626" v="1245" actId="1076"/>
          <ac:picMkLst>
            <pc:docMk/>
            <pc:sldMk cId="3047001927" sldId="799"/>
            <ac:picMk id="5" creationId="{2011A7F9-D50B-4F3A-8B63-E2465B601E87}"/>
          </ac:picMkLst>
        </pc:picChg>
        <pc:cxnChg chg="add mod">
          <ac:chgData name="Koksrud Andreas" userId="9d9beba6-c052-407a-8599-c781a677a996" providerId="ADAL" clId="{4FE90A26-74BB-45D9-B110-78981551CFFA}" dt="2022-10-12T20:26:01.516" v="1253" actId="1582"/>
          <ac:cxnSpMkLst>
            <pc:docMk/>
            <pc:sldMk cId="3047001927" sldId="799"/>
            <ac:cxnSpMk id="7" creationId="{CDCB4572-7212-4095-A5A4-4D454AA3FDCC}"/>
          </ac:cxnSpMkLst>
        </pc:cxnChg>
      </pc:sldChg>
      <pc:sldChg chg="addSp delSp modSp add mod">
        <pc:chgData name="Koksrud Andreas" userId="9d9beba6-c052-407a-8599-c781a677a996" providerId="ADAL" clId="{4FE90A26-74BB-45D9-B110-78981551CFFA}" dt="2022-10-12T20:33:53.537" v="1265" actId="931"/>
        <pc:sldMkLst>
          <pc:docMk/>
          <pc:sldMk cId="370428494" sldId="800"/>
        </pc:sldMkLst>
        <pc:spChg chg="add mod">
          <ac:chgData name="Koksrud Andreas" userId="9d9beba6-c052-407a-8599-c781a677a996" providerId="ADAL" clId="{4FE90A26-74BB-45D9-B110-78981551CFFA}" dt="2022-10-12T20:28:41.958" v="1257" actId="1076"/>
          <ac:spMkLst>
            <pc:docMk/>
            <pc:sldMk cId="370428494" sldId="800"/>
            <ac:spMk id="5" creationId="{09F02E7C-7E64-4F56-B9D3-2867D1136F02}"/>
          </ac:spMkLst>
        </pc:spChg>
        <pc:spChg chg="mod">
          <ac:chgData name="Koksrud Andreas" userId="9d9beba6-c052-407a-8599-c781a677a996" providerId="ADAL" clId="{4FE90A26-74BB-45D9-B110-78981551CFFA}" dt="2022-10-12T20:18:28.200" v="1197" actId="20577"/>
          <ac:spMkLst>
            <pc:docMk/>
            <pc:sldMk cId="370428494" sldId="800"/>
            <ac:spMk id="180" creationId="{00000000-0000-0000-0000-000000000000}"/>
          </ac:spMkLst>
        </pc:spChg>
        <pc:picChg chg="add del mod">
          <ac:chgData name="Koksrud Andreas" userId="9d9beba6-c052-407a-8599-c781a677a996" providerId="ADAL" clId="{4FE90A26-74BB-45D9-B110-78981551CFFA}" dt="2022-10-12T20:33:27.264" v="1262" actId="478"/>
          <ac:picMkLst>
            <pc:docMk/>
            <pc:sldMk cId="370428494" sldId="800"/>
            <ac:picMk id="3" creationId="{223CA683-CA82-4ACC-BC3E-B62560C0FF17}"/>
          </ac:picMkLst>
        </pc:picChg>
        <pc:picChg chg="add mod">
          <ac:chgData name="Koksrud Andreas" userId="9d9beba6-c052-407a-8599-c781a677a996" providerId="ADAL" clId="{4FE90A26-74BB-45D9-B110-78981551CFFA}" dt="2022-10-12T20:33:33.593" v="1264" actId="1076"/>
          <ac:picMkLst>
            <pc:docMk/>
            <pc:sldMk cId="370428494" sldId="800"/>
            <ac:picMk id="6" creationId="{93C1DF32-AC33-4EF8-96C1-411C83A95BDD}"/>
          </ac:picMkLst>
        </pc:picChg>
        <pc:picChg chg="add mod">
          <ac:chgData name="Koksrud Andreas" userId="9d9beba6-c052-407a-8599-c781a677a996" providerId="ADAL" clId="{4FE90A26-74BB-45D9-B110-78981551CFFA}" dt="2022-10-12T20:33:53.537" v="1265" actId="931"/>
          <ac:picMkLst>
            <pc:docMk/>
            <pc:sldMk cId="370428494" sldId="800"/>
            <ac:picMk id="8" creationId="{F87FAB7C-4F6C-4ED5-BD32-480BFBBE0350}"/>
          </ac:picMkLst>
        </pc:picChg>
      </pc:sldChg>
      <pc:sldChg chg="addSp modSp add mod">
        <pc:chgData name="Koksrud Andreas" userId="9d9beba6-c052-407a-8599-c781a677a996" providerId="ADAL" clId="{4FE90A26-74BB-45D9-B110-78981551CFFA}" dt="2022-10-12T20:41:14.406" v="1329" actId="1035"/>
        <pc:sldMkLst>
          <pc:docMk/>
          <pc:sldMk cId="490059796" sldId="801"/>
        </pc:sldMkLst>
        <pc:spChg chg="mod">
          <ac:chgData name="Koksrud Andreas" userId="9d9beba6-c052-407a-8599-c781a677a996" providerId="ADAL" clId="{4FE90A26-74BB-45D9-B110-78981551CFFA}" dt="2022-10-12T20:18:37.687" v="1211" actId="20577"/>
          <ac:spMkLst>
            <pc:docMk/>
            <pc:sldMk cId="490059796" sldId="801"/>
            <ac:spMk id="180" creationId="{00000000-0000-0000-0000-000000000000}"/>
          </ac:spMkLst>
        </pc:spChg>
        <pc:picChg chg="add mod">
          <ac:chgData name="Koksrud Andreas" userId="9d9beba6-c052-407a-8599-c781a677a996" providerId="ADAL" clId="{4FE90A26-74BB-45D9-B110-78981551CFFA}" dt="2022-10-12T20:40:22.056" v="1315" actId="14100"/>
          <ac:picMkLst>
            <pc:docMk/>
            <pc:sldMk cId="490059796" sldId="801"/>
            <ac:picMk id="3" creationId="{E716569D-0FB9-4EB7-8281-D55FCCCADF90}"/>
          </ac:picMkLst>
        </pc:picChg>
        <pc:picChg chg="add mod">
          <ac:chgData name="Koksrud Andreas" userId="9d9beba6-c052-407a-8599-c781a677a996" providerId="ADAL" clId="{4FE90A26-74BB-45D9-B110-78981551CFFA}" dt="2022-10-12T20:41:14.406" v="1329" actId="1035"/>
          <ac:picMkLst>
            <pc:docMk/>
            <pc:sldMk cId="490059796" sldId="801"/>
            <ac:picMk id="5" creationId="{F7EC644E-5B8E-4772-AA5A-7CBC1C3A6FD0}"/>
          </ac:picMkLst>
        </pc:picChg>
        <pc:picChg chg="add mod modCrop">
          <ac:chgData name="Koksrud Andreas" userId="9d9beba6-c052-407a-8599-c781a677a996" providerId="ADAL" clId="{4FE90A26-74BB-45D9-B110-78981551CFFA}" dt="2022-10-12T20:41:10.118" v="1326" actId="14100"/>
          <ac:picMkLst>
            <pc:docMk/>
            <pc:sldMk cId="490059796" sldId="801"/>
            <ac:picMk id="7" creationId="{E38D5BF8-8BBE-478C-AEDC-060E2FB5EB0F}"/>
          </ac:picMkLst>
        </pc:picChg>
      </pc:sldChg>
      <pc:sldChg chg="addSp modSp add mod">
        <pc:chgData name="Koksrud Andreas" userId="9d9beba6-c052-407a-8599-c781a677a996" providerId="ADAL" clId="{4FE90A26-74BB-45D9-B110-78981551CFFA}" dt="2022-10-12T20:43:44.086" v="1345" actId="732"/>
        <pc:sldMkLst>
          <pc:docMk/>
          <pc:sldMk cId="4103761933" sldId="802"/>
        </pc:sldMkLst>
        <pc:spChg chg="add mod">
          <ac:chgData name="Koksrud Andreas" userId="9d9beba6-c052-407a-8599-c781a677a996" providerId="ADAL" clId="{4FE90A26-74BB-45D9-B110-78981551CFFA}" dt="2022-10-12T20:42:48.917" v="1341" actId="14100"/>
          <ac:spMkLst>
            <pc:docMk/>
            <pc:sldMk cId="4103761933" sldId="802"/>
            <ac:spMk id="5" creationId="{ECC38A9E-8065-42B9-9FA7-05E11395ACA0}"/>
          </ac:spMkLst>
        </pc:spChg>
        <pc:spChg chg="mod">
          <ac:chgData name="Koksrud Andreas" userId="9d9beba6-c052-407a-8599-c781a677a996" providerId="ADAL" clId="{4FE90A26-74BB-45D9-B110-78981551CFFA}" dt="2022-10-12T20:18:49.130" v="1227" actId="20577"/>
          <ac:spMkLst>
            <pc:docMk/>
            <pc:sldMk cId="4103761933" sldId="802"/>
            <ac:spMk id="180" creationId="{00000000-0000-0000-0000-000000000000}"/>
          </ac:spMkLst>
        </pc:spChg>
        <pc:picChg chg="add mod modCrop">
          <ac:chgData name="Koksrud Andreas" userId="9d9beba6-c052-407a-8599-c781a677a996" providerId="ADAL" clId="{4FE90A26-74BB-45D9-B110-78981551CFFA}" dt="2022-10-12T20:43:44.086" v="1345" actId="732"/>
          <ac:picMkLst>
            <pc:docMk/>
            <pc:sldMk cId="4103761933" sldId="802"/>
            <ac:picMk id="3" creationId="{36E1633A-388A-4E21-8FB4-DD0A99F6CD79}"/>
          </ac:picMkLst>
        </pc:picChg>
      </pc:sldChg>
      <pc:sldChg chg="add del">
        <pc:chgData name="Koksrud Andreas" userId="9d9beba6-c052-407a-8599-c781a677a996" providerId="ADAL" clId="{4FE90A26-74BB-45D9-B110-78981551CFFA}" dt="2022-10-12T20:18:58.222" v="1228" actId="47"/>
        <pc:sldMkLst>
          <pc:docMk/>
          <pc:sldMk cId="1711339699" sldId="803"/>
        </pc:sldMkLst>
      </pc:sldChg>
      <pc:sldChg chg="addSp delSp modSp add mod">
        <pc:chgData name="Koksrud Andreas" userId="9d9beba6-c052-407a-8599-c781a677a996" providerId="ADAL" clId="{4FE90A26-74BB-45D9-B110-78981551CFFA}" dt="2022-10-12T20:36:41.492" v="1311" actId="1076"/>
        <pc:sldMkLst>
          <pc:docMk/>
          <pc:sldMk cId="2082423837" sldId="803"/>
        </pc:sldMkLst>
        <pc:spChg chg="mod">
          <ac:chgData name="Koksrud Andreas" userId="9d9beba6-c052-407a-8599-c781a677a996" providerId="ADAL" clId="{4FE90A26-74BB-45D9-B110-78981551CFFA}" dt="2022-10-12T20:35:32.037" v="1303" actId="6549"/>
          <ac:spMkLst>
            <pc:docMk/>
            <pc:sldMk cId="2082423837" sldId="803"/>
            <ac:spMk id="180" creationId="{00000000-0000-0000-0000-000000000000}"/>
          </ac:spMkLst>
        </pc:spChg>
        <pc:picChg chg="add mod">
          <ac:chgData name="Koksrud Andreas" userId="9d9beba6-c052-407a-8599-c781a677a996" providerId="ADAL" clId="{4FE90A26-74BB-45D9-B110-78981551CFFA}" dt="2022-10-12T20:35:44.425" v="1305" actId="1076"/>
          <ac:picMkLst>
            <pc:docMk/>
            <pc:sldMk cId="2082423837" sldId="803"/>
            <ac:picMk id="3" creationId="{43708057-FAA4-4CA5-9347-8AB8B6A3C87F}"/>
          </ac:picMkLst>
        </pc:picChg>
        <pc:picChg chg="del">
          <ac:chgData name="Koksrud Andreas" userId="9d9beba6-c052-407a-8599-c781a677a996" providerId="ADAL" clId="{4FE90A26-74BB-45D9-B110-78981551CFFA}" dt="2022-10-12T20:35:08.210" v="1280" actId="478"/>
          <ac:picMkLst>
            <pc:docMk/>
            <pc:sldMk cId="2082423837" sldId="803"/>
            <ac:picMk id="6" creationId="{93C1DF32-AC33-4EF8-96C1-411C83A95BDD}"/>
          </ac:picMkLst>
        </pc:picChg>
        <pc:picChg chg="add mod modCrop">
          <ac:chgData name="Koksrud Andreas" userId="9d9beba6-c052-407a-8599-c781a677a996" providerId="ADAL" clId="{4FE90A26-74BB-45D9-B110-78981551CFFA}" dt="2022-10-12T20:36:41.492" v="1311" actId="1076"/>
          <ac:picMkLst>
            <pc:docMk/>
            <pc:sldMk cId="2082423837" sldId="803"/>
            <ac:picMk id="7" creationId="{3F19B2D2-A6F4-44AD-8293-9052DB5034F5}"/>
          </ac:picMkLst>
        </pc:picChg>
        <pc:picChg chg="del">
          <ac:chgData name="Koksrud Andreas" userId="9d9beba6-c052-407a-8599-c781a677a996" providerId="ADAL" clId="{4FE90A26-74BB-45D9-B110-78981551CFFA}" dt="2022-10-12T20:35:10.378" v="1281" actId="478"/>
          <ac:picMkLst>
            <pc:docMk/>
            <pc:sldMk cId="2082423837" sldId="803"/>
            <ac:picMk id="8" creationId="{F87FAB7C-4F6C-4ED5-BD32-480BFBBE0350}"/>
          </ac:picMkLst>
        </pc:picChg>
      </pc:sldChg>
      <pc:sldChg chg="delSp modSp add mod">
        <pc:chgData name="Koksrud Andreas" userId="9d9beba6-c052-407a-8599-c781a677a996" providerId="ADAL" clId="{4FE90A26-74BB-45D9-B110-78981551CFFA}" dt="2022-10-12T20:44:57.067" v="1363" actId="20577"/>
        <pc:sldMkLst>
          <pc:docMk/>
          <pc:sldMk cId="652182716" sldId="804"/>
        </pc:sldMkLst>
        <pc:spChg chg="del">
          <ac:chgData name="Koksrud Andreas" userId="9d9beba6-c052-407a-8599-c781a677a996" providerId="ADAL" clId="{4FE90A26-74BB-45D9-B110-78981551CFFA}" dt="2022-10-12T20:44:48.915" v="1348" actId="478"/>
          <ac:spMkLst>
            <pc:docMk/>
            <pc:sldMk cId="652182716" sldId="804"/>
            <ac:spMk id="4" creationId="{2ECF3AB8-A6F7-4C86-8007-5158B60C6A0E}"/>
          </ac:spMkLst>
        </pc:spChg>
        <pc:spChg chg="del">
          <ac:chgData name="Koksrud Andreas" userId="9d9beba6-c052-407a-8599-c781a677a996" providerId="ADAL" clId="{4FE90A26-74BB-45D9-B110-78981551CFFA}" dt="2022-10-12T20:44:48.915" v="1348" actId="478"/>
          <ac:spMkLst>
            <pc:docMk/>
            <pc:sldMk cId="652182716" sldId="804"/>
            <ac:spMk id="7" creationId="{6068465B-FC64-4B96-946D-409C1A0164D1}"/>
          </ac:spMkLst>
        </pc:spChg>
        <pc:spChg chg="del">
          <ac:chgData name="Koksrud Andreas" userId="9d9beba6-c052-407a-8599-c781a677a996" providerId="ADAL" clId="{4FE90A26-74BB-45D9-B110-78981551CFFA}" dt="2022-10-12T20:44:48.915" v="1348" actId="478"/>
          <ac:spMkLst>
            <pc:docMk/>
            <pc:sldMk cId="652182716" sldId="804"/>
            <ac:spMk id="10" creationId="{B8AD7035-B1E6-4BAC-809E-880AE16677EC}"/>
          </ac:spMkLst>
        </pc:spChg>
        <pc:spChg chg="del">
          <ac:chgData name="Koksrud Andreas" userId="9d9beba6-c052-407a-8599-c781a677a996" providerId="ADAL" clId="{4FE90A26-74BB-45D9-B110-78981551CFFA}" dt="2022-10-12T20:44:48.915" v="1348" actId="478"/>
          <ac:spMkLst>
            <pc:docMk/>
            <pc:sldMk cId="652182716" sldId="804"/>
            <ac:spMk id="12" creationId="{12E40938-6728-48DC-A135-E93B4CFB06AF}"/>
          </ac:spMkLst>
        </pc:spChg>
        <pc:spChg chg="del">
          <ac:chgData name="Koksrud Andreas" userId="9d9beba6-c052-407a-8599-c781a677a996" providerId="ADAL" clId="{4FE90A26-74BB-45D9-B110-78981551CFFA}" dt="2022-10-12T20:44:48.915" v="1348" actId="478"/>
          <ac:spMkLst>
            <pc:docMk/>
            <pc:sldMk cId="652182716" sldId="804"/>
            <ac:spMk id="15" creationId="{C9C592CD-35F0-4396-97D0-9E7728F1C86D}"/>
          </ac:spMkLst>
        </pc:spChg>
        <pc:spChg chg="mod">
          <ac:chgData name="Koksrud Andreas" userId="9d9beba6-c052-407a-8599-c781a677a996" providerId="ADAL" clId="{4FE90A26-74BB-45D9-B110-78981551CFFA}" dt="2022-10-12T20:44:57.067" v="1363" actId="20577"/>
          <ac:spMkLst>
            <pc:docMk/>
            <pc:sldMk cId="652182716" sldId="804"/>
            <ac:spMk id="16" creationId="{07DBB511-C5F0-4D38-9327-A4DD7CCD8691}"/>
          </ac:spMkLst>
        </pc:spChg>
        <pc:spChg chg="del">
          <ac:chgData name="Koksrud Andreas" userId="9d9beba6-c052-407a-8599-c781a677a996" providerId="ADAL" clId="{4FE90A26-74BB-45D9-B110-78981551CFFA}" dt="2022-10-12T20:44:48.915" v="1348" actId="478"/>
          <ac:spMkLst>
            <pc:docMk/>
            <pc:sldMk cId="652182716" sldId="804"/>
            <ac:spMk id="21" creationId="{6863767D-A90F-4028-8874-5F81AE2B27F3}"/>
          </ac:spMkLst>
        </pc:spChg>
        <pc:spChg chg="del">
          <ac:chgData name="Koksrud Andreas" userId="9d9beba6-c052-407a-8599-c781a677a996" providerId="ADAL" clId="{4FE90A26-74BB-45D9-B110-78981551CFFA}" dt="2022-10-12T20:44:48.915" v="1348" actId="478"/>
          <ac:spMkLst>
            <pc:docMk/>
            <pc:sldMk cId="652182716" sldId="804"/>
            <ac:spMk id="30" creationId="{76B2A01D-6F66-4771-97AD-3C58C01E7EF7}"/>
          </ac:spMkLst>
        </pc:spChg>
        <pc:spChg chg="del">
          <ac:chgData name="Koksrud Andreas" userId="9d9beba6-c052-407a-8599-c781a677a996" providerId="ADAL" clId="{4FE90A26-74BB-45D9-B110-78981551CFFA}" dt="2022-10-12T20:44:51.464" v="1349" actId="478"/>
          <ac:spMkLst>
            <pc:docMk/>
            <pc:sldMk cId="652182716" sldId="804"/>
            <ac:spMk id="31" creationId="{7ACC2683-E91B-4ACE-8782-1EC35BE01537}"/>
          </ac:spMkLst>
        </pc:spChg>
        <pc:picChg chg="del">
          <ac:chgData name="Koksrud Andreas" userId="9d9beba6-c052-407a-8599-c781a677a996" providerId="ADAL" clId="{4FE90A26-74BB-45D9-B110-78981551CFFA}" dt="2022-10-12T20:44:43.128" v="1347" actId="478"/>
          <ac:picMkLst>
            <pc:docMk/>
            <pc:sldMk cId="652182716" sldId="804"/>
            <ac:picMk id="17" creationId="{C6160B23-DB6A-46B7-82CB-D12F6C26C5F6}"/>
          </ac:picMkLst>
        </pc:picChg>
        <pc:cxnChg chg="del">
          <ac:chgData name="Koksrud Andreas" userId="9d9beba6-c052-407a-8599-c781a677a996" providerId="ADAL" clId="{4FE90A26-74BB-45D9-B110-78981551CFFA}" dt="2022-10-12T20:44:48.915" v="1348" actId="478"/>
          <ac:cxnSpMkLst>
            <pc:docMk/>
            <pc:sldMk cId="652182716" sldId="804"/>
            <ac:cxnSpMk id="6" creationId="{277973A1-4F9D-496B-AED6-59A78234FF48}"/>
          </ac:cxnSpMkLst>
        </pc:cxnChg>
        <pc:cxnChg chg="del mod">
          <ac:chgData name="Koksrud Andreas" userId="9d9beba6-c052-407a-8599-c781a677a996" providerId="ADAL" clId="{4FE90A26-74BB-45D9-B110-78981551CFFA}" dt="2022-10-12T20:44:48.915" v="1348" actId="478"/>
          <ac:cxnSpMkLst>
            <pc:docMk/>
            <pc:sldMk cId="652182716" sldId="804"/>
            <ac:cxnSpMk id="9" creationId="{9ECF109E-52D4-4978-8BB7-265D06CCB3E5}"/>
          </ac:cxnSpMkLst>
        </pc:cxnChg>
        <pc:cxnChg chg="del">
          <ac:chgData name="Koksrud Andreas" userId="9d9beba6-c052-407a-8599-c781a677a996" providerId="ADAL" clId="{4FE90A26-74BB-45D9-B110-78981551CFFA}" dt="2022-10-12T20:44:48.915" v="1348" actId="478"/>
          <ac:cxnSpMkLst>
            <pc:docMk/>
            <pc:sldMk cId="652182716" sldId="804"/>
            <ac:cxnSpMk id="13" creationId="{5E61798F-0846-4D58-A3D1-175853F3945A}"/>
          </ac:cxnSpMkLst>
        </pc:cxnChg>
        <pc:cxnChg chg="del mod">
          <ac:chgData name="Koksrud Andreas" userId="9d9beba6-c052-407a-8599-c781a677a996" providerId="ADAL" clId="{4FE90A26-74BB-45D9-B110-78981551CFFA}" dt="2022-10-12T20:44:48.915" v="1348" actId="478"/>
          <ac:cxnSpMkLst>
            <pc:docMk/>
            <pc:sldMk cId="652182716" sldId="804"/>
            <ac:cxnSpMk id="32" creationId="{1F6C5685-455E-4868-A46C-95B393FC102D}"/>
          </ac:cxnSpMkLst>
        </pc:cxnChg>
      </pc:sldChg>
      <pc:sldChg chg="delSp modSp add mod">
        <pc:chgData name="Koksrud Andreas" userId="9d9beba6-c052-407a-8599-c781a677a996" providerId="ADAL" clId="{4FE90A26-74BB-45D9-B110-78981551CFFA}" dt="2022-10-12T20:45:37.855" v="1396" actId="1076"/>
        <pc:sldMkLst>
          <pc:docMk/>
          <pc:sldMk cId="2465847695" sldId="805"/>
        </pc:sldMkLst>
        <pc:spChg chg="mod">
          <ac:chgData name="Koksrud Andreas" userId="9d9beba6-c052-407a-8599-c781a677a996" providerId="ADAL" clId="{4FE90A26-74BB-45D9-B110-78981551CFFA}" dt="2022-10-12T20:45:37.855" v="1396" actId="1076"/>
          <ac:spMkLst>
            <pc:docMk/>
            <pc:sldMk cId="2465847695" sldId="805"/>
            <ac:spMk id="16" creationId="{07DBB511-C5F0-4D38-9327-A4DD7CCD8691}"/>
          </ac:spMkLst>
        </pc:spChg>
        <pc:spChg chg="mod">
          <ac:chgData name="Koksrud Andreas" userId="9d9beba6-c052-407a-8599-c781a677a996" providerId="ADAL" clId="{4FE90A26-74BB-45D9-B110-78981551CFFA}" dt="2022-10-12T20:45:17.519" v="1371" actId="20577"/>
          <ac:spMkLst>
            <pc:docMk/>
            <pc:sldMk cId="2465847695" sldId="805"/>
            <ac:spMk id="180" creationId="{00000000-0000-0000-0000-000000000000}"/>
          </ac:spMkLst>
        </pc:spChg>
        <pc:picChg chg="del">
          <ac:chgData name="Koksrud Andreas" userId="9d9beba6-c052-407a-8599-c781a677a996" providerId="ADAL" clId="{4FE90A26-74BB-45D9-B110-78981551CFFA}" dt="2022-10-12T20:45:21.169" v="1373" actId="478"/>
          <ac:picMkLst>
            <pc:docMk/>
            <pc:sldMk cId="2465847695" sldId="805"/>
            <ac:picMk id="4" creationId="{7891C853-CDA4-472D-9162-47563510944C}"/>
          </ac:picMkLst>
        </pc:picChg>
        <pc:picChg chg="del">
          <ac:chgData name="Koksrud Andreas" userId="9d9beba6-c052-407a-8599-c781a677a996" providerId="ADAL" clId="{4FE90A26-74BB-45D9-B110-78981551CFFA}" dt="2022-10-12T20:45:19.753" v="1372" actId="478"/>
          <ac:picMkLst>
            <pc:docMk/>
            <pc:sldMk cId="2465847695" sldId="805"/>
            <ac:picMk id="11" creationId="{E492126D-5EC5-4497-9B11-E4D46B3F63C6}"/>
          </ac:picMkLst>
        </pc:picChg>
      </pc:sldChg>
      <pc:sldChg chg="delSp modSp add mod">
        <pc:chgData name="Koksrud Andreas" userId="9d9beba6-c052-407a-8599-c781a677a996" providerId="ADAL" clId="{4FE90A26-74BB-45D9-B110-78981551CFFA}" dt="2022-10-12T20:46:13.772" v="1427" actId="478"/>
        <pc:sldMkLst>
          <pc:docMk/>
          <pc:sldMk cId="2061140835" sldId="806"/>
        </pc:sldMkLst>
        <pc:spChg chg="mod">
          <ac:chgData name="Koksrud Andreas" userId="9d9beba6-c052-407a-8599-c781a677a996" providerId="ADAL" clId="{4FE90A26-74BB-45D9-B110-78981551CFFA}" dt="2022-10-12T20:46:09.510" v="1424" actId="14100"/>
          <ac:spMkLst>
            <pc:docMk/>
            <pc:sldMk cId="2061140835" sldId="806"/>
            <ac:spMk id="16" creationId="{07DBB511-C5F0-4D38-9327-A4DD7CCD8691}"/>
          </ac:spMkLst>
        </pc:spChg>
        <pc:picChg chg="del">
          <ac:chgData name="Koksrud Andreas" userId="9d9beba6-c052-407a-8599-c781a677a996" providerId="ADAL" clId="{4FE90A26-74BB-45D9-B110-78981551CFFA}" dt="2022-10-12T20:46:12.348" v="1426" actId="478"/>
          <ac:picMkLst>
            <pc:docMk/>
            <pc:sldMk cId="2061140835" sldId="806"/>
            <ac:picMk id="3" creationId="{6ABB57AC-7592-47D1-B631-85AFA423E9EF}"/>
          </ac:picMkLst>
        </pc:picChg>
        <pc:picChg chg="del">
          <ac:chgData name="Koksrud Andreas" userId="9d9beba6-c052-407a-8599-c781a677a996" providerId="ADAL" clId="{4FE90A26-74BB-45D9-B110-78981551CFFA}" dt="2022-10-12T20:46:13.772" v="1427" actId="478"/>
          <ac:picMkLst>
            <pc:docMk/>
            <pc:sldMk cId="2061140835" sldId="806"/>
            <ac:picMk id="6" creationId="{6DABEE66-A329-43B4-BF14-D98B56393712}"/>
          </ac:picMkLst>
        </pc:picChg>
        <pc:picChg chg="del">
          <ac:chgData name="Koksrud Andreas" userId="9d9beba6-c052-407a-8599-c781a677a996" providerId="ADAL" clId="{4FE90A26-74BB-45D9-B110-78981551CFFA}" dt="2022-10-12T20:46:10.849" v="1425" actId="478"/>
          <ac:picMkLst>
            <pc:docMk/>
            <pc:sldMk cId="2061140835" sldId="806"/>
            <ac:picMk id="10" creationId="{75DBD8B8-9F53-470C-8D87-984D384A448D}"/>
          </ac:picMkLst>
        </pc:picChg>
      </pc:sldChg>
      <pc:sldChg chg="delSp modSp add del mod">
        <pc:chgData name="Koksrud Andreas" userId="9d9beba6-c052-407a-8599-c781a677a996" providerId="ADAL" clId="{4FE90A26-74BB-45D9-B110-78981551CFFA}" dt="2022-10-12T20:54:44.818" v="1440" actId="47"/>
        <pc:sldMkLst>
          <pc:docMk/>
          <pc:sldMk cId="1126792161" sldId="807"/>
        </pc:sldMkLst>
        <pc:spChg chg="mod">
          <ac:chgData name="Koksrud Andreas" userId="9d9beba6-c052-407a-8599-c781a677a996" providerId="ADAL" clId="{4FE90A26-74BB-45D9-B110-78981551CFFA}" dt="2022-10-12T20:52:51.108" v="1438" actId="20577"/>
          <ac:spMkLst>
            <pc:docMk/>
            <pc:sldMk cId="1126792161" sldId="807"/>
            <ac:spMk id="16" creationId="{07DBB511-C5F0-4D38-9327-A4DD7CCD8691}"/>
          </ac:spMkLst>
        </pc:spChg>
        <pc:picChg chg="del">
          <ac:chgData name="Koksrud Andreas" userId="9d9beba6-c052-407a-8599-c781a677a996" providerId="ADAL" clId="{4FE90A26-74BB-45D9-B110-78981551CFFA}" dt="2022-10-12T20:52:54.738" v="1439" actId="478"/>
          <ac:picMkLst>
            <pc:docMk/>
            <pc:sldMk cId="1126792161" sldId="807"/>
            <ac:picMk id="17" creationId="{C6160B23-DB6A-46B7-82CB-D12F6C26C5F6}"/>
          </ac:picMkLst>
        </pc:picChg>
      </pc:sldChg>
    </pc:docChg>
  </pc:docChgLst>
  <pc:docChgLst>
    <pc:chgData name="Koksrud Andreas" userId="9d9beba6-c052-407a-8599-c781a677a996" providerId="ADAL" clId="{C7E37F34-6F54-43DB-95E2-955F8CDF9C61}"/>
    <pc:docChg chg="undo custSel modSld">
      <pc:chgData name="Koksrud Andreas" userId="9d9beba6-c052-407a-8599-c781a677a996" providerId="ADAL" clId="{C7E37F34-6F54-43DB-95E2-955F8CDF9C61}" dt="2023-10-26T10:29:20.878" v="86" actId="20577"/>
      <pc:docMkLst>
        <pc:docMk/>
      </pc:docMkLst>
      <pc:sldChg chg="modSp mod">
        <pc:chgData name="Koksrud Andreas" userId="9d9beba6-c052-407a-8599-c781a677a996" providerId="ADAL" clId="{C7E37F34-6F54-43DB-95E2-955F8CDF9C61}" dt="2023-10-26T10:29:20.878" v="86" actId="20577"/>
        <pc:sldMkLst>
          <pc:docMk/>
          <pc:sldMk cId="697137886" sldId="679"/>
        </pc:sldMkLst>
        <pc:spChg chg="mod">
          <ac:chgData name="Koksrud Andreas" userId="9d9beba6-c052-407a-8599-c781a677a996" providerId="ADAL" clId="{C7E37F34-6F54-43DB-95E2-955F8CDF9C61}" dt="2023-10-26T10:29:20.878" v="86" actId="20577"/>
          <ac:spMkLst>
            <pc:docMk/>
            <pc:sldMk cId="697137886" sldId="679"/>
            <ac:spMk id="2" creationId="{00000000-0000-0000-0000-000000000000}"/>
          </ac:spMkLst>
        </pc:spChg>
      </pc:sldChg>
    </pc:docChg>
  </pc:docChgLst>
  <pc:docChgLst>
    <pc:chgData name="Andreas Koksrud" userId="9d9beba6-c052-407a-8599-c781a677a996" providerId="ADAL" clId="{8658473B-F8B0-412E-ABD9-785EC206476C}"/>
    <pc:docChg chg="delSld modSld addSection delSection modSection">
      <pc:chgData name="Andreas Koksrud" userId="9d9beba6-c052-407a-8599-c781a677a996" providerId="ADAL" clId="{8658473B-F8B0-412E-ABD9-785EC206476C}" dt="2024-08-11T09:43:01.101" v="17" actId="11230"/>
      <pc:docMkLst>
        <pc:docMk/>
      </pc:docMkLst>
      <pc:sldChg chg="modSp mod">
        <pc:chgData name="Andreas Koksrud" userId="9d9beba6-c052-407a-8599-c781a677a996" providerId="ADAL" clId="{8658473B-F8B0-412E-ABD9-785EC206476C}" dt="2024-08-11T09:38:51.867" v="9" actId="20577"/>
        <pc:sldMkLst>
          <pc:docMk/>
          <pc:sldMk cId="697137886" sldId="679"/>
        </pc:sldMkLst>
        <pc:spChg chg="mod">
          <ac:chgData name="Andreas Koksrud" userId="9d9beba6-c052-407a-8599-c781a677a996" providerId="ADAL" clId="{8658473B-F8B0-412E-ABD9-785EC206476C}" dt="2024-08-11T09:38:51.867" v="9" actId="20577"/>
          <ac:spMkLst>
            <pc:docMk/>
            <pc:sldMk cId="697137886" sldId="679"/>
            <ac:spMk id="2" creationId="{00000000-0000-0000-0000-000000000000}"/>
          </ac:spMkLst>
        </pc:spChg>
      </pc:sldChg>
      <pc:sldChg chg="modSp mod">
        <pc:chgData name="Andreas Koksrud" userId="9d9beba6-c052-407a-8599-c781a677a996" providerId="ADAL" clId="{8658473B-F8B0-412E-ABD9-785EC206476C}" dt="2024-08-11T09:39:00.430" v="10" actId="1076"/>
        <pc:sldMkLst>
          <pc:docMk/>
          <pc:sldMk cId="2087783305" sldId="730"/>
        </pc:sldMkLst>
        <pc:spChg chg="mod">
          <ac:chgData name="Andreas Koksrud" userId="9d9beba6-c052-407a-8599-c781a677a996" providerId="ADAL" clId="{8658473B-F8B0-412E-ABD9-785EC206476C}" dt="2024-08-11T09:39:00.430" v="10" actId="1076"/>
          <ac:spMkLst>
            <pc:docMk/>
            <pc:sldMk cId="2087783305" sldId="730"/>
            <ac:spMk id="2" creationId="{E83F8947-299D-4698-B80E-56B8E23125F0}"/>
          </ac:spMkLst>
        </pc:spChg>
      </pc:sldChg>
      <pc:sldChg chg="del">
        <pc:chgData name="Andreas Koksrud" userId="9d9beba6-c052-407a-8599-c781a677a996" providerId="ADAL" clId="{8658473B-F8B0-412E-ABD9-785EC206476C}" dt="2024-08-11T09:41:31.703" v="13" actId="47"/>
        <pc:sldMkLst>
          <pc:docMk/>
          <pc:sldMk cId="4184721091" sldId="775"/>
        </pc:sldMkLst>
      </pc:sldChg>
      <pc:sldChg chg="del">
        <pc:chgData name="Andreas Koksrud" userId="9d9beba6-c052-407a-8599-c781a677a996" providerId="ADAL" clId="{8658473B-F8B0-412E-ABD9-785EC206476C}" dt="2024-08-11T09:41:31.703" v="13" actId="47"/>
        <pc:sldMkLst>
          <pc:docMk/>
          <pc:sldMk cId="267941889" sldId="776"/>
        </pc:sldMkLst>
      </pc:sldChg>
      <pc:sldChg chg="del">
        <pc:chgData name="Andreas Koksrud" userId="9d9beba6-c052-407a-8599-c781a677a996" providerId="ADAL" clId="{8658473B-F8B0-412E-ABD9-785EC206476C}" dt="2024-08-11T09:41:31.703" v="13" actId="47"/>
        <pc:sldMkLst>
          <pc:docMk/>
          <pc:sldMk cId="3317680748" sldId="807"/>
        </pc:sldMkLst>
      </pc:sldChg>
      <pc:sldChg chg="del">
        <pc:chgData name="Andreas Koksrud" userId="9d9beba6-c052-407a-8599-c781a677a996" providerId="ADAL" clId="{8658473B-F8B0-412E-ABD9-785EC206476C}" dt="2024-08-11T09:41:31.703" v="13" actId="47"/>
        <pc:sldMkLst>
          <pc:docMk/>
          <pc:sldMk cId="197388729" sldId="808"/>
        </pc:sldMkLst>
      </pc:sldChg>
      <pc:sldChg chg="del">
        <pc:chgData name="Andreas Koksrud" userId="9d9beba6-c052-407a-8599-c781a677a996" providerId="ADAL" clId="{8658473B-F8B0-412E-ABD9-785EC206476C}" dt="2024-08-11T09:41:31.703" v="13" actId="47"/>
        <pc:sldMkLst>
          <pc:docMk/>
          <pc:sldMk cId="911993613" sldId="853"/>
        </pc:sldMkLst>
      </pc:sldChg>
      <pc:sldChg chg="del">
        <pc:chgData name="Andreas Koksrud" userId="9d9beba6-c052-407a-8599-c781a677a996" providerId="ADAL" clId="{8658473B-F8B0-412E-ABD9-785EC206476C}" dt="2024-08-11T09:41:31.703" v="13" actId="47"/>
        <pc:sldMkLst>
          <pc:docMk/>
          <pc:sldMk cId="3219145646" sldId="894"/>
        </pc:sldMkLst>
      </pc:sldChg>
      <pc:sldChg chg="del">
        <pc:chgData name="Andreas Koksrud" userId="9d9beba6-c052-407a-8599-c781a677a996" providerId="ADAL" clId="{8658473B-F8B0-412E-ABD9-785EC206476C}" dt="2024-08-11T09:41:31.703" v="13" actId="47"/>
        <pc:sldMkLst>
          <pc:docMk/>
          <pc:sldMk cId="2337525422" sldId="896"/>
        </pc:sldMkLst>
      </pc:sldChg>
      <pc:sldChg chg="del">
        <pc:chgData name="Andreas Koksrud" userId="9d9beba6-c052-407a-8599-c781a677a996" providerId="ADAL" clId="{8658473B-F8B0-412E-ABD9-785EC206476C}" dt="2024-08-11T09:41:31.703" v="13" actId="47"/>
        <pc:sldMkLst>
          <pc:docMk/>
          <pc:sldMk cId="1698186835" sldId="897"/>
        </pc:sldMkLst>
      </pc:sldChg>
      <pc:sldChg chg="del">
        <pc:chgData name="Andreas Koksrud" userId="9d9beba6-c052-407a-8599-c781a677a996" providerId="ADAL" clId="{8658473B-F8B0-412E-ABD9-785EC206476C}" dt="2024-08-11T09:41:31.703" v="13" actId="47"/>
        <pc:sldMkLst>
          <pc:docMk/>
          <pc:sldMk cId="3624130659" sldId="898"/>
        </pc:sldMkLst>
      </pc:sldChg>
      <pc:sldChg chg="del">
        <pc:chgData name="Andreas Koksrud" userId="9d9beba6-c052-407a-8599-c781a677a996" providerId="ADAL" clId="{8658473B-F8B0-412E-ABD9-785EC206476C}" dt="2024-08-11T09:41:31.703" v="13" actId="47"/>
        <pc:sldMkLst>
          <pc:docMk/>
          <pc:sldMk cId="1695057909" sldId="899"/>
        </pc:sldMkLst>
      </pc:sldChg>
      <pc:sldChg chg="del">
        <pc:chgData name="Andreas Koksrud" userId="9d9beba6-c052-407a-8599-c781a677a996" providerId="ADAL" clId="{8658473B-F8B0-412E-ABD9-785EC206476C}" dt="2024-08-11T09:41:31.703" v="13" actId="47"/>
        <pc:sldMkLst>
          <pc:docMk/>
          <pc:sldMk cId="2885495848" sldId="923"/>
        </pc:sldMkLst>
      </pc:sldChg>
      <pc:sldChg chg="del">
        <pc:chgData name="Andreas Koksrud" userId="9d9beba6-c052-407a-8599-c781a677a996" providerId="ADAL" clId="{8658473B-F8B0-412E-ABD9-785EC206476C}" dt="2024-08-11T09:41:31.703" v="13" actId="47"/>
        <pc:sldMkLst>
          <pc:docMk/>
          <pc:sldMk cId="670631779" sldId="924"/>
        </pc:sldMkLst>
      </pc:sldChg>
      <pc:sldChg chg="del">
        <pc:chgData name="Andreas Koksrud" userId="9d9beba6-c052-407a-8599-c781a677a996" providerId="ADAL" clId="{8658473B-F8B0-412E-ABD9-785EC206476C}" dt="2024-08-11T09:41:31.703" v="13" actId="47"/>
        <pc:sldMkLst>
          <pc:docMk/>
          <pc:sldMk cId="3505595237" sldId="926"/>
        </pc:sldMkLst>
      </pc:sldChg>
      <pc:sldChg chg="del">
        <pc:chgData name="Andreas Koksrud" userId="9d9beba6-c052-407a-8599-c781a677a996" providerId="ADAL" clId="{8658473B-F8B0-412E-ABD9-785EC206476C}" dt="2024-08-11T09:41:31.703" v="13" actId="47"/>
        <pc:sldMkLst>
          <pc:docMk/>
          <pc:sldMk cId="1761133344" sldId="928"/>
        </pc:sldMkLst>
      </pc:sldChg>
      <pc:sldChg chg="del">
        <pc:chgData name="Andreas Koksrud" userId="9d9beba6-c052-407a-8599-c781a677a996" providerId="ADAL" clId="{8658473B-F8B0-412E-ABD9-785EC206476C}" dt="2024-08-11T09:41:31.703" v="13" actId="47"/>
        <pc:sldMkLst>
          <pc:docMk/>
          <pc:sldMk cId="3891081161" sldId="957"/>
        </pc:sldMkLst>
      </pc:sldChg>
      <pc:sldChg chg="del">
        <pc:chgData name="Andreas Koksrud" userId="9d9beba6-c052-407a-8599-c781a677a996" providerId="ADAL" clId="{8658473B-F8B0-412E-ABD9-785EC206476C}" dt="2024-08-11T09:41:31.703" v="13" actId="47"/>
        <pc:sldMkLst>
          <pc:docMk/>
          <pc:sldMk cId="2483814496" sldId="959"/>
        </pc:sldMkLst>
      </pc:sldChg>
      <pc:sldChg chg="del">
        <pc:chgData name="Andreas Koksrud" userId="9d9beba6-c052-407a-8599-c781a677a996" providerId="ADAL" clId="{8658473B-F8B0-412E-ABD9-785EC206476C}" dt="2024-08-11T09:41:31.703" v="13" actId="47"/>
        <pc:sldMkLst>
          <pc:docMk/>
          <pc:sldMk cId="1059178978" sldId="960"/>
        </pc:sldMkLst>
      </pc:sldChg>
      <pc:sldChg chg="del">
        <pc:chgData name="Andreas Koksrud" userId="9d9beba6-c052-407a-8599-c781a677a996" providerId="ADAL" clId="{8658473B-F8B0-412E-ABD9-785EC206476C}" dt="2024-08-11T09:41:31.703" v="13" actId="47"/>
        <pc:sldMkLst>
          <pc:docMk/>
          <pc:sldMk cId="3805325624" sldId="961"/>
        </pc:sldMkLst>
      </pc:sldChg>
      <pc:sldChg chg="del">
        <pc:chgData name="Andreas Koksrud" userId="9d9beba6-c052-407a-8599-c781a677a996" providerId="ADAL" clId="{8658473B-F8B0-412E-ABD9-785EC206476C}" dt="2024-08-11T09:41:31.703" v="13" actId="47"/>
        <pc:sldMkLst>
          <pc:docMk/>
          <pc:sldMk cId="3646121032" sldId="962"/>
        </pc:sldMkLst>
      </pc:sldChg>
      <pc:sldChg chg="del">
        <pc:chgData name="Andreas Koksrud" userId="9d9beba6-c052-407a-8599-c781a677a996" providerId="ADAL" clId="{8658473B-F8B0-412E-ABD9-785EC206476C}" dt="2024-08-11T09:41:31.703" v="13" actId="47"/>
        <pc:sldMkLst>
          <pc:docMk/>
          <pc:sldMk cId="2529490906" sldId="963"/>
        </pc:sldMkLst>
      </pc:sldChg>
      <pc:sldChg chg="del">
        <pc:chgData name="Andreas Koksrud" userId="9d9beba6-c052-407a-8599-c781a677a996" providerId="ADAL" clId="{8658473B-F8B0-412E-ABD9-785EC206476C}" dt="2024-08-11T09:41:31.703" v="13" actId="47"/>
        <pc:sldMkLst>
          <pc:docMk/>
          <pc:sldMk cId="1707712711" sldId="964"/>
        </pc:sldMkLst>
      </pc:sldChg>
      <pc:sldChg chg="del">
        <pc:chgData name="Andreas Koksrud" userId="9d9beba6-c052-407a-8599-c781a677a996" providerId="ADAL" clId="{8658473B-F8B0-412E-ABD9-785EC206476C}" dt="2024-08-11T09:41:31.703" v="13" actId="47"/>
        <pc:sldMkLst>
          <pc:docMk/>
          <pc:sldMk cId="24496870" sldId="965"/>
        </pc:sldMkLst>
      </pc:sldChg>
      <pc:sldChg chg="del">
        <pc:chgData name="Andreas Koksrud" userId="9d9beba6-c052-407a-8599-c781a677a996" providerId="ADAL" clId="{8658473B-F8B0-412E-ABD9-785EC206476C}" dt="2024-08-11T09:41:31.703" v="13" actId="47"/>
        <pc:sldMkLst>
          <pc:docMk/>
          <pc:sldMk cId="2495026824" sldId="966"/>
        </pc:sldMkLst>
      </pc:sldChg>
      <pc:sldChg chg="del">
        <pc:chgData name="Andreas Koksrud" userId="9d9beba6-c052-407a-8599-c781a677a996" providerId="ADAL" clId="{8658473B-F8B0-412E-ABD9-785EC206476C}" dt="2024-08-11T09:41:31.703" v="13" actId="47"/>
        <pc:sldMkLst>
          <pc:docMk/>
          <pc:sldMk cId="3285689553" sldId="967"/>
        </pc:sldMkLst>
      </pc:sldChg>
      <pc:sldChg chg="del">
        <pc:chgData name="Andreas Koksrud" userId="9d9beba6-c052-407a-8599-c781a677a996" providerId="ADAL" clId="{8658473B-F8B0-412E-ABD9-785EC206476C}" dt="2024-08-11T09:41:31.703" v="13" actId="47"/>
        <pc:sldMkLst>
          <pc:docMk/>
          <pc:sldMk cId="211427936" sldId="968"/>
        </pc:sldMkLst>
      </pc:sldChg>
      <pc:sldChg chg="del">
        <pc:chgData name="Andreas Koksrud" userId="9d9beba6-c052-407a-8599-c781a677a996" providerId="ADAL" clId="{8658473B-F8B0-412E-ABD9-785EC206476C}" dt="2024-08-11T09:41:31.703" v="13" actId="47"/>
        <pc:sldMkLst>
          <pc:docMk/>
          <pc:sldMk cId="1310829930" sldId="970"/>
        </pc:sldMkLst>
      </pc:sldChg>
      <pc:sldChg chg="del">
        <pc:chgData name="Andreas Koksrud" userId="9d9beba6-c052-407a-8599-c781a677a996" providerId="ADAL" clId="{8658473B-F8B0-412E-ABD9-785EC206476C}" dt="2024-08-11T09:41:31.703" v="13" actId="47"/>
        <pc:sldMkLst>
          <pc:docMk/>
          <pc:sldMk cId="2305951208" sldId="971"/>
        </pc:sldMkLst>
      </pc:sldChg>
      <pc:sldChg chg="del">
        <pc:chgData name="Andreas Koksrud" userId="9d9beba6-c052-407a-8599-c781a677a996" providerId="ADAL" clId="{8658473B-F8B0-412E-ABD9-785EC206476C}" dt="2024-08-11T09:41:31.703" v="13" actId="47"/>
        <pc:sldMkLst>
          <pc:docMk/>
          <pc:sldMk cId="1090692380" sldId="979"/>
        </pc:sldMkLst>
      </pc:sldChg>
      <pc:sldChg chg="del">
        <pc:chgData name="Andreas Koksrud" userId="9d9beba6-c052-407a-8599-c781a677a996" providerId="ADAL" clId="{8658473B-F8B0-412E-ABD9-785EC206476C}" dt="2024-08-11T09:41:31.703" v="13" actId="47"/>
        <pc:sldMkLst>
          <pc:docMk/>
          <pc:sldMk cId="1986310522" sldId="997"/>
        </pc:sldMkLst>
      </pc:sldChg>
      <pc:sldChg chg="del">
        <pc:chgData name="Andreas Koksrud" userId="9d9beba6-c052-407a-8599-c781a677a996" providerId="ADAL" clId="{8658473B-F8B0-412E-ABD9-785EC206476C}" dt="2024-08-11T09:41:31.703" v="13" actId="47"/>
        <pc:sldMkLst>
          <pc:docMk/>
          <pc:sldMk cId="69240320" sldId="1000"/>
        </pc:sldMkLst>
      </pc:sldChg>
      <pc:sldChg chg="del">
        <pc:chgData name="Andreas Koksrud" userId="9d9beba6-c052-407a-8599-c781a677a996" providerId="ADAL" clId="{8658473B-F8B0-412E-ABD9-785EC206476C}" dt="2024-08-11T09:41:31.703" v="13" actId="47"/>
        <pc:sldMkLst>
          <pc:docMk/>
          <pc:sldMk cId="316841881" sldId="1001"/>
        </pc:sldMkLst>
      </pc:sldChg>
      <pc:sldChg chg="del">
        <pc:chgData name="Andreas Koksrud" userId="9d9beba6-c052-407a-8599-c781a677a996" providerId="ADAL" clId="{8658473B-F8B0-412E-ABD9-785EC206476C}" dt="2024-08-11T09:41:31.703" v="13" actId="47"/>
        <pc:sldMkLst>
          <pc:docMk/>
          <pc:sldMk cId="3021409605" sldId="1002"/>
        </pc:sldMkLst>
      </pc:sldChg>
      <pc:sldChg chg="del">
        <pc:chgData name="Andreas Koksrud" userId="9d9beba6-c052-407a-8599-c781a677a996" providerId="ADAL" clId="{8658473B-F8B0-412E-ABD9-785EC206476C}" dt="2024-08-11T09:41:31.703" v="13" actId="47"/>
        <pc:sldMkLst>
          <pc:docMk/>
          <pc:sldMk cId="3489449866" sldId="1003"/>
        </pc:sldMkLst>
      </pc:sldChg>
      <pc:sldChg chg="del">
        <pc:chgData name="Andreas Koksrud" userId="9d9beba6-c052-407a-8599-c781a677a996" providerId="ADAL" clId="{8658473B-F8B0-412E-ABD9-785EC206476C}" dt="2024-08-11T09:41:31.703" v="13" actId="47"/>
        <pc:sldMkLst>
          <pc:docMk/>
          <pc:sldMk cId="2115270536" sldId="1004"/>
        </pc:sldMkLst>
      </pc:sldChg>
      <pc:sldChg chg="del">
        <pc:chgData name="Andreas Koksrud" userId="9d9beba6-c052-407a-8599-c781a677a996" providerId="ADAL" clId="{8658473B-F8B0-412E-ABD9-785EC206476C}" dt="2024-08-11T09:41:31.703" v="13" actId="47"/>
        <pc:sldMkLst>
          <pc:docMk/>
          <pc:sldMk cId="891349444" sldId="1005"/>
        </pc:sldMkLst>
      </pc:sldChg>
    </pc:docChg>
  </pc:docChgLst>
  <pc:docChgLst>
    <pc:chgData name="Koksrud Andreas" userId="9d9beba6-c052-407a-8599-c781a677a996" providerId="ADAL" clId="{4CD5824D-6142-4CBD-9878-FA57E0D27293}"/>
    <pc:docChg chg="undo redo custSel addSld delSld modSld sldOrd addSection modSection">
      <pc:chgData name="Koksrud Andreas" userId="9d9beba6-c052-407a-8599-c781a677a996" providerId="ADAL" clId="{4CD5824D-6142-4CBD-9878-FA57E0D27293}" dt="2023-12-03T19:04:08.867" v="4695" actId="1076"/>
      <pc:docMkLst>
        <pc:docMk/>
      </pc:docMkLst>
      <pc:sldChg chg="del">
        <pc:chgData name="Koksrud Andreas" userId="9d9beba6-c052-407a-8599-c781a677a996" providerId="ADAL" clId="{4CD5824D-6142-4CBD-9878-FA57E0D27293}" dt="2023-11-13T19:16:43.185" v="76" actId="47"/>
        <pc:sldMkLst>
          <pc:docMk/>
          <pc:sldMk cId="0" sldId="269"/>
        </pc:sldMkLst>
      </pc:sldChg>
      <pc:sldChg chg="modSp mod">
        <pc:chgData name="Koksrud Andreas" userId="9d9beba6-c052-407a-8599-c781a677a996" providerId="ADAL" clId="{4CD5824D-6142-4CBD-9878-FA57E0D27293}" dt="2023-11-13T19:15:15.476" v="35" actId="20577"/>
        <pc:sldMkLst>
          <pc:docMk/>
          <pc:sldMk cId="697137886" sldId="679"/>
        </pc:sldMkLst>
        <pc:spChg chg="mod">
          <ac:chgData name="Koksrud Andreas" userId="9d9beba6-c052-407a-8599-c781a677a996" providerId="ADAL" clId="{4CD5824D-6142-4CBD-9878-FA57E0D27293}" dt="2023-11-13T19:15:15.476" v="35" actId="20577"/>
          <ac:spMkLst>
            <pc:docMk/>
            <pc:sldMk cId="697137886" sldId="679"/>
            <ac:spMk id="2" creationId="{00000000-0000-0000-0000-000000000000}"/>
          </ac:spMkLst>
        </pc:spChg>
      </pc:sldChg>
      <pc:sldChg chg="modSp mod">
        <pc:chgData name="Koksrud Andreas" userId="9d9beba6-c052-407a-8599-c781a677a996" providerId="ADAL" clId="{4CD5824D-6142-4CBD-9878-FA57E0D27293}" dt="2023-11-24T08:19:19.587" v="2520" actId="6549"/>
        <pc:sldMkLst>
          <pc:docMk/>
          <pc:sldMk cId="2087783305" sldId="730"/>
        </pc:sldMkLst>
        <pc:spChg chg="mod">
          <ac:chgData name="Koksrud Andreas" userId="9d9beba6-c052-407a-8599-c781a677a996" providerId="ADAL" clId="{4CD5824D-6142-4CBD-9878-FA57E0D27293}" dt="2023-11-24T08:19:19.587" v="2520" actId="6549"/>
          <ac:spMkLst>
            <pc:docMk/>
            <pc:sldMk cId="2087783305" sldId="730"/>
            <ac:spMk id="2" creationId="{E83F8947-299D-4698-B80E-56B8E23125F0}"/>
          </ac:spMkLst>
        </pc:spChg>
      </pc:sldChg>
      <pc:sldChg chg="del">
        <pc:chgData name="Koksrud Andreas" userId="9d9beba6-c052-407a-8599-c781a677a996" providerId="ADAL" clId="{4CD5824D-6142-4CBD-9878-FA57E0D27293}" dt="2023-11-13T19:16:39.370" v="58" actId="47"/>
        <pc:sldMkLst>
          <pc:docMk/>
          <pc:sldMk cId="662028914" sldId="756"/>
        </pc:sldMkLst>
      </pc:sldChg>
      <pc:sldChg chg="del">
        <pc:chgData name="Koksrud Andreas" userId="9d9beba6-c052-407a-8599-c781a677a996" providerId="ADAL" clId="{4CD5824D-6142-4CBD-9878-FA57E0D27293}" dt="2023-11-13T19:16:40.031" v="62" actId="47"/>
        <pc:sldMkLst>
          <pc:docMk/>
          <pc:sldMk cId="1459679819" sldId="757"/>
        </pc:sldMkLst>
      </pc:sldChg>
      <pc:sldChg chg="del">
        <pc:chgData name="Koksrud Andreas" userId="9d9beba6-c052-407a-8599-c781a677a996" providerId="ADAL" clId="{4CD5824D-6142-4CBD-9878-FA57E0D27293}" dt="2023-11-13T19:16:40.207" v="63" actId="47"/>
        <pc:sldMkLst>
          <pc:docMk/>
          <pc:sldMk cId="3262562090" sldId="758"/>
        </pc:sldMkLst>
      </pc:sldChg>
      <pc:sldChg chg="del">
        <pc:chgData name="Koksrud Andreas" userId="9d9beba6-c052-407a-8599-c781a677a996" providerId="ADAL" clId="{4CD5824D-6142-4CBD-9878-FA57E0D27293}" dt="2023-11-13T19:16:40.745" v="65" actId="47"/>
        <pc:sldMkLst>
          <pc:docMk/>
          <pc:sldMk cId="461679863" sldId="759"/>
        </pc:sldMkLst>
      </pc:sldChg>
      <pc:sldChg chg="del">
        <pc:chgData name="Koksrud Andreas" userId="9d9beba6-c052-407a-8599-c781a677a996" providerId="ADAL" clId="{4CD5824D-6142-4CBD-9878-FA57E0D27293}" dt="2023-11-13T19:16:41.139" v="67" actId="47"/>
        <pc:sldMkLst>
          <pc:docMk/>
          <pc:sldMk cId="1172803293" sldId="761"/>
        </pc:sldMkLst>
      </pc:sldChg>
      <pc:sldChg chg="del">
        <pc:chgData name="Koksrud Andreas" userId="9d9beba6-c052-407a-8599-c781a677a996" providerId="ADAL" clId="{4CD5824D-6142-4CBD-9878-FA57E0D27293}" dt="2023-11-13T19:16:39.572" v="59" actId="47"/>
        <pc:sldMkLst>
          <pc:docMk/>
          <pc:sldMk cId="4159893121" sldId="762"/>
        </pc:sldMkLst>
      </pc:sldChg>
      <pc:sldChg chg="del">
        <pc:chgData name="Koksrud Andreas" userId="9d9beba6-c052-407a-8599-c781a677a996" providerId="ADAL" clId="{4CD5824D-6142-4CBD-9878-FA57E0D27293}" dt="2023-11-13T19:16:39.730" v="60" actId="47"/>
        <pc:sldMkLst>
          <pc:docMk/>
          <pc:sldMk cId="2660123184" sldId="763"/>
        </pc:sldMkLst>
      </pc:sldChg>
      <pc:sldChg chg="del">
        <pc:chgData name="Koksrud Andreas" userId="9d9beba6-c052-407a-8599-c781a677a996" providerId="ADAL" clId="{4CD5824D-6142-4CBD-9878-FA57E0D27293}" dt="2023-11-13T19:16:39.887" v="61" actId="47"/>
        <pc:sldMkLst>
          <pc:docMk/>
          <pc:sldMk cId="1888191167" sldId="764"/>
        </pc:sldMkLst>
      </pc:sldChg>
      <pc:sldChg chg="del">
        <pc:chgData name="Koksrud Andreas" userId="9d9beba6-c052-407a-8599-c781a677a996" providerId="ADAL" clId="{4CD5824D-6142-4CBD-9878-FA57E0D27293}" dt="2023-11-13T19:16:41.937" v="70" actId="47"/>
        <pc:sldMkLst>
          <pc:docMk/>
          <pc:sldMk cId="1743956420" sldId="765"/>
        </pc:sldMkLst>
      </pc:sldChg>
      <pc:sldChg chg="del">
        <pc:chgData name="Koksrud Andreas" userId="9d9beba6-c052-407a-8599-c781a677a996" providerId="ADAL" clId="{4CD5824D-6142-4CBD-9878-FA57E0D27293}" dt="2023-11-13T19:16:42.108" v="71" actId="47"/>
        <pc:sldMkLst>
          <pc:docMk/>
          <pc:sldMk cId="3156992607" sldId="766"/>
        </pc:sldMkLst>
      </pc:sldChg>
      <pc:sldChg chg="del">
        <pc:chgData name="Koksrud Andreas" userId="9d9beba6-c052-407a-8599-c781a677a996" providerId="ADAL" clId="{4CD5824D-6142-4CBD-9878-FA57E0D27293}" dt="2023-11-13T19:16:42.275" v="72" actId="47"/>
        <pc:sldMkLst>
          <pc:docMk/>
          <pc:sldMk cId="3099146481" sldId="767"/>
        </pc:sldMkLst>
      </pc:sldChg>
      <pc:sldChg chg="del">
        <pc:chgData name="Koksrud Andreas" userId="9d9beba6-c052-407a-8599-c781a677a996" providerId="ADAL" clId="{4CD5824D-6142-4CBD-9878-FA57E0D27293}" dt="2023-11-13T19:16:42.456" v="73" actId="47"/>
        <pc:sldMkLst>
          <pc:docMk/>
          <pc:sldMk cId="4003498005" sldId="768"/>
        </pc:sldMkLst>
      </pc:sldChg>
      <pc:sldChg chg="del">
        <pc:chgData name="Koksrud Andreas" userId="9d9beba6-c052-407a-8599-c781a677a996" providerId="ADAL" clId="{4CD5824D-6142-4CBD-9878-FA57E0D27293}" dt="2023-11-13T19:16:42.865" v="74" actId="47"/>
        <pc:sldMkLst>
          <pc:docMk/>
          <pc:sldMk cId="257484981" sldId="769"/>
        </pc:sldMkLst>
      </pc:sldChg>
      <pc:sldChg chg="del">
        <pc:chgData name="Koksrud Andreas" userId="9d9beba6-c052-407a-8599-c781a677a996" providerId="ADAL" clId="{4CD5824D-6142-4CBD-9878-FA57E0D27293}" dt="2023-11-13T19:16:37.920" v="53" actId="47"/>
        <pc:sldMkLst>
          <pc:docMk/>
          <pc:sldMk cId="3236957713" sldId="774"/>
        </pc:sldMkLst>
      </pc:sldChg>
      <pc:sldChg chg="delSp modSp mod">
        <pc:chgData name="Koksrud Andreas" userId="9d9beba6-c052-407a-8599-c781a677a996" providerId="ADAL" clId="{4CD5824D-6142-4CBD-9878-FA57E0D27293}" dt="2023-11-23T15:56:47.518" v="1399" actId="20577"/>
        <pc:sldMkLst>
          <pc:docMk/>
          <pc:sldMk cId="4184721091" sldId="775"/>
        </pc:sldMkLst>
        <pc:spChg chg="mod">
          <ac:chgData name="Koksrud Andreas" userId="9d9beba6-c052-407a-8599-c781a677a996" providerId="ADAL" clId="{4CD5824D-6142-4CBD-9878-FA57E0D27293}" dt="2023-11-13T19:17:18.919" v="112" actId="20577"/>
          <ac:spMkLst>
            <pc:docMk/>
            <pc:sldMk cId="4184721091" sldId="775"/>
            <ac:spMk id="180" creationId="{00000000-0000-0000-0000-000000000000}"/>
          </ac:spMkLst>
        </pc:spChg>
        <pc:spChg chg="mod">
          <ac:chgData name="Koksrud Andreas" userId="9d9beba6-c052-407a-8599-c781a677a996" providerId="ADAL" clId="{4CD5824D-6142-4CBD-9878-FA57E0D27293}" dt="2023-11-23T15:56:47.518" v="1399" actId="20577"/>
          <ac:spMkLst>
            <pc:docMk/>
            <pc:sldMk cId="4184721091" sldId="775"/>
            <ac:spMk id="181" creationId="{00000000-0000-0000-0000-000000000000}"/>
          </ac:spMkLst>
        </pc:spChg>
        <pc:picChg chg="del">
          <ac:chgData name="Koksrud Andreas" userId="9d9beba6-c052-407a-8599-c781a677a996" providerId="ADAL" clId="{4CD5824D-6142-4CBD-9878-FA57E0D27293}" dt="2023-11-13T19:16:25.892" v="41" actId="478"/>
          <ac:picMkLst>
            <pc:docMk/>
            <pc:sldMk cId="4184721091" sldId="775"/>
            <ac:picMk id="3" creationId="{98CAB3EE-A208-4F00-EDC8-E5A810FC41EF}"/>
          </ac:picMkLst>
        </pc:picChg>
      </pc:sldChg>
      <pc:sldChg chg="addSp delSp modSp add mod">
        <pc:chgData name="Koksrud Andreas" userId="9d9beba6-c052-407a-8599-c781a677a996" providerId="ADAL" clId="{4CD5824D-6142-4CBD-9878-FA57E0D27293}" dt="2023-11-30T13:54:54.880" v="3726" actId="1076"/>
        <pc:sldMkLst>
          <pc:docMk/>
          <pc:sldMk cId="267941889" sldId="776"/>
        </pc:sldMkLst>
        <pc:spChg chg="add del">
          <ac:chgData name="Koksrud Andreas" userId="9d9beba6-c052-407a-8599-c781a677a996" providerId="ADAL" clId="{4CD5824D-6142-4CBD-9878-FA57E0D27293}" dt="2023-11-14T07:31:29.592" v="778"/>
          <ac:spMkLst>
            <pc:docMk/>
            <pc:sldMk cId="267941889" sldId="776"/>
            <ac:spMk id="2" creationId="{156052B2-A727-AD87-99FE-C82C88EF9063}"/>
          </ac:spMkLst>
        </pc:spChg>
        <pc:spChg chg="add mod">
          <ac:chgData name="Koksrud Andreas" userId="9d9beba6-c052-407a-8599-c781a677a996" providerId="ADAL" clId="{4CD5824D-6142-4CBD-9878-FA57E0D27293}" dt="2023-11-30T13:54:54.880" v="3726" actId="1076"/>
          <ac:spMkLst>
            <pc:docMk/>
            <pc:sldMk cId="267941889" sldId="776"/>
            <ac:spMk id="2" creationId="{9DFEA761-9758-CCB6-454F-76D77B537567}"/>
          </ac:spMkLst>
        </pc:spChg>
        <pc:spChg chg="add del">
          <ac:chgData name="Koksrud Andreas" userId="9d9beba6-c052-407a-8599-c781a677a996" providerId="ADAL" clId="{4CD5824D-6142-4CBD-9878-FA57E0D27293}" dt="2023-11-14T07:31:39.359" v="788"/>
          <ac:spMkLst>
            <pc:docMk/>
            <pc:sldMk cId="267941889" sldId="776"/>
            <ac:spMk id="3" creationId="{7CF648DE-5C8A-C798-7187-C0E08007991F}"/>
          </ac:spMkLst>
        </pc:spChg>
        <pc:spChg chg="add del">
          <ac:chgData name="Koksrud Andreas" userId="9d9beba6-c052-407a-8599-c781a677a996" providerId="ADAL" clId="{4CD5824D-6142-4CBD-9878-FA57E0D27293}" dt="2023-11-14T07:33:38.146" v="792"/>
          <ac:spMkLst>
            <pc:docMk/>
            <pc:sldMk cId="267941889" sldId="776"/>
            <ac:spMk id="4" creationId="{6A54A27E-3E19-4895-F999-C0EF695F36EE}"/>
          </ac:spMkLst>
        </pc:spChg>
        <pc:spChg chg="mod">
          <ac:chgData name="Koksrud Andreas" userId="9d9beba6-c052-407a-8599-c781a677a996" providerId="ADAL" clId="{4CD5824D-6142-4CBD-9878-FA57E0D27293}" dt="2023-11-24T09:08:14.062" v="2778" actId="20577"/>
          <ac:spMkLst>
            <pc:docMk/>
            <pc:sldMk cId="267941889" sldId="776"/>
            <ac:spMk id="180" creationId="{00000000-0000-0000-0000-000000000000}"/>
          </ac:spMkLst>
        </pc:spChg>
        <pc:spChg chg="del mod">
          <ac:chgData name="Koksrud Andreas" userId="9d9beba6-c052-407a-8599-c781a677a996" providerId="ADAL" clId="{4CD5824D-6142-4CBD-9878-FA57E0D27293}" dt="2023-11-24T09:08:05.781" v="2758" actId="478"/>
          <ac:spMkLst>
            <pc:docMk/>
            <pc:sldMk cId="267941889" sldId="776"/>
            <ac:spMk id="181" creationId="{00000000-0000-0000-0000-000000000000}"/>
          </ac:spMkLst>
        </pc:spChg>
      </pc:sldChg>
      <pc:sldChg chg="del">
        <pc:chgData name="Koksrud Andreas" userId="9d9beba6-c052-407a-8599-c781a677a996" providerId="ADAL" clId="{4CD5824D-6142-4CBD-9878-FA57E0D27293}" dt="2023-11-13T19:16:38.513" v="54" actId="47"/>
        <pc:sldMkLst>
          <pc:docMk/>
          <pc:sldMk cId="3102905591" sldId="776"/>
        </pc:sldMkLst>
      </pc:sldChg>
      <pc:sldChg chg="del">
        <pc:chgData name="Koksrud Andreas" userId="9d9beba6-c052-407a-8599-c781a677a996" providerId="ADAL" clId="{4CD5824D-6142-4CBD-9878-FA57E0D27293}" dt="2023-11-13T19:16:38.703" v="55" actId="47"/>
        <pc:sldMkLst>
          <pc:docMk/>
          <pc:sldMk cId="298508261" sldId="777"/>
        </pc:sldMkLst>
      </pc:sldChg>
      <pc:sldChg chg="addSp delSp modSp add mod">
        <pc:chgData name="Koksrud Andreas" userId="9d9beba6-c052-407a-8599-c781a677a996" providerId="ADAL" clId="{4CD5824D-6142-4CBD-9878-FA57E0D27293}" dt="2023-11-14T08:15:28.036" v="924" actId="2711"/>
        <pc:sldMkLst>
          <pc:docMk/>
          <pc:sldMk cId="3268319793" sldId="777"/>
        </pc:sldMkLst>
        <pc:spChg chg="add del">
          <ac:chgData name="Koksrud Andreas" userId="9d9beba6-c052-407a-8599-c781a677a996" providerId="ADAL" clId="{4CD5824D-6142-4CBD-9878-FA57E0D27293}" dt="2023-11-13T20:35:16.791" v="508"/>
          <ac:spMkLst>
            <pc:docMk/>
            <pc:sldMk cId="3268319793" sldId="777"/>
            <ac:spMk id="2" creationId="{54E42D8C-3D28-F3A0-E8FA-3EDBB2941443}"/>
          </ac:spMkLst>
        </pc:spChg>
        <pc:spChg chg="add del">
          <ac:chgData name="Koksrud Andreas" userId="9d9beba6-c052-407a-8599-c781a677a996" providerId="ADAL" clId="{4CD5824D-6142-4CBD-9878-FA57E0D27293}" dt="2023-11-13T20:35:25.089" v="515"/>
          <ac:spMkLst>
            <pc:docMk/>
            <pc:sldMk cId="3268319793" sldId="777"/>
            <ac:spMk id="3" creationId="{1363B1FA-2972-39F0-1AB5-33A4581E7D90}"/>
          </ac:spMkLst>
        </pc:spChg>
        <pc:spChg chg="add del">
          <ac:chgData name="Koksrud Andreas" userId="9d9beba6-c052-407a-8599-c781a677a996" providerId="ADAL" clId="{4CD5824D-6142-4CBD-9878-FA57E0D27293}" dt="2023-11-13T20:36:07.256" v="520"/>
          <ac:spMkLst>
            <pc:docMk/>
            <pc:sldMk cId="3268319793" sldId="777"/>
            <ac:spMk id="4" creationId="{2D19174F-0758-A9A7-629F-CF0DBCE14F94}"/>
          </ac:spMkLst>
        </pc:spChg>
        <pc:spChg chg="add del">
          <ac:chgData name="Koksrud Andreas" userId="9d9beba6-c052-407a-8599-c781a677a996" providerId="ADAL" clId="{4CD5824D-6142-4CBD-9878-FA57E0D27293}" dt="2023-11-13T20:36:12.087" v="526"/>
          <ac:spMkLst>
            <pc:docMk/>
            <pc:sldMk cId="3268319793" sldId="777"/>
            <ac:spMk id="5" creationId="{BF3A45EC-EF46-1954-3B2E-4D4314DE7D09}"/>
          </ac:spMkLst>
        </pc:spChg>
        <pc:spChg chg="mod">
          <ac:chgData name="Koksrud Andreas" userId="9d9beba6-c052-407a-8599-c781a677a996" providerId="ADAL" clId="{4CD5824D-6142-4CBD-9878-FA57E0D27293}" dt="2023-11-14T08:14:36.899" v="859" actId="20577"/>
          <ac:spMkLst>
            <pc:docMk/>
            <pc:sldMk cId="3268319793" sldId="777"/>
            <ac:spMk id="180" creationId="{00000000-0000-0000-0000-000000000000}"/>
          </ac:spMkLst>
        </pc:spChg>
        <pc:spChg chg="mod">
          <ac:chgData name="Koksrud Andreas" userId="9d9beba6-c052-407a-8599-c781a677a996" providerId="ADAL" clId="{4CD5824D-6142-4CBD-9878-FA57E0D27293}" dt="2023-11-14T08:15:28.036" v="924" actId="2711"/>
          <ac:spMkLst>
            <pc:docMk/>
            <pc:sldMk cId="3268319793" sldId="777"/>
            <ac:spMk id="181" creationId="{00000000-0000-0000-0000-000000000000}"/>
          </ac:spMkLst>
        </pc:spChg>
      </pc:sldChg>
      <pc:sldChg chg="del">
        <pc:chgData name="Koksrud Andreas" userId="9d9beba6-c052-407a-8599-c781a677a996" providerId="ADAL" clId="{4CD5824D-6142-4CBD-9878-FA57E0D27293}" dt="2023-11-13T19:16:39.016" v="57" actId="47"/>
        <pc:sldMkLst>
          <pc:docMk/>
          <pc:sldMk cId="867521254" sldId="778"/>
        </pc:sldMkLst>
      </pc:sldChg>
      <pc:sldChg chg="modSp add mod">
        <pc:chgData name="Koksrud Andreas" userId="9d9beba6-c052-407a-8599-c781a677a996" providerId="ADAL" clId="{4CD5824D-6142-4CBD-9878-FA57E0D27293}" dt="2023-11-24T11:44:49.204" v="3133" actId="21"/>
        <pc:sldMkLst>
          <pc:docMk/>
          <pc:sldMk cId="2866642472" sldId="778"/>
        </pc:sldMkLst>
        <pc:spChg chg="mod">
          <ac:chgData name="Koksrud Andreas" userId="9d9beba6-c052-407a-8599-c781a677a996" providerId="ADAL" clId="{4CD5824D-6142-4CBD-9878-FA57E0D27293}" dt="2023-11-13T19:19:39.280" v="336" actId="20577"/>
          <ac:spMkLst>
            <pc:docMk/>
            <pc:sldMk cId="2866642472" sldId="778"/>
            <ac:spMk id="180" creationId="{00000000-0000-0000-0000-000000000000}"/>
          </ac:spMkLst>
        </pc:spChg>
        <pc:spChg chg="mod">
          <ac:chgData name="Koksrud Andreas" userId="9d9beba6-c052-407a-8599-c781a677a996" providerId="ADAL" clId="{4CD5824D-6142-4CBD-9878-FA57E0D27293}" dt="2023-11-24T11:44:49.204" v="3133" actId="21"/>
          <ac:spMkLst>
            <pc:docMk/>
            <pc:sldMk cId="2866642472" sldId="778"/>
            <ac:spMk id="181" creationId="{00000000-0000-0000-0000-000000000000}"/>
          </ac:spMkLst>
        </pc:spChg>
      </pc:sldChg>
      <pc:sldChg chg="modSp add del mod">
        <pc:chgData name="Koksrud Andreas" userId="9d9beba6-c052-407a-8599-c781a677a996" providerId="ADAL" clId="{4CD5824D-6142-4CBD-9878-FA57E0D27293}" dt="2023-11-24T11:50:18.109" v="3340" actId="47"/>
        <pc:sldMkLst>
          <pc:docMk/>
          <pc:sldMk cId="411238224" sldId="779"/>
        </pc:sldMkLst>
        <pc:spChg chg="mod">
          <ac:chgData name="Koksrud Andreas" userId="9d9beba6-c052-407a-8599-c781a677a996" providerId="ADAL" clId="{4CD5824D-6142-4CBD-9878-FA57E0D27293}" dt="2023-11-13T19:20:07.467" v="438" actId="20577"/>
          <ac:spMkLst>
            <pc:docMk/>
            <pc:sldMk cId="411238224" sldId="779"/>
            <ac:spMk id="180" creationId="{00000000-0000-0000-0000-000000000000}"/>
          </ac:spMkLst>
        </pc:spChg>
        <pc:spChg chg="mod">
          <ac:chgData name="Koksrud Andreas" userId="9d9beba6-c052-407a-8599-c781a677a996" providerId="ADAL" clId="{4CD5824D-6142-4CBD-9878-FA57E0D27293}" dt="2023-11-23T17:28:03.006" v="2142" actId="20577"/>
          <ac:spMkLst>
            <pc:docMk/>
            <pc:sldMk cId="411238224" sldId="779"/>
            <ac:spMk id="181" creationId="{00000000-0000-0000-0000-000000000000}"/>
          </ac:spMkLst>
        </pc:spChg>
      </pc:sldChg>
      <pc:sldChg chg="del">
        <pc:chgData name="Koksrud Andreas" userId="9d9beba6-c052-407a-8599-c781a677a996" providerId="ADAL" clId="{4CD5824D-6142-4CBD-9878-FA57E0D27293}" dt="2023-11-13T19:16:38.860" v="56" actId="47"/>
        <pc:sldMkLst>
          <pc:docMk/>
          <pc:sldMk cId="2800815207" sldId="779"/>
        </pc:sldMkLst>
      </pc:sldChg>
      <pc:sldChg chg="del">
        <pc:chgData name="Koksrud Andreas" userId="9d9beba6-c052-407a-8599-c781a677a996" providerId="ADAL" clId="{4CD5824D-6142-4CBD-9878-FA57E0D27293}" dt="2023-11-13T19:16:40.544" v="64" actId="47"/>
        <pc:sldMkLst>
          <pc:docMk/>
          <pc:sldMk cId="5783671" sldId="780"/>
        </pc:sldMkLst>
      </pc:sldChg>
      <pc:sldChg chg="modSp add mod ord">
        <pc:chgData name="Koksrud Andreas" userId="9d9beba6-c052-407a-8599-c781a677a996" providerId="ADAL" clId="{4CD5824D-6142-4CBD-9878-FA57E0D27293}" dt="2023-12-01T11:36:39.972" v="4285" actId="14"/>
        <pc:sldMkLst>
          <pc:docMk/>
          <pc:sldMk cId="2950788596" sldId="780"/>
        </pc:sldMkLst>
        <pc:spChg chg="mod">
          <ac:chgData name="Koksrud Andreas" userId="9d9beba6-c052-407a-8599-c781a677a996" providerId="ADAL" clId="{4CD5824D-6142-4CBD-9878-FA57E0D27293}" dt="2023-11-14T09:35:15.977" v="933" actId="20577"/>
          <ac:spMkLst>
            <pc:docMk/>
            <pc:sldMk cId="2950788596" sldId="780"/>
            <ac:spMk id="180" creationId="{00000000-0000-0000-0000-000000000000}"/>
          </ac:spMkLst>
        </pc:spChg>
        <pc:spChg chg="mod">
          <ac:chgData name="Koksrud Andreas" userId="9d9beba6-c052-407a-8599-c781a677a996" providerId="ADAL" clId="{4CD5824D-6142-4CBD-9878-FA57E0D27293}" dt="2023-12-01T11:36:39.972" v="4285" actId="14"/>
          <ac:spMkLst>
            <pc:docMk/>
            <pc:sldMk cId="2950788596" sldId="780"/>
            <ac:spMk id="181" creationId="{00000000-0000-0000-0000-000000000000}"/>
          </ac:spMkLst>
        </pc:spChg>
      </pc:sldChg>
      <pc:sldChg chg="del">
        <pc:chgData name="Koksrud Andreas" userId="9d9beba6-c052-407a-8599-c781a677a996" providerId="ADAL" clId="{4CD5824D-6142-4CBD-9878-FA57E0D27293}" dt="2023-11-13T19:16:40.957" v="66" actId="47"/>
        <pc:sldMkLst>
          <pc:docMk/>
          <pc:sldMk cId="135523954" sldId="781"/>
        </pc:sldMkLst>
      </pc:sldChg>
      <pc:sldChg chg="addSp delSp modSp add mod">
        <pc:chgData name="Koksrud Andreas" userId="9d9beba6-c052-407a-8599-c781a677a996" providerId="ADAL" clId="{4CD5824D-6142-4CBD-9878-FA57E0D27293}" dt="2023-12-03T18:59:57.069" v="4478" actId="14100"/>
        <pc:sldMkLst>
          <pc:docMk/>
          <pc:sldMk cId="1603511548" sldId="781"/>
        </pc:sldMkLst>
        <pc:spChg chg="add del mod">
          <ac:chgData name="Koksrud Andreas" userId="9d9beba6-c052-407a-8599-c781a677a996" providerId="ADAL" clId="{4CD5824D-6142-4CBD-9878-FA57E0D27293}" dt="2023-12-03T18:53:55.945" v="4417" actId="478"/>
          <ac:spMkLst>
            <pc:docMk/>
            <pc:sldMk cId="1603511548" sldId="781"/>
            <ac:spMk id="5" creationId="{02B3B4A9-D2FF-11E7-C2E3-5CEA891C9E6D}"/>
          </ac:spMkLst>
        </pc:spChg>
        <pc:spChg chg="add mod">
          <ac:chgData name="Koksrud Andreas" userId="9d9beba6-c052-407a-8599-c781a677a996" providerId="ADAL" clId="{4CD5824D-6142-4CBD-9878-FA57E0D27293}" dt="2023-12-03T18:59:38.082" v="4469" actId="20577"/>
          <ac:spMkLst>
            <pc:docMk/>
            <pc:sldMk cId="1603511548" sldId="781"/>
            <ac:spMk id="9" creationId="{1332ADAB-347F-B30A-F36B-957ADACDE929}"/>
          </ac:spMkLst>
        </pc:spChg>
        <pc:spChg chg="mod">
          <ac:chgData name="Koksrud Andreas" userId="9d9beba6-c052-407a-8599-c781a677a996" providerId="ADAL" clId="{4CD5824D-6142-4CBD-9878-FA57E0D27293}" dt="2023-11-14T09:36:10.811" v="1016" actId="20577"/>
          <ac:spMkLst>
            <pc:docMk/>
            <pc:sldMk cId="1603511548" sldId="781"/>
            <ac:spMk id="180" creationId="{00000000-0000-0000-0000-000000000000}"/>
          </ac:spMkLst>
        </pc:spChg>
        <pc:spChg chg="del mod">
          <ac:chgData name="Koksrud Andreas" userId="9d9beba6-c052-407a-8599-c781a677a996" providerId="ADAL" clId="{4CD5824D-6142-4CBD-9878-FA57E0D27293}" dt="2023-12-03T18:53:38.235" v="4413" actId="478"/>
          <ac:spMkLst>
            <pc:docMk/>
            <pc:sldMk cId="1603511548" sldId="781"/>
            <ac:spMk id="181" creationId="{00000000-0000-0000-0000-000000000000}"/>
          </ac:spMkLst>
        </pc:spChg>
        <pc:picChg chg="add mod">
          <ac:chgData name="Koksrud Andreas" userId="9d9beba6-c052-407a-8599-c781a677a996" providerId="ADAL" clId="{4CD5824D-6142-4CBD-9878-FA57E0D27293}" dt="2023-12-03T18:56:25.315" v="4429" actId="1076"/>
          <ac:picMkLst>
            <pc:docMk/>
            <pc:sldMk cId="1603511548" sldId="781"/>
            <ac:picMk id="3" creationId="{AD52EE61-7E4E-1B44-3695-5FC7299A31F9}"/>
          </ac:picMkLst>
        </pc:picChg>
        <pc:picChg chg="add mod">
          <ac:chgData name="Koksrud Andreas" userId="9d9beba6-c052-407a-8599-c781a677a996" providerId="ADAL" clId="{4CD5824D-6142-4CBD-9878-FA57E0D27293}" dt="2023-12-03T18:55:29.411" v="4425" actId="1076"/>
          <ac:picMkLst>
            <pc:docMk/>
            <pc:sldMk cId="1603511548" sldId="781"/>
            <ac:picMk id="7" creationId="{3B5165A8-2E47-DB9A-D70F-42184181D404}"/>
          </ac:picMkLst>
        </pc:picChg>
        <pc:picChg chg="add mod">
          <ac:chgData name="Koksrud Andreas" userId="9d9beba6-c052-407a-8599-c781a677a996" providerId="ADAL" clId="{4CD5824D-6142-4CBD-9878-FA57E0D27293}" dt="2023-12-03T18:57:38.953" v="4444" actId="1076"/>
          <ac:picMkLst>
            <pc:docMk/>
            <pc:sldMk cId="1603511548" sldId="781"/>
            <ac:picMk id="16" creationId="{961D96A4-A69D-0361-0078-7F141954E90E}"/>
          </ac:picMkLst>
        </pc:picChg>
        <pc:picChg chg="add mod">
          <ac:chgData name="Koksrud Andreas" userId="9d9beba6-c052-407a-8599-c781a677a996" providerId="ADAL" clId="{4CD5824D-6142-4CBD-9878-FA57E0D27293}" dt="2023-12-03T18:58:09.233" v="4447" actId="1076"/>
          <ac:picMkLst>
            <pc:docMk/>
            <pc:sldMk cId="1603511548" sldId="781"/>
            <ac:picMk id="18" creationId="{5F2765F5-E3C5-9975-D386-F47D6D3848E1}"/>
          </ac:picMkLst>
        </pc:picChg>
        <pc:picChg chg="add mod">
          <ac:chgData name="Koksrud Andreas" userId="9d9beba6-c052-407a-8599-c781a677a996" providerId="ADAL" clId="{4CD5824D-6142-4CBD-9878-FA57E0D27293}" dt="2023-12-03T18:59:40.902" v="4470" actId="1076"/>
          <ac:picMkLst>
            <pc:docMk/>
            <pc:sldMk cId="1603511548" sldId="781"/>
            <ac:picMk id="20" creationId="{0F55C9D1-D5B8-D7F1-9D93-C96F070522F1}"/>
          </ac:picMkLst>
        </pc:picChg>
        <pc:picChg chg="add mod">
          <ac:chgData name="Koksrud Andreas" userId="9d9beba6-c052-407a-8599-c781a677a996" providerId="ADAL" clId="{4CD5824D-6142-4CBD-9878-FA57E0D27293}" dt="2023-12-03T18:59:50.638" v="4475" actId="1076"/>
          <ac:picMkLst>
            <pc:docMk/>
            <pc:sldMk cId="1603511548" sldId="781"/>
            <ac:picMk id="22" creationId="{52191FCE-8033-8D9C-1721-9A06CDDCF90B}"/>
          </ac:picMkLst>
        </pc:picChg>
        <pc:inkChg chg="add del">
          <ac:chgData name="Koksrud Andreas" userId="9d9beba6-c052-407a-8599-c781a677a996" providerId="ADAL" clId="{4CD5824D-6142-4CBD-9878-FA57E0D27293}" dt="2023-12-03T18:56:14.682" v="4427"/>
          <ac:inkMkLst>
            <pc:docMk/>
            <pc:sldMk cId="1603511548" sldId="781"/>
            <ac:inkMk id="10" creationId="{98D24884-84A8-93E5-F0A0-064ABA879277}"/>
          </ac:inkMkLst>
        </pc:inkChg>
        <pc:cxnChg chg="add mod">
          <ac:chgData name="Koksrud Andreas" userId="9d9beba6-c052-407a-8599-c781a677a996" providerId="ADAL" clId="{4CD5824D-6142-4CBD-9878-FA57E0D27293}" dt="2023-12-03T18:56:45.651" v="4433" actId="13822"/>
          <ac:cxnSpMkLst>
            <pc:docMk/>
            <pc:sldMk cId="1603511548" sldId="781"/>
            <ac:cxnSpMk id="12" creationId="{F9EDA9A0-28CB-B69E-2779-848131E05BF9}"/>
          </ac:cxnSpMkLst>
        </pc:cxnChg>
        <pc:cxnChg chg="add mod">
          <ac:chgData name="Koksrud Andreas" userId="9d9beba6-c052-407a-8599-c781a677a996" providerId="ADAL" clId="{4CD5824D-6142-4CBD-9878-FA57E0D27293}" dt="2023-12-03T18:59:57.069" v="4478" actId="14100"/>
          <ac:cxnSpMkLst>
            <pc:docMk/>
            <pc:sldMk cId="1603511548" sldId="781"/>
            <ac:cxnSpMk id="23" creationId="{D5B766C6-F903-83AD-F8DD-2017BBF8697A}"/>
          </ac:cxnSpMkLst>
        </pc:cxnChg>
      </pc:sldChg>
      <pc:sldChg chg="modSp add mod">
        <pc:chgData name="Koksrud Andreas" userId="9d9beba6-c052-407a-8599-c781a677a996" providerId="ADAL" clId="{4CD5824D-6142-4CBD-9878-FA57E0D27293}" dt="2023-11-24T07:31:13.694" v="2467" actId="20577"/>
        <pc:sldMkLst>
          <pc:docMk/>
          <pc:sldMk cId="1881751481" sldId="782"/>
        </pc:sldMkLst>
        <pc:spChg chg="mod">
          <ac:chgData name="Koksrud Andreas" userId="9d9beba6-c052-407a-8599-c781a677a996" providerId="ADAL" clId="{4CD5824D-6142-4CBD-9878-FA57E0D27293}" dt="2023-11-24T07:30:26.433" v="2392" actId="20577"/>
          <ac:spMkLst>
            <pc:docMk/>
            <pc:sldMk cId="1881751481" sldId="782"/>
            <ac:spMk id="180" creationId="{00000000-0000-0000-0000-000000000000}"/>
          </ac:spMkLst>
        </pc:spChg>
        <pc:spChg chg="mod">
          <ac:chgData name="Koksrud Andreas" userId="9d9beba6-c052-407a-8599-c781a677a996" providerId="ADAL" clId="{4CD5824D-6142-4CBD-9878-FA57E0D27293}" dt="2023-11-24T07:31:13.694" v="2467" actId="20577"/>
          <ac:spMkLst>
            <pc:docMk/>
            <pc:sldMk cId="1881751481" sldId="782"/>
            <ac:spMk id="181" creationId="{00000000-0000-0000-0000-000000000000}"/>
          </ac:spMkLst>
        </pc:spChg>
      </pc:sldChg>
      <pc:sldChg chg="del">
        <pc:chgData name="Koksrud Andreas" userId="9d9beba6-c052-407a-8599-c781a677a996" providerId="ADAL" clId="{4CD5824D-6142-4CBD-9878-FA57E0D27293}" dt="2023-11-13T19:16:41.318" v="68" actId="47"/>
        <pc:sldMkLst>
          <pc:docMk/>
          <pc:sldMk cId="2431776702" sldId="782"/>
        </pc:sldMkLst>
      </pc:sldChg>
      <pc:sldChg chg="add del">
        <pc:chgData name="Koksrud Andreas" userId="9d9beba6-c052-407a-8599-c781a677a996" providerId="ADAL" clId="{4CD5824D-6142-4CBD-9878-FA57E0D27293}" dt="2023-11-24T07:32:10.953" v="2498" actId="47"/>
        <pc:sldMkLst>
          <pc:docMk/>
          <pc:sldMk cId="1178452431" sldId="783"/>
        </pc:sldMkLst>
      </pc:sldChg>
      <pc:sldChg chg="del">
        <pc:chgData name="Koksrud Andreas" userId="9d9beba6-c052-407a-8599-c781a677a996" providerId="ADAL" clId="{4CD5824D-6142-4CBD-9878-FA57E0D27293}" dt="2023-11-13T19:16:41.773" v="69" actId="47"/>
        <pc:sldMkLst>
          <pc:docMk/>
          <pc:sldMk cId="4084346027" sldId="783"/>
        </pc:sldMkLst>
      </pc:sldChg>
      <pc:sldChg chg="add del">
        <pc:chgData name="Koksrud Andreas" userId="9d9beba6-c052-407a-8599-c781a677a996" providerId="ADAL" clId="{4CD5824D-6142-4CBD-9878-FA57E0D27293}" dt="2023-11-24T07:32:11.657" v="2499" actId="47"/>
        <pc:sldMkLst>
          <pc:docMk/>
          <pc:sldMk cId="1401184782" sldId="784"/>
        </pc:sldMkLst>
      </pc:sldChg>
      <pc:sldChg chg="del">
        <pc:chgData name="Koksrud Andreas" userId="9d9beba6-c052-407a-8599-c781a677a996" providerId="ADAL" clId="{4CD5824D-6142-4CBD-9878-FA57E0D27293}" dt="2023-11-13T19:16:42.989" v="75" actId="47"/>
        <pc:sldMkLst>
          <pc:docMk/>
          <pc:sldMk cId="2842146877" sldId="784"/>
        </pc:sldMkLst>
      </pc:sldChg>
      <pc:sldChg chg="add del">
        <pc:chgData name="Koksrud Andreas" userId="9d9beba6-c052-407a-8599-c781a677a996" providerId="ADAL" clId="{4CD5824D-6142-4CBD-9878-FA57E0D27293}" dt="2023-11-24T07:32:12.069" v="2500" actId="47"/>
        <pc:sldMkLst>
          <pc:docMk/>
          <pc:sldMk cId="476865816" sldId="785"/>
        </pc:sldMkLst>
      </pc:sldChg>
      <pc:sldChg chg="add del">
        <pc:chgData name="Koksrud Andreas" userId="9d9beba6-c052-407a-8599-c781a677a996" providerId="ADAL" clId="{4CD5824D-6142-4CBD-9878-FA57E0D27293}" dt="2023-11-24T07:32:12.414" v="2501" actId="47"/>
        <pc:sldMkLst>
          <pc:docMk/>
          <pc:sldMk cId="952288399" sldId="786"/>
        </pc:sldMkLst>
      </pc:sldChg>
      <pc:sldChg chg="add del">
        <pc:chgData name="Koksrud Andreas" userId="9d9beba6-c052-407a-8599-c781a677a996" providerId="ADAL" clId="{4CD5824D-6142-4CBD-9878-FA57E0D27293}" dt="2023-11-24T07:32:12.702" v="2502" actId="47"/>
        <pc:sldMkLst>
          <pc:docMk/>
          <pc:sldMk cId="2548142618" sldId="787"/>
        </pc:sldMkLst>
      </pc:sldChg>
      <pc:sldChg chg="add del">
        <pc:chgData name="Koksrud Andreas" userId="9d9beba6-c052-407a-8599-c781a677a996" providerId="ADAL" clId="{4CD5824D-6142-4CBD-9878-FA57E0D27293}" dt="2023-11-24T07:32:13.142" v="2503" actId="47"/>
        <pc:sldMkLst>
          <pc:docMk/>
          <pc:sldMk cId="333102911" sldId="788"/>
        </pc:sldMkLst>
      </pc:sldChg>
      <pc:sldChg chg="add del">
        <pc:chgData name="Koksrud Andreas" userId="9d9beba6-c052-407a-8599-c781a677a996" providerId="ADAL" clId="{4CD5824D-6142-4CBD-9878-FA57E0D27293}" dt="2023-11-24T07:32:13.428" v="2504" actId="47"/>
        <pc:sldMkLst>
          <pc:docMk/>
          <pc:sldMk cId="4000107918" sldId="789"/>
        </pc:sldMkLst>
      </pc:sldChg>
      <pc:sldChg chg="add del">
        <pc:chgData name="Koksrud Andreas" userId="9d9beba6-c052-407a-8599-c781a677a996" providerId="ADAL" clId="{4CD5824D-6142-4CBD-9878-FA57E0D27293}" dt="2023-11-24T07:32:13.694" v="2505" actId="47"/>
        <pc:sldMkLst>
          <pc:docMk/>
          <pc:sldMk cId="2696435861" sldId="790"/>
        </pc:sldMkLst>
      </pc:sldChg>
      <pc:sldChg chg="add del">
        <pc:chgData name="Koksrud Andreas" userId="9d9beba6-c052-407a-8599-c781a677a996" providerId="ADAL" clId="{4CD5824D-6142-4CBD-9878-FA57E0D27293}" dt="2023-11-24T07:32:14.233" v="2506" actId="47"/>
        <pc:sldMkLst>
          <pc:docMk/>
          <pc:sldMk cId="795629405" sldId="791"/>
        </pc:sldMkLst>
      </pc:sldChg>
      <pc:sldChg chg="add del">
        <pc:chgData name="Koksrud Andreas" userId="9d9beba6-c052-407a-8599-c781a677a996" providerId="ADAL" clId="{4CD5824D-6142-4CBD-9878-FA57E0D27293}" dt="2023-11-24T07:32:14.632" v="2507" actId="47"/>
        <pc:sldMkLst>
          <pc:docMk/>
          <pc:sldMk cId="976261081" sldId="792"/>
        </pc:sldMkLst>
      </pc:sldChg>
      <pc:sldChg chg="add del">
        <pc:chgData name="Koksrud Andreas" userId="9d9beba6-c052-407a-8599-c781a677a996" providerId="ADAL" clId="{4CD5824D-6142-4CBD-9878-FA57E0D27293}" dt="2023-11-24T07:32:15.039" v="2508" actId="47"/>
        <pc:sldMkLst>
          <pc:docMk/>
          <pc:sldMk cId="2512561598" sldId="793"/>
        </pc:sldMkLst>
      </pc:sldChg>
      <pc:sldChg chg="add del">
        <pc:chgData name="Koksrud Andreas" userId="9d9beba6-c052-407a-8599-c781a677a996" providerId="ADAL" clId="{4CD5824D-6142-4CBD-9878-FA57E0D27293}" dt="2023-11-24T07:32:15.413" v="2509" actId="47"/>
        <pc:sldMkLst>
          <pc:docMk/>
          <pc:sldMk cId="4152653441" sldId="794"/>
        </pc:sldMkLst>
      </pc:sldChg>
      <pc:sldChg chg="add del">
        <pc:chgData name="Koksrud Andreas" userId="9d9beba6-c052-407a-8599-c781a677a996" providerId="ADAL" clId="{4CD5824D-6142-4CBD-9878-FA57E0D27293}" dt="2023-11-24T07:32:15.758" v="2510" actId="47"/>
        <pc:sldMkLst>
          <pc:docMk/>
          <pc:sldMk cId="3773561703" sldId="795"/>
        </pc:sldMkLst>
      </pc:sldChg>
      <pc:sldChg chg="add del">
        <pc:chgData name="Koksrud Andreas" userId="9d9beba6-c052-407a-8599-c781a677a996" providerId="ADAL" clId="{4CD5824D-6142-4CBD-9878-FA57E0D27293}" dt="2023-11-24T07:32:19.466" v="2512" actId="47"/>
        <pc:sldMkLst>
          <pc:docMk/>
          <pc:sldMk cId="1235100158" sldId="796"/>
        </pc:sldMkLst>
      </pc:sldChg>
      <pc:sldChg chg="addSp delSp modSp add del mod ord">
        <pc:chgData name="Koksrud Andreas" userId="9d9beba6-c052-407a-8599-c781a677a996" providerId="ADAL" clId="{4CD5824D-6142-4CBD-9878-FA57E0D27293}" dt="2023-12-01T07:01:33.844" v="3966" actId="14100"/>
        <pc:sldMkLst>
          <pc:docMk/>
          <pc:sldMk cId="1079463624" sldId="797"/>
        </pc:sldMkLst>
        <pc:spChg chg="add del">
          <ac:chgData name="Koksrud Andreas" userId="9d9beba6-c052-407a-8599-c781a677a996" providerId="ADAL" clId="{4CD5824D-6142-4CBD-9878-FA57E0D27293}" dt="2023-11-14T09:38:50.475" v="1086"/>
          <ac:spMkLst>
            <pc:docMk/>
            <pc:sldMk cId="1079463624" sldId="797"/>
            <ac:spMk id="4" creationId="{42AB5390-370A-D1F2-B1DF-C7AC14805E5F}"/>
          </ac:spMkLst>
        </pc:spChg>
        <pc:spChg chg="add del">
          <ac:chgData name="Koksrud Andreas" userId="9d9beba6-c052-407a-8599-c781a677a996" providerId="ADAL" clId="{4CD5824D-6142-4CBD-9878-FA57E0D27293}" dt="2023-11-14T09:38:54.900" v="1088"/>
          <ac:spMkLst>
            <pc:docMk/>
            <pc:sldMk cId="1079463624" sldId="797"/>
            <ac:spMk id="5" creationId="{588FB1E1-1E1E-C7FB-0EDD-ED9A0452DC44}"/>
          </ac:spMkLst>
        </pc:spChg>
        <pc:spChg chg="mod">
          <ac:chgData name="Koksrud Andreas" userId="9d9beba6-c052-407a-8599-c781a677a996" providerId="ADAL" clId="{4CD5824D-6142-4CBD-9878-FA57E0D27293}" dt="2023-11-24T07:27:20.155" v="2361" actId="20577"/>
          <ac:spMkLst>
            <pc:docMk/>
            <pc:sldMk cId="1079463624" sldId="797"/>
            <ac:spMk id="180" creationId="{00000000-0000-0000-0000-000000000000}"/>
          </ac:spMkLst>
        </pc:spChg>
        <pc:spChg chg="mod">
          <ac:chgData name="Koksrud Andreas" userId="9d9beba6-c052-407a-8599-c781a677a996" providerId="ADAL" clId="{4CD5824D-6142-4CBD-9878-FA57E0D27293}" dt="2023-12-01T07:00:06.626" v="3964" actId="20577"/>
          <ac:spMkLst>
            <pc:docMk/>
            <pc:sldMk cId="1079463624" sldId="797"/>
            <ac:spMk id="181" creationId="{00000000-0000-0000-0000-000000000000}"/>
          </ac:spMkLst>
        </pc:spChg>
        <pc:graphicFrameChg chg="add del mod">
          <ac:chgData name="Koksrud Andreas" userId="9d9beba6-c052-407a-8599-c781a677a996" providerId="ADAL" clId="{4CD5824D-6142-4CBD-9878-FA57E0D27293}" dt="2023-11-14T08:10:03.618" v="833"/>
          <ac:graphicFrameMkLst>
            <pc:docMk/>
            <pc:sldMk cId="1079463624" sldId="797"/>
            <ac:graphicFrameMk id="2" creationId="{F9D9067E-92DC-F24A-0EE6-45FD300CBCF1}"/>
          </ac:graphicFrameMkLst>
        </pc:graphicFrameChg>
        <pc:graphicFrameChg chg="add del mod">
          <ac:chgData name="Koksrud Andreas" userId="9d9beba6-c052-407a-8599-c781a677a996" providerId="ADAL" clId="{4CD5824D-6142-4CBD-9878-FA57E0D27293}" dt="2023-11-14T08:10:13.826" v="839"/>
          <ac:graphicFrameMkLst>
            <pc:docMk/>
            <pc:sldMk cId="1079463624" sldId="797"/>
            <ac:graphicFrameMk id="3" creationId="{FAE4EF70-E9BA-4636-DB00-0F8B378DD983}"/>
          </ac:graphicFrameMkLst>
        </pc:graphicFrameChg>
        <pc:picChg chg="add mod">
          <ac:chgData name="Koksrud Andreas" userId="9d9beba6-c052-407a-8599-c781a677a996" providerId="ADAL" clId="{4CD5824D-6142-4CBD-9878-FA57E0D27293}" dt="2023-12-01T07:01:33.844" v="3966" actId="14100"/>
          <ac:picMkLst>
            <pc:docMk/>
            <pc:sldMk cId="1079463624" sldId="797"/>
            <ac:picMk id="3" creationId="{77764897-3F1A-B171-E2D8-7357AC30BADC}"/>
          </ac:picMkLst>
        </pc:picChg>
      </pc:sldChg>
      <pc:sldChg chg="addSp modSp add mod ord">
        <pc:chgData name="Koksrud Andreas" userId="9d9beba6-c052-407a-8599-c781a677a996" providerId="ADAL" clId="{4CD5824D-6142-4CBD-9878-FA57E0D27293}" dt="2023-12-01T06:13:25.487" v="3728" actId="20577"/>
        <pc:sldMkLst>
          <pc:docMk/>
          <pc:sldMk cId="590634226" sldId="798"/>
        </pc:sldMkLst>
        <pc:spChg chg="add mod">
          <ac:chgData name="Koksrud Andreas" userId="9d9beba6-c052-407a-8599-c781a677a996" providerId="ADAL" clId="{4CD5824D-6142-4CBD-9878-FA57E0D27293}" dt="2023-11-24T09:04:03.479" v="2665" actId="14"/>
          <ac:spMkLst>
            <pc:docMk/>
            <pc:sldMk cId="590634226" sldId="798"/>
            <ac:spMk id="2" creationId="{E5D5B057-1D39-AC88-396C-0D888288A2E9}"/>
          </ac:spMkLst>
        </pc:spChg>
        <pc:spChg chg="mod">
          <ac:chgData name="Koksrud Andreas" userId="9d9beba6-c052-407a-8599-c781a677a996" providerId="ADAL" clId="{4CD5824D-6142-4CBD-9878-FA57E0D27293}" dt="2023-12-01T06:13:25.487" v="3728" actId="20577"/>
          <ac:spMkLst>
            <pc:docMk/>
            <pc:sldMk cId="590634226" sldId="798"/>
            <ac:spMk id="181" creationId="{00000000-0000-0000-0000-000000000000}"/>
          </ac:spMkLst>
        </pc:spChg>
      </pc:sldChg>
      <pc:sldChg chg="addSp modSp add mod">
        <pc:chgData name="Koksrud Andreas" userId="9d9beba6-c052-407a-8599-c781a677a996" providerId="ADAL" clId="{4CD5824D-6142-4CBD-9878-FA57E0D27293}" dt="2023-11-23T16:00:17.721" v="1452" actId="20577"/>
        <pc:sldMkLst>
          <pc:docMk/>
          <pc:sldMk cId="1792322963" sldId="799"/>
        </pc:sldMkLst>
        <pc:spChg chg="add mod">
          <ac:chgData name="Koksrud Andreas" userId="9d9beba6-c052-407a-8599-c781a677a996" providerId="ADAL" clId="{4CD5824D-6142-4CBD-9878-FA57E0D27293}" dt="2023-11-23T16:00:17.721" v="1452" actId="20577"/>
          <ac:spMkLst>
            <pc:docMk/>
            <pc:sldMk cId="1792322963" sldId="799"/>
            <ac:spMk id="3" creationId="{6DBAC8E0-D9CE-6A68-DA2F-CA5F6C327794}"/>
          </ac:spMkLst>
        </pc:spChg>
        <pc:spChg chg="mod">
          <ac:chgData name="Koksrud Andreas" userId="9d9beba6-c052-407a-8599-c781a677a996" providerId="ADAL" clId="{4CD5824D-6142-4CBD-9878-FA57E0D27293}" dt="2023-11-23T15:59:07.361" v="1441" actId="27636"/>
          <ac:spMkLst>
            <pc:docMk/>
            <pc:sldMk cId="1792322963" sldId="799"/>
            <ac:spMk id="181" creationId="{00000000-0000-0000-0000-000000000000}"/>
          </ac:spMkLst>
        </pc:spChg>
      </pc:sldChg>
      <pc:sldChg chg="addSp delSp modSp add mod ord">
        <pc:chgData name="Koksrud Andreas" userId="9d9beba6-c052-407a-8599-c781a677a996" providerId="ADAL" clId="{4CD5824D-6142-4CBD-9878-FA57E0D27293}" dt="2023-11-30T13:26:44.661" v="3399" actId="20577"/>
        <pc:sldMkLst>
          <pc:docMk/>
          <pc:sldMk cId="2075912972" sldId="800"/>
        </pc:sldMkLst>
        <pc:spChg chg="add mod">
          <ac:chgData name="Koksrud Andreas" userId="9d9beba6-c052-407a-8599-c781a677a996" providerId="ADAL" clId="{4CD5824D-6142-4CBD-9878-FA57E0D27293}" dt="2023-11-23T17:43:56.704" v="2333" actId="6549"/>
          <ac:spMkLst>
            <pc:docMk/>
            <pc:sldMk cId="2075912972" sldId="800"/>
            <ac:spMk id="4" creationId="{1F0030D3-C16D-0458-39A0-65E4C91CE228}"/>
          </ac:spMkLst>
        </pc:spChg>
        <pc:spChg chg="mod">
          <ac:chgData name="Koksrud Andreas" userId="9d9beba6-c052-407a-8599-c781a677a996" providerId="ADAL" clId="{4CD5824D-6142-4CBD-9878-FA57E0D27293}" dt="2023-11-23T16:01:03.681" v="1491" actId="20577"/>
          <ac:spMkLst>
            <pc:docMk/>
            <pc:sldMk cId="2075912972" sldId="800"/>
            <ac:spMk id="180" creationId="{00000000-0000-0000-0000-000000000000}"/>
          </ac:spMkLst>
        </pc:spChg>
        <pc:spChg chg="del mod">
          <ac:chgData name="Koksrud Andreas" userId="9d9beba6-c052-407a-8599-c781a677a996" providerId="ADAL" clId="{4CD5824D-6142-4CBD-9878-FA57E0D27293}" dt="2023-11-23T16:03:16.970" v="1606" actId="3680"/>
          <ac:spMkLst>
            <pc:docMk/>
            <pc:sldMk cId="2075912972" sldId="800"/>
            <ac:spMk id="181" creationId="{00000000-0000-0000-0000-000000000000}"/>
          </ac:spMkLst>
        </pc:spChg>
        <pc:graphicFrameChg chg="add del mod modGraphic">
          <ac:chgData name="Koksrud Andreas" userId="9d9beba6-c052-407a-8599-c781a677a996" providerId="ADAL" clId="{4CD5824D-6142-4CBD-9878-FA57E0D27293}" dt="2023-11-23T16:06:04.009" v="1812" actId="478"/>
          <ac:graphicFrameMkLst>
            <pc:docMk/>
            <pc:sldMk cId="2075912972" sldId="800"/>
            <ac:graphicFrameMk id="2" creationId="{1F7BFFA6-B758-EE8C-B2E3-E3ACA6F9A311}"/>
          </ac:graphicFrameMkLst>
        </pc:graphicFrameChg>
        <pc:graphicFrameChg chg="add mod ord modGraphic">
          <ac:chgData name="Koksrud Andreas" userId="9d9beba6-c052-407a-8599-c781a677a996" providerId="ADAL" clId="{4CD5824D-6142-4CBD-9878-FA57E0D27293}" dt="2023-11-30T13:26:44.661" v="3399" actId="20577"/>
          <ac:graphicFrameMkLst>
            <pc:docMk/>
            <pc:sldMk cId="2075912972" sldId="800"/>
            <ac:graphicFrameMk id="3" creationId="{9988BFF9-164F-39C7-5576-A1BE9BB1B8AA}"/>
          </ac:graphicFrameMkLst>
        </pc:graphicFrameChg>
      </pc:sldChg>
      <pc:sldChg chg="modSp add del mod">
        <pc:chgData name="Koksrud Andreas" userId="9d9beba6-c052-407a-8599-c781a677a996" providerId="ADAL" clId="{4CD5824D-6142-4CBD-9878-FA57E0D27293}" dt="2023-12-01T11:39:35.527" v="4286" actId="47"/>
        <pc:sldMkLst>
          <pc:docMk/>
          <pc:sldMk cId="1407358056" sldId="801"/>
        </pc:sldMkLst>
        <pc:spChg chg="mod">
          <ac:chgData name="Koksrud Andreas" userId="9d9beba6-c052-407a-8599-c781a677a996" providerId="ADAL" clId="{4CD5824D-6142-4CBD-9878-FA57E0D27293}" dt="2023-11-23T17:28:14.086" v="2160" actId="20577"/>
          <ac:spMkLst>
            <pc:docMk/>
            <pc:sldMk cId="1407358056" sldId="801"/>
            <ac:spMk id="180" creationId="{00000000-0000-0000-0000-000000000000}"/>
          </ac:spMkLst>
        </pc:spChg>
        <pc:spChg chg="mod">
          <ac:chgData name="Koksrud Andreas" userId="9d9beba6-c052-407a-8599-c781a677a996" providerId="ADAL" clId="{4CD5824D-6142-4CBD-9878-FA57E0D27293}" dt="2023-11-24T11:50:31.064" v="3341" actId="20577"/>
          <ac:spMkLst>
            <pc:docMk/>
            <pc:sldMk cId="1407358056" sldId="801"/>
            <ac:spMk id="181" creationId="{00000000-0000-0000-0000-000000000000}"/>
          </ac:spMkLst>
        </pc:spChg>
      </pc:sldChg>
      <pc:sldChg chg="addSp delSp modSp add mod">
        <pc:chgData name="Koksrud Andreas" userId="9d9beba6-c052-407a-8599-c781a677a996" providerId="ADAL" clId="{4CD5824D-6142-4CBD-9878-FA57E0D27293}" dt="2023-12-03T19:02:11.548" v="4563" actId="14100"/>
        <pc:sldMkLst>
          <pc:docMk/>
          <pc:sldMk cId="1498060418" sldId="802"/>
        </pc:sldMkLst>
        <pc:spChg chg="mod">
          <ac:chgData name="Koksrud Andreas" userId="9d9beba6-c052-407a-8599-c781a677a996" providerId="ADAL" clId="{4CD5824D-6142-4CBD-9878-FA57E0D27293}" dt="2023-12-03T19:01:28.379" v="4553" actId="20577"/>
          <ac:spMkLst>
            <pc:docMk/>
            <pc:sldMk cId="1498060418" sldId="802"/>
            <ac:spMk id="181" creationId="{00000000-0000-0000-0000-000000000000}"/>
          </ac:spMkLst>
        </pc:spChg>
        <pc:picChg chg="add mod">
          <ac:chgData name="Koksrud Andreas" userId="9d9beba6-c052-407a-8599-c781a677a996" providerId="ADAL" clId="{4CD5824D-6142-4CBD-9878-FA57E0D27293}" dt="2023-12-03T19:00:37.205" v="4508" actId="14100"/>
          <ac:picMkLst>
            <pc:docMk/>
            <pc:sldMk cId="1498060418" sldId="802"/>
            <ac:picMk id="3" creationId="{CBFEFB0B-3282-7AC0-21B6-52CE33617628}"/>
          </ac:picMkLst>
        </pc:picChg>
        <pc:picChg chg="add mod modCrop">
          <ac:chgData name="Koksrud Andreas" userId="9d9beba6-c052-407a-8599-c781a677a996" providerId="ADAL" clId="{4CD5824D-6142-4CBD-9878-FA57E0D27293}" dt="2023-12-03T19:00:55.848" v="4511" actId="732"/>
          <ac:picMkLst>
            <pc:docMk/>
            <pc:sldMk cId="1498060418" sldId="802"/>
            <ac:picMk id="5" creationId="{23572AA6-9B29-275E-AB67-74C799BC3C20}"/>
          </ac:picMkLst>
        </pc:picChg>
        <pc:picChg chg="add del">
          <ac:chgData name="Koksrud Andreas" userId="9d9beba6-c052-407a-8599-c781a677a996" providerId="ADAL" clId="{4CD5824D-6142-4CBD-9878-FA57E0D27293}" dt="2023-12-03T19:00:59.697" v="4513" actId="478"/>
          <ac:picMkLst>
            <pc:docMk/>
            <pc:sldMk cId="1498060418" sldId="802"/>
            <ac:picMk id="7" creationId="{D9C7E89A-210E-82CC-A244-6900CBDB780E}"/>
          </ac:picMkLst>
        </pc:picChg>
        <pc:picChg chg="add mod modCrop">
          <ac:chgData name="Koksrud Andreas" userId="9d9beba6-c052-407a-8599-c781a677a996" providerId="ADAL" clId="{4CD5824D-6142-4CBD-9878-FA57E0D27293}" dt="2023-12-03T19:01:45.839" v="4556" actId="732"/>
          <ac:picMkLst>
            <pc:docMk/>
            <pc:sldMk cId="1498060418" sldId="802"/>
            <ac:picMk id="11" creationId="{FA3AA484-9678-282F-FA0F-53789CE5C7E0}"/>
          </ac:picMkLst>
        </pc:picChg>
        <pc:picChg chg="add mod">
          <ac:chgData name="Koksrud Andreas" userId="9d9beba6-c052-407a-8599-c781a677a996" providerId="ADAL" clId="{4CD5824D-6142-4CBD-9878-FA57E0D27293}" dt="2023-12-03T19:02:00.188" v="4559" actId="1076"/>
          <ac:picMkLst>
            <pc:docMk/>
            <pc:sldMk cId="1498060418" sldId="802"/>
            <ac:picMk id="13" creationId="{C7A6110E-5CF7-BBCF-6830-61081EFA2E77}"/>
          </ac:picMkLst>
        </pc:picChg>
        <pc:cxnChg chg="add mod">
          <ac:chgData name="Koksrud Andreas" userId="9d9beba6-c052-407a-8599-c781a677a996" providerId="ADAL" clId="{4CD5824D-6142-4CBD-9878-FA57E0D27293}" dt="2023-12-03T19:01:06.758" v="4516" actId="14100"/>
          <ac:cxnSpMkLst>
            <pc:docMk/>
            <pc:sldMk cId="1498060418" sldId="802"/>
            <ac:cxnSpMk id="8" creationId="{61E4DBE9-0D5F-FCD9-C745-13AB35479943}"/>
          </ac:cxnSpMkLst>
        </pc:cxnChg>
        <pc:cxnChg chg="add mod">
          <ac:chgData name="Koksrud Andreas" userId="9d9beba6-c052-407a-8599-c781a677a996" providerId="ADAL" clId="{4CD5824D-6142-4CBD-9878-FA57E0D27293}" dt="2023-12-03T19:02:11.548" v="4563" actId="14100"/>
          <ac:cxnSpMkLst>
            <pc:docMk/>
            <pc:sldMk cId="1498060418" sldId="802"/>
            <ac:cxnSpMk id="14" creationId="{5E62564F-5B58-6220-DA9D-75A1C5F55029}"/>
          </ac:cxnSpMkLst>
        </pc:cxnChg>
      </pc:sldChg>
      <pc:sldChg chg="new del">
        <pc:chgData name="Koksrud Andreas" userId="9d9beba6-c052-407a-8599-c781a677a996" providerId="ADAL" clId="{4CD5824D-6142-4CBD-9878-FA57E0D27293}" dt="2023-11-24T07:27:32.437" v="2363" actId="47"/>
        <pc:sldMkLst>
          <pc:docMk/>
          <pc:sldMk cId="148774009" sldId="803"/>
        </pc:sldMkLst>
      </pc:sldChg>
      <pc:sldChg chg="modSp add mod">
        <pc:chgData name="Koksrud Andreas" userId="9d9beba6-c052-407a-8599-c781a677a996" providerId="ADAL" clId="{4CD5824D-6142-4CBD-9878-FA57E0D27293}" dt="2023-11-24T07:32:00.081" v="2497" actId="20577"/>
        <pc:sldMkLst>
          <pc:docMk/>
          <pc:sldMk cId="4143839114" sldId="803"/>
        </pc:sldMkLst>
        <pc:spChg chg="mod">
          <ac:chgData name="Koksrud Andreas" userId="9d9beba6-c052-407a-8599-c781a677a996" providerId="ADAL" clId="{4CD5824D-6142-4CBD-9878-FA57E0D27293}" dt="2023-11-24T07:32:00.081" v="2497" actId="20577"/>
          <ac:spMkLst>
            <pc:docMk/>
            <pc:sldMk cId="4143839114" sldId="803"/>
            <ac:spMk id="181" creationId="{00000000-0000-0000-0000-000000000000}"/>
          </ac:spMkLst>
        </pc:spChg>
      </pc:sldChg>
      <pc:sldChg chg="addSp delSp modSp add mod ord">
        <pc:chgData name="Koksrud Andreas" userId="9d9beba6-c052-407a-8599-c781a677a996" providerId="ADAL" clId="{4CD5824D-6142-4CBD-9878-FA57E0D27293}" dt="2023-11-24T09:14:05.112" v="2884" actId="20577"/>
        <pc:sldMkLst>
          <pc:docMk/>
          <pc:sldMk cId="650945980" sldId="804"/>
        </pc:sldMkLst>
        <pc:spChg chg="del">
          <ac:chgData name="Koksrud Andreas" userId="9d9beba6-c052-407a-8599-c781a677a996" providerId="ADAL" clId="{4CD5824D-6142-4CBD-9878-FA57E0D27293}" dt="2023-11-24T09:04:20.581" v="2668" actId="478"/>
          <ac:spMkLst>
            <pc:docMk/>
            <pc:sldMk cId="650945980" sldId="804"/>
            <ac:spMk id="2" creationId="{E5D5B057-1D39-AC88-396C-0D888288A2E9}"/>
          </ac:spMkLst>
        </pc:spChg>
        <pc:spChg chg="mod">
          <ac:chgData name="Koksrud Andreas" userId="9d9beba6-c052-407a-8599-c781a677a996" providerId="ADAL" clId="{4CD5824D-6142-4CBD-9878-FA57E0D27293}" dt="2023-11-24T09:14:05.112" v="2884" actId="20577"/>
          <ac:spMkLst>
            <pc:docMk/>
            <pc:sldMk cId="650945980" sldId="804"/>
            <ac:spMk id="181" creationId="{00000000-0000-0000-0000-000000000000}"/>
          </ac:spMkLst>
        </pc:spChg>
        <pc:picChg chg="add del mod">
          <ac:chgData name="Koksrud Andreas" userId="9d9beba6-c052-407a-8599-c781a677a996" providerId="ADAL" clId="{4CD5824D-6142-4CBD-9878-FA57E0D27293}" dt="2023-11-24T09:13:45.705" v="2856" actId="478"/>
          <ac:picMkLst>
            <pc:docMk/>
            <pc:sldMk cId="650945980" sldId="804"/>
            <ac:picMk id="3" creationId="{8591900A-C01C-842D-608E-E78BBF47A16D}"/>
          </ac:picMkLst>
        </pc:picChg>
        <pc:picChg chg="add mod">
          <ac:chgData name="Koksrud Andreas" userId="9d9beba6-c052-407a-8599-c781a677a996" providerId="ADAL" clId="{4CD5824D-6142-4CBD-9878-FA57E0D27293}" dt="2023-11-24T09:13:57.818" v="2860" actId="1076"/>
          <ac:picMkLst>
            <pc:docMk/>
            <pc:sldMk cId="650945980" sldId="804"/>
            <ac:picMk id="4" creationId="{7BDBF2ED-CCAF-D6E8-0EB7-1331549DC910}"/>
          </ac:picMkLst>
        </pc:picChg>
      </pc:sldChg>
      <pc:sldChg chg="addSp delSp modSp add del mod">
        <pc:chgData name="Koksrud Andreas" userId="9d9beba6-c052-407a-8599-c781a677a996" providerId="ADAL" clId="{4CD5824D-6142-4CBD-9878-FA57E0D27293}" dt="2023-11-24T09:10:16.325" v="2823" actId="47"/>
        <pc:sldMkLst>
          <pc:docMk/>
          <pc:sldMk cId="1072299339" sldId="805"/>
        </pc:sldMkLst>
        <pc:spChg chg="add del mod">
          <ac:chgData name="Koksrud Andreas" userId="9d9beba6-c052-407a-8599-c781a677a996" providerId="ADAL" clId="{4CD5824D-6142-4CBD-9878-FA57E0D27293}" dt="2023-11-24T09:08:40.141" v="2782" actId="478"/>
          <ac:spMkLst>
            <pc:docMk/>
            <pc:sldMk cId="1072299339" sldId="805"/>
            <ac:spMk id="3" creationId="{0821E00A-4348-4B7B-3302-9DEBC3D0769A}"/>
          </ac:spMkLst>
        </pc:spChg>
        <pc:spChg chg="mod">
          <ac:chgData name="Koksrud Andreas" userId="9d9beba6-c052-407a-8599-c781a677a996" providerId="ADAL" clId="{4CD5824D-6142-4CBD-9878-FA57E0D27293}" dt="2023-11-24T09:08:44.529" v="2794" actId="27636"/>
          <ac:spMkLst>
            <pc:docMk/>
            <pc:sldMk cId="1072299339" sldId="805"/>
            <ac:spMk id="180" creationId="{00000000-0000-0000-0000-000000000000}"/>
          </ac:spMkLst>
        </pc:spChg>
        <pc:spChg chg="del mod">
          <ac:chgData name="Koksrud Andreas" userId="9d9beba6-c052-407a-8599-c781a677a996" providerId="ADAL" clId="{4CD5824D-6142-4CBD-9878-FA57E0D27293}" dt="2023-11-24T09:08:37.448" v="2781" actId="478"/>
          <ac:spMkLst>
            <pc:docMk/>
            <pc:sldMk cId="1072299339" sldId="805"/>
            <ac:spMk id="181" creationId="{00000000-0000-0000-0000-000000000000}"/>
          </ac:spMkLst>
        </pc:spChg>
      </pc:sldChg>
      <pc:sldChg chg="addSp delSp modSp add mod modShow">
        <pc:chgData name="Koksrud Andreas" userId="9d9beba6-c052-407a-8599-c781a677a996" providerId="ADAL" clId="{4CD5824D-6142-4CBD-9878-FA57E0D27293}" dt="2023-11-24T09:17:40.376" v="3030" actId="729"/>
        <pc:sldMkLst>
          <pc:docMk/>
          <pc:sldMk cId="2074140981" sldId="806"/>
        </pc:sldMkLst>
        <pc:picChg chg="add del mod">
          <ac:chgData name="Koksrud Andreas" userId="9d9beba6-c052-407a-8599-c781a677a996" providerId="ADAL" clId="{4CD5824D-6142-4CBD-9878-FA57E0D27293}" dt="2023-11-24T09:09:40.453" v="2810" actId="21"/>
          <ac:picMkLst>
            <pc:docMk/>
            <pc:sldMk cId="2074140981" sldId="806"/>
            <ac:picMk id="2" creationId="{B2A7B8BA-6EDB-1EAD-2759-91F8D5915765}"/>
          </ac:picMkLst>
        </pc:picChg>
        <pc:picChg chg="add mod">
          <ac:chgData name="Koksrud Andreas" userId="9d9beba6-c052-407a-8599-c781a677a996" providerId="ADAL" clId="{4CD5824D-6142-4CBD-9878-FA57E0D27293}" dt="2023-11-24T09:10:33.444" v="2826" actId="1076"/>
          <ac:picMkLst>
            <pc:docMk/>
            <pc:sldMk cId="2074140981" sldId="806"/>
            <ac:picMk id="3" creationId="{CD99786B-35E2-BD35-7C6B-DEDF65490D16}"/>
          </ac:picMkLst>
        </pc:picChg>
      </pc:sldChg>
      <pc:sldChg chg="addSp delSp modSp add mod modShow">
        <pc:chgData name="Koksrud Andreas" userId="9d9beba6-c052-407a-8599-c781a677a996" providerId="ADAL" clId="{4CD5824D-6142-4CBD-9878-FA57E0D27293}" dt="2023-11-24T09:17:40.376" v="3030" actId="729"/>
        <pc:sldMkLst>
          <pc:docMk/>
          <pc:sldMk cId="3317680748" sldId="807"/>
        </pc:sldMkLst>
        <pc:picChg chg="add del mod">
          <ac:chgData name="Koksrud Andreas" userId="9d9beba6-c052-407a-8599-c781a677a996" providerId="ADAL" clId="{4CD5824D-6142-4CBD-9878-FA57E0D27293}" dt="2023-11-24T09:09:52.251" v="2814" actId="21"/>
          <ac:picMkLst>
            <pc:docMk/>
            <pc:sldMk cId="3317680748" sldId="807"/>
            <ac:picMk id="2" creationId="{6DE557B9-3C0E-290E-C9E8-B065336E15CF}"/>
          </ac:picMkLst>
        </pc:picChg>
        <pc:picChg chg="add mod modCrop">
          <ac:chgData name="Koksrud Andreas" userId="9d9beba6-c052-407a-8599-c781a677a996" providerId="ADAL" clId="{4CD5824D-6142-4CBD-9878-FA57E0D27293}" dt="2023-11-24T09:10:59.502" v="2829" actId="732"/>
          <ac:picMkLst>
            <pc:docMk/>
            <pc:sldMk cId="3317680748" sldId="807"/>
            <ac:picMk id="3" creationId="{EEE812BB-94BC-E75C-8D73-F5325A8C9C2F}"/>
          </ac:picMkLst>
        </pc:picChg>
        <pc:picChg chg="add mod">
          <ac:chgData name="Koksrud Andreas" userId="9d9beba6-c052-407a-8599-c781a677a996" providerId="ADAL" clId="{4CD5824D-6142-4CBD-9878-FA57E0D27293}" dt="2023-11-24T09:11:10.337" v="2832" actId="14100"/>
          <ac:picMkLst>
            <pc:docMk/>
            <pc:sldMk cId="3317680748" sldId="807"/>
            <ac:picMk id="4" creationId="{86EF8AC2-1FA4-0668-002B-4B6191EFAA6F}"/>
          </ac:picMkLst>
        </pc:picChg>
        <pc:picChg chg="add mod">
          <ac:chgData name="Koksrud Andreas" userId="9d9beba6-c052-407a-8599-c781a677a996" providerId="ADAL" clId="{4CD5824D-6142-4CBD-9878-FA57E0D27293}" dt="2023-11-24T09:11:17.971" v="2834" actId="1076"/>
          <ac:picMkLst>
            <pc:docMk/>
            <pc:sldMk cId="3317680748" sldId="807"/>
            <ac:picMk id="5" creationId="{22851178-26BC-966B-A70F-54643C45EFE4}"/>
          </ac:picMkLst>
        </pc:picChg>
      </pc:sldChg>
      <pc:sldChg chg="addSp modSp add mod modShow">
        <pc:chgData name="Koksrud Andreas" userId="9d9beba6-c052-407a-8599-c781a677a996" providerId="ADAL" clId="{4CD5824D-6142-4CBD-9878-FA57E0D27293}" dt="2023-11-24T09:17:40.376" v="3030" actId="729"/>
        <pc:sldMkLst>
          <pc:docMk/>
          <pc:sldMk cId="197388729" sldId="808"/>
        </pc:sldMkLst>
        <pc:picChg chg="add mod">
          <ac:chgData name="Koksrud Andreas" userId="9d9beba6-c052-407a-8599-c781a677a996" providerId="ADAL" clId="{4CD5824D-6142-4CBD-9878-FA57E0D27293}" dt="2023-11-24T09:11:27.962" v="2837" actId="14100"/>
          <ac:picMkLst>
            <pc:docMk/>
            <pc:sldMk cId="197388729" sldId="808"/>
            <ac:picMk id="2" creationId="{D26656AB-9CD0-5850-14CB-D5DF02DE4DBC}"/>
          </ac:picMkLst>
        </pc:picChg>
        <pc:picChg chg="add mod">
          <ac:chgData name="Koksrud Andreas" userId="9d9beba6-c052-407a-8599-c781a677a996" providerId="ADAL" clId="{4CD5824D-6142-4CBD-9878-FA57E0D27293}" dt="2023-11-24T09:11:33.952" v="2839" actId="1076"/>
          <ac:picMkLst>
            <pc:docMk/>
            <pc:sldMk cId="197388729" sldId="808"/>
            <ac:picMk id="3" creationId="{8F622C48-5133-7EAD-E05C-F85C1A5CF491}"/>
          </ac:picMkLst>
        </pc:picChg>
      </pc:sldChg>
      <pc:sldChg chg="add del">
        <pc:chgData name="Koksrud Andreas" userId="9d9beba6-c052-407a-8599-c781a677a996" providerId="ADAL" clId="{4CD5824D-6142-4CBD-9878-FA57E0D27293}" dt="2023-11-24T09:12:02.157" v="2841" actId="47"/>
        <pc:sldMkLst>
          <pc:docMk/>
          <pc:sldMk cId="1862349036" sldId="809"/>
        </pc:sldMkLst>
      </pc:sldChg>
      <pc:sldChg chg="add del">
        <pc:chgData name="Koksrud Andreas" userId="9d9beba6-c052-407a-8599-c781a677a996" providerId="ADAL" clId="{4CD5824D-6142-4CBD-9878-FA57E0D27293}" dt="2023-11-24T09:12:02.939" v="2842" actId="47"/>
        <pc:sldMkLst>
          <pc:docMk/>
          <pc:sldMk cId="3428239464" sldId="810"/>
        </pc:sldMkLst>
      </pc:sldChg>
      <pc:sldChg chg="add del">
        <pc:chgData name="Koksrud Andreas" userId="9d9beba6-c052-407a-8599-c781a677a996" providerId="ADAL" clId="{4CD5824D-6142-4CBD-9878-FA57E0D27293}" dt="2023-11-24T09:12:03.476" v="2843" actId="47"/>
        <pc:sldMkLst>
          <pc:docMk/>
          <pc:sldMk cId="1506935442" sldId="811"/>
        </pc:sldMkLst>
      </pc:sldChg>
      <pc:sldChg chg="add del">
        <pc:chgData name="Koksrud Andreas" userId="9d9beba6-c052-407a-8599-c781a677a996" providerId="ADAL" clId="{4CD5824D-6142-4CBD-9878-FA57E0D27293}" dt="2023-11-24T09:12:04.112" v="2844" actId="47"/>
        <pc:sldMkLst>
          <pc:docMk/>
          <pc:sldMk cId="3566603215" sldId="812"/>
        </pc:sldMkLst>
      </pc:sldChg>
      <pc:sldChg chg="addSp modSp add mod modShow">
        <pc:chgData name="Koksrud Andreas" userId="9d9beba6-c052-407a-8599-c781a677a996" providerId="ADAL" clId="{4CD5824D-6142-4CBD-9878-FA57E0D27293}" dt="2023-11-24T09:17:40.376" v="3030" actId="729"/>
        <pc:sldMkLst>
          <pc:docMk/>
          <pc:sldMk cId="1335476865" sldId="813"/>
        </pc:sldMkLst>
        <pc:picChg chg="add mod">
          <ac:chgData name="Koksrud Andreas" userId="9d9beba6-c052-407a-8599-c781a677a996" providerId="ADAL" clId="{4CD5824D-6142-4CBD-9878-FA57E0D27293}" dt="2023-11-24T09:09:06.952" v="2805" actId="1076"/>
          <ac:picMkLst>
            <pc:docMk/>
            <pc:sldMk cId="1335476865" sldId="813"/>
            <ac:picMk id="2" creationId="{6CD256E6-0C7C-B0D1-6B31-4088F40945C9}"/>
          </ac:picMkLst>
        </pc:picChg>
        <pc:picChg chg="add mod">
          <ac:chgData name="Koksrud Andreas" userId="9d9beba6-c052-407a-8599-c781a677a996" providerId="ADAL" clId="{4CD5824D-6142-4CBD-9878-FA57E0D27293}" dt="2023-11-24T09:10:04.952" v="2821" actId="1076"/>
          <ac:picMkLst>
            <pc:docMk/>
            <pc:sldMk cId="1335476865" sldId="813"/>
            <ac:picMk id="3" creationId="{057FBA2D-1860-A8AE-0DCA-82E5436510A4}"/>
          </ac:picMkLst>
        </pc:picChg>
        <pc:picChg chg="add mod">
          <ac:chgData name="Koksrud Andreas" userId="9d9beba6-c052-407a-8599-c781a677a996" providerId="ADAL" clId="{4CD5824D-6142-4CBD-9878-FA57E0D27293}" dt="2023-11-24T09:10:09.433" v="2822" actId="1076"/>
          <ac:picMkLst>
            <pc:docMk/>
            <pc:sldMk cId="1335476865" sldId="813"/>
            <ac:picMk id="4" creationId="{E555DF2B-41C1-BC0F-6C1E-AE908DB7088B}"/>
          </ac:picMkLst>
        </pc:picChg>
      </pc:sldChg>
      <pc:sldChg chg="addSp modSp add mod ord">
        <pc:chgData name="Koksrud Andreas" userId="9d9beba6-c052-407a-8599-c781a677a996" providerId="ADAL" clId="{4CD5824D-6142-4CBD-9878-FA57E0D27293}" dt="2023-11-24T09:13:43.802" v="2855"/>
        <pc:sldMkLst>
          <pc:docMk/>
          <pc:sldMk cId="248187023" sldId="814"/>
        </pc:sldMkLst>
        <pc:picChg chg="add mod">
          <ac:chgData name="Koksrud Andreas" userId="9d9beba6-c052-407a-8599-c781a677a996" providerId="ADAL" clId="{4CD5824D-6142-4CBD-9878-FA57E0D27293}" dt="2023-11-24T09:13:33.010" v="2853" actId="1076"/>
          <ac:picMkLst>
            <pc:docMk/>
            <pc:sldMk cId="248187023" sldId="814"/>
            <ac:picMk id="2" creationId="{66051F14-18A2-8F70-6F0E-9F3E51887040}"/>
          </ac:picMkLst>
        </pc:picChg>
      </pc:sldChg>
      <pc:sldChg chg="add del">
        <pc:chgData name="Koksrud Andreas" userId="9d9beba6-c052-407a-8599-c781a677a996" providerId="ADAL" clId="{4CD5824D-6142-4CBD-9878-FA57E0D27293}" dt="2023-11-24T09:12:28.179" v="2846" actId="47"/>
        <pc:sldMkLst>
          <pc:docMk/>
          <pc:sldMk cId="1531917809" sldId="814"/>
        </pc:sldMkLst>
      </pc:sldChg>
      <pc:sldChg chg="addSp delSp modSp add mod">
        <pc:chgData name="Koksrud Andreas" userId="9d9beba6-c052-407a-8599-c781a677a996" providerId="ADAL" clId="{4CD5824D-6142-4CBD-9878-FA57E0D27293}" dt="2023-11-24T09:14:31.649" v="2907" actId="20577"/>
        <pc:sldMkLst>
          <pc:docMk/>
          <pc:sldMk cId="2920848915" sldId="815"/>
        </pc:sldMkLst>
        <pc:spChg chg="mod">
          <ac:chgData name="Koksrud Andreas" userId="9d9beba6-c052-407a-8599-c781a677a996" providerId="ADAL" clId="{4CD5824D-6142-4CBD-9878-FA57E0D27293}" dt="2023-11-24T09:14:31.649" v="2907" actId="20577"/>
          <ac:spMkLst>
            <pc:docMk/>
            <pc:sldMk cId="2920848915" sldId="815"/>
            <ac:spMk id="181" creationId="{00000000-0000-0000-0000-000000000000}"/>
          </ac:spMkLst>
        </pc:spChg>
        <pc:picChg chg="add mod">
          <ac:chgData name="Koksrud Andreas" userId="9d9beba6-c052-407a-8599-c781a677a996" providerId="ADAL" clId="{4CD5824D-6142-4CBD-9878-FA57E0D27293}" dt="2023-11-24T09:14:27.046" v="2888" actId="1076"/>
          <ac:picMkLst>
            <pc:docMk/>
            <pc:sldMk cId="2920848915" sldId="815"/>
            <ac:picMk id="2" creationId="{AF392963-2BAA-7151-1D1B-C320A68F69AE}"/>
          </ac:picMkLst>
        </pc:picChg>
        <pc:picChg chg="del">
          <ac:chgData name="Koksrud Andreas" userId="9d9beba6-c052-407a-8599-c781a677a996" providerId="ADAL" clId="{4CD5824D-6142-4CBD-9878-FA57E0D27293}" dt="2023-11-24T09:14:24.123" v="2886" actId="478"/>
          <ac:picMkLst>
            <pc:docMk/>
            <pc:sldMk cId="2920848915" sldId="815"/>
            <ac:picMk id="4" creationId="{7BDBF2ED-CCAF-D6E8-0EB7-1331549DC910}"/>
          </ac:picMkLst>
        </pc:picChg>
      </pc:sldChg>
      <pc:sldChg chg="addSp delSp modSp add mod">
        <pc:chgData name="Koksrud Andreas" userId="9d9beba6-c052-407a-8599-c781a677a996" providerId="ADAL" clId="{4CD5824D-6142-4CBD-9878-FA57E0D27293}" dt="2023-11-24T09:19:48.810" v="3035" actId="1076"/>
        <pc:sldMkLst>
          <pc:docMk/>
          <pc:sldMk cId="2825686732" sldId="816"/>
        </pc:sldMkLst>
        <pc:picChg chg="del">
          <ac:chgData name="Koksrud Andreas" userId="9d9beba6-c052-407a-8599-c781a677a996" providerId="ADAL" clId="{4CD5824D-6142-4CBD-9878-FA57E0D27293}" dt="2023-11-24T09:14:41.664" v="2909" actId="478"/>
          <ac:picMkLst>
            <pc:docMk/>
            <pc:sldMk cId="2825686732" sldId="816"/>
            <ac:picMk id="2" creationId="{AF392963-2BAA-7151-1D1B-C320A68F69AE}"/>
          </ac:picMkLst>
        </pc:picChg>
        <pc:picChg chg="add mod">
          <ac:chgData name="Koksrud Andreas" userId="9d9beba6-c052-407a-8599-c781a677a996" providerId="ADAL" clId="{4CD5824D-6142-4CBD-9878-FA57E0D27293}" dt="2023-11-24T09:14:59.842" v="2912" actId="14100"/>
          <ac:picMkLst>
            <pc:docMk/>
            <pc:sldMk cId="2825686732" sldId="816"/>
            <ac:picMk id="3" creationId="{B188053A-A28A-3758-EB40-AB4F962E28BB}"/>
          </ac:picMkLst>
        </pc:picChg>
        <pc:picChg chg="add mod">
          <ac:chgData name="Koksrud Andreas" userId="9d9beba6-c052-407a-8599-c781a677a996" providerId="ADAL" clId="{4CD5824D-6142-4CBD-9878-FA57E0D27293}" dt="2023-11-24T09:19:48.810" v="3035" actId="1076"/>
          <ac:picMkLst>
            <pc:docMk/>
            <pc:sldMk cId="2825686732" sldId="816"/>
            <ac:picMk id="4" creationId="{8B0E1339-631C-8C23-C5C7-8EE5CCB129FE}"/>
          </ac:picMkLst>
        </pc:picChg>
        <pc:picChg chg="add del mod">
          <ac:chgData name="Koksrud Andreas" userId="9d9beba6-c052-407a-8599-c781a677a996" providerId="ADAL" clId="{4CD5824D-6142-4CBD-9878-FA57E0D27293}" dt="2023-11-24T09:19:20.792" v="3031" actId="478"/>
          <ac:picMkLst>
            <pc:docMk/>
            <pc:sldMk cId="2825686732" sldId="816"/>
            <ac:picMk id="5" creationId="{B119E735-F827-3D77-EBD5-5FFE79D3C41A}"/>
          </ac:picMkLst>
        </pc:picChg>
        <pc:picChg chg="add mod">
          <ac:chgData name="Koksrud Andreas" userId="9d9beba6-c052-407a-8599-c781a677a996" providerId="ADAL" clId="{4CD5824D-6142-4CBD-9878-FA57E0D27293}" dt="2023-11-24T09:19:45.136" v="3034" actId="1076"/>
          <ac:picMkLst>
            <pc:docMk/>
            <pc:sldMk cId="2825686732" sldId="816"/>
            <ac:picMk id="7" creationId="{051CF5BC-80FB-B094-F159-E8B283C64781}"/>
          </ac:picMkLst>
        </pc:picChg>
      </pc:sldChg>
      <pc:sldChg chg="addSp delSp modSp add mod">
        <pc:chgData name="Koksrud Andreas" userId="9d9beba6-c052-407a-8599-c781a677a996" providerId="ADAL" clId="{4CD5824D-6142-4CBD-9878-FA57E0D27293}" dt="2023-11-24T09:22:32.873" v="3053" actId="20577"/>
        <pc:sldMkLst>
          <pc:docMk/>
          <pc:sldMk cId="3012956304" sldId="817"/>
        </pc:sldMkLst>
        <pc:spChg chg="mod">
          <ac:chgData name="Koksrud Andreas" userId="9d9beba6-c052-407a-8599-c781a677a996" providerId="ADAL" clId="{4CD5824D-6142-4CBD-9878-FA57E0D27293}" dt="2023-11-24T09:22:32.873" v="3053" actId="20577"/>
          <ac:spMkLst>
            <pc:docMk/>
            <pc:sldMk cId="3012956304" sldId="817"/>
            <ac:spMk id="181" creationId="{00000000-0000-0000-0000-000000000000}"/>
          </ac:spMkLst>
        </pc:spChg>
        <pc:picChg chg="add mod">
          <ac:chgData name="Koksrud Andreas" userId="9d9beba6-c052-407a-8599-c781a677a996" providerId="ADAL" clId="{4CD5824D-6142-4CBD-9878-FA57E0D27293}" dt="2023-11-24T09:16:12.449" v="2977" actId="1076"/>
          <ac:picMkLst>
            <pc:docMk/>
            <pc:sldMk cId="3012956304" sldId="817"/>
            <ac:picMk id="2" creationId="{611EED0C-E5EC-E8CE-9054-037D7154499A}"/>
          </ac:picMkLst>
        </pc:picChg>
        <pc:picChg chg="del">
          <ac:chgData name="Koksrud Andreas" userId="9d9beba6-c052-407a-8599-c781a677a996" providerId="ADAL" clId="{4CD5824D-6142-4CBD-9878-FA57E0D27293}" dt="2023-11-24T09:16:05.272" v="2975" actId="478"/>
          <ac:picMkLst>
            <pc:docMk/>
            <pc:sldMk cId="3012956304" sldId="817"/>
            <ac:picMk id="3" creationId="{B188053A-A28A-3758-EB40-AB4F962E28BB}"/>
          </ac:picMkLst>
        </pc:picChg>
        <pc:picChg chg="del">
          <ac:chgData name="Koksrud Andreas" userId="9d9beba6-c052-407a-8599-c781a677a996" providerId="ADAL" clId="{4CD5824D-6142-4CBD-9878-FA57E0D27293}" dt="2023-11-24T09:16:04.696" v="2974" actId="478"/>
          <ac:picMkLst>
            <pc:docMk/>
            <pc:sldMk cId="3012956304" sldId="817"/>
            <ac:picMk id="4" creationId="{8B0E1339-631C-8C23-C5C7-8EE5CCB129FE}"/>
          </ac:picMkLst>
        </pc:picChg>
        <pc:picChg chg="del">
          <ac:chgData name="Koksrud Andreas" userId="9d9beba6-c052-407a-8599-c781a677a996" providerId="ADAL" clId="{4CD5824D-6142-4CBD-9878-FA57E0D27293}" dt="2023-11-24T09:16:04.080" v="2973" actId="478"/>
          <ac:picMkLst>
            <pc:docMk/>
            <pc:sldMk cId="3012956304" sldId="817"/>
            <ac:picMk id="5" creationId="{B119E735-F827-3D77-EBD5-5FFE79D3C41A}"/>
          </ac:picMkLst>
        </pc:picChg>
        <pc:picChg chg="add mod">
          <ac:chgData name="Koksrud Andreas" userId="9d9beba6-c052-407a-8599-c781a677a996" providerId="ADAL" clId="{4CD5824D-6142-4CBD-9878-FA57E0D27293}" dt="2023-11-24T09:16:25.665" v="2993" actId="1076"/>
          <ac:picMkLst>
            <pc:docMk/>
            <pc:sldMk cId="3012956304" sldId="817"/>
            <ac:picMk id="6" creationId="{7B428BF2-67D8-C9D7-A08F-88F8D960A4CB}"/>
          </ac:picMkLst>
        </pc:picChg>
      </pc:sldChg>
      <pc:sldChg chg="addSp delSp modSp add mod">
        <pc:chgData name="Koksrud Andreas" userId="9d9beba6-c052-407a-8599-c781a677a996" providerId="ADAL" clId="{4CD5824D-6142-4CBD-9878-FA57E0D27293}" dt="2023-11-24T09:16:56.333" v="3024" actId="14100"/>
        <pc:sldMkLst>
          <pc:docMk/>
          <pc:sldMk cId="958133851" sldId="818"/>
        </pc:sldMkLst>
        <pc:spChg chg="mod">
          <ac:chgData name="Koksrud Andreas" userId="9d9beba6-c052-407a-8599-c781a677a996" providerId="ADAL" clId="{4CD5824D-6142-4CBD-9878-FA57E0D27293}" dt="2023-11-24T09:16:40.592" v="3019" actId="20577"/>
          <ac:spMkLst>
            <pc:docMk/>
            <pc:sldMk cId="958133851" sldId="818"/>
            <ac:spMk id="181" creationId="{00000000-0000-0000-0000-000000000000}"/>
          </ac:spMkLst>
        </pc:spChg>
        <pc:picChg chg="del">
          <ac:chgData name="Koksrud Andreas" userId="9d9beba6-c052-407a-8599-c781a677a996" providerId="ADAL" clId="{4CD5824D-6142-4CBD-9878-FA57E0D27293}" dt="2023-11-24T09:16:50.416" v="3020" actId="478"/>
          <ac:picMkLst>
            <pc:docMk/>
            <pc:sldMk cId="958133851" sldId="818"/>
            <ac:picMk id="2" creationId="{611EED0C-E5EC-E8CE-9054-037D7154499A}"/>
          </ac:picMkLst>
        </pc:picChg>
        <pc:picChg chg="add mod">
          <ac:chgData name="Koksrud Andreas" userId="9d9beba6-c052-407a-8599-c781a677a996" providerId="ADAL" clId="{4CD5824D-6142-4CBD-9878-FA57E0D27293}" dt="2023-11-24T09:16:56.333" v="3024" actId="14100"/>
          <ac:picMkLst>
            <pc:docMk/>
            <pc:sldMk cId="958133851" sldId="818"/>
            <ac:picMk id="3" creationId="{59AC5083-7CE3-8A70-4A62-A13DE4A0B552}"/>
          </ac:picMkLst>
        </pc:picChg>
        <pc:picChg chg="del">
          <ac:chgData name="Koksrud Andreas" userId="9d9beba6-c052-407a-8599-c781a677a996" providerId="ADAL" clId="{4CD5824D-6142-4CBD-9878-FA57E0D27293}" dt="2023-11-24T09:16:51.089" v="3021" actId="478"/>
          <ac:picMkLst>
            <pc:docMk/>
            <pc:sldMk cId="958133851" sldId="818"/>
            <ac:picMk id="6" creationId="{7B428BF2-67D8-C9D7-A08F-88F8D960A4CB}"/>
          </ac:picMkLst>
        </pc:picChg>
      </pc:sldChg>
      <pc:sldChg chg="addSp delSp modSp add mod">
        <pc:chgData name="Koksrud Andreas" userId="9d9beba6-c052-407a-8599-c781a677a996" providerId="ADAL" clId="{4CD5824D-6142-4CBD-9878-FA57E0D27293}" dt="2023-11-24T09:17:14.726" v="3029" actId="14100"/>
        <pc:sldMkLst>
          <pc:docMk/>
          <pc:sldMk cId="3123567294" sldId="819"/>
        </pc:sldMkLst>
        <pc:picChg chg="add mod">
          <ac:chgData name="Koksrud Andreas" userId="9d9beba6-c052-407a-8599-c781a677a996" providerId="ADAL" clId="{4CD5824D-6142-4CBD-9878-FA57E0D27293}" dt="2023-11-24T09:17:14.726" v="3029" actId="14100"/>
          <ac:picMkLst>
            <pc:docMk/>
            <pc:sldMk cId="3123567294" sldId="819"/>
            <ac:picMk id="2" creationId="{31153E13-ACAC-897E-FC2F-BA0E107CD60D}"/>
          </ac:picMkLst>
        </pc:picChg>
        <pc:picChg chg="del">
          <ac:chgData name="Koksrud Andreas" userId="9d9beba6-c052-407a-8599-c781a677a996" providerId="ADAL" clId="{4CD5824D-6142-4CBD-9878-FA57E0D27293}" dt="2023-11-24T09:17:07.751" v="3026" actId="478"/>
          <ac:picMkLst>
            <pc:docMk/>
            <pc:sldMk cId="3123567294" sldId="819"/>
            <ac:picMk id="3" creationId="{59AC5083-7CE3-8A70-4A62-A13DE4A0B552}"/>
          </ac:picMkLst>
        </pc:picChg>
      </pc:sldChg>
      <pc:sldChg chg="addSp modSp add mod">
        <pc:chgData name="Koksrud Andreas" userId="9d9beba6-c052-407a-8599-c781a677a996" providerId="ADAL" clId="{4CD5824D-6142-4CBD-9878-FA57E0D27293}" dt="2023-12-03T18:52:50.391" v="4410" actId="20577"/>
        <pc:sldMkLst>
          <pc:docMk/>
          <pc:sldMk cId="2810975730" sldId="820"/>
        </pc:sldMkLst>
        <pc:spChg chg="add mod">
          <ac:chgData name="Koksrud Andreas" userId="9d9beba6-c052-407a-8599-c781a677a996" providerId="ADAL" clId="{4CD5824D-6142-4CBD-9878-FA57E0D27293}" dt="2023-12-03T18:52:50.391" v="4410" actId="20577"/>
          <ac:spMkLst>
            <pc:docMk/>
            <pc:sldMk cId="2810975730" sldId="820"/>
            <ac:spMk id="4" creationId="{7B2B45CA-95BD-2704-AA56-E8D306F64CB7}"/>
          </ac:spMkLst>
        </pc:spChg>
        <pc:spChg chg="mod">
          <ac:chgData name="Koksrud Andreas" userId="9d9beba6-c052-407a-8599-c781a677a996" providerId="ADAL" clId="{4CD5824D-6142-4CBD-9878-FA57E0D27293}" dt="2023-11-30T13:45:11.853" v="3528" actId="1076"/>
          <ac:spMkLst>
            <pc:docMk/>
            <pc:sldMk cId="2810975730" sldId="820"/>
            <ac:spMk id="180" creationId="{00000000-0000-0000-0000-000000000000}"/>
          </ac:spMkLst>
        </pc:spChg>
        <pc:spChg chg="mod">
          <ac:chgData name="Koksrud Andreas" userId="9d9beba6-c052-407a-8599-c781a677a996" providerId="ADAL" clId="{4CD5824D-6142-4CBD-9878-FA57E0D27293}" dt="2023-11-30T13:45:09.504" v="3526" actId="14100"/>
          <ac:spMkLst>
            <pc:docMk/>
            <pc:sldMk cId="2810975730" sldId="820"/>
            <ac:spMk id="181" creationId="{00000000-0000-0000-0000-000000000000}"/>
          </ac:spMkLst>
        </pc:spChg>
        <pc:picChg chg="add mod">
          <ac:chgData name="Koksrud Andreas" userId="9d9beba6-c052-407a-8599-c781a677a996" providerId="ADAL" clId="{4CD5824D-6142-4CBD-9878-FA57E0D27293}" dt="2023-11-30T13:45:05.097" v="3525" actId="1076"/>
          <ac:picMkLst>
            <pc:docMk/>
            <pc:sldMk cId="2810975730" sldId="820"/>
            <ac:picMk id="3" creationId="{A751BBF2-A833-7F1A-86CA-CA489927A5D4}"/>
          </ac:picMkLst>
        </pc:picChg>
      </pc:sldChg>
      <pc:sldChg chg="addSp modSp add mod">
        <pc:chgData name="Koksrud Andreas" userId="9d9beba6-c052-407a-8599-c781a677a996" providerId="ADAL" clId="{4CD5824D-6142-4CBD-9878-FA57E0D27293}" dt="2023-12-03T18:51:39.770" v="4397" actId="732"/>
        <pc:sldMkLst>
          <pc:docMk/>
          <pc:sldMk cId="484354108" sldId="821"/>
        </pc:sldMkLst>
        <pc:spChg chg="mod">
          <ac:chgData name="Koksrud Andreas" userId="9d9beba6-c052-407a-8599-c781a677a996" providerId="ADAL" clId="{4CD5824D-6142-4CBD-9878-FA57E0D27293}" dt="2023-11-24T11:45:18.428" v="3156" actId="20577"/>
          <ac:spMkLst>
            <pc:docMk/>
            <pc:sldMk cId="484354108" sldId="821"/>
            <ac:spMk id="180" creationId="{00000000-0000-0000-0000-000000000000}"/>
          </ac:spMkLst>
        </pc:spChg>
        <pc:spChg chg="mod">
          <ac:chgData name="Koksrud Andreas" userId="9d9beba6-c052-407a-8599-c781a677a996" providerId="ADAL" clId="{4CD5824D-6142-4CBD-9878-FA57E0D27293}" dt="2023-12-03T18:51:00.718" v="4391" actId="20577"/>
          <ac:spMkLst>
            <pc:docMk/>
            <pc:sldMk cId="484354108" sldId="821"/>
            <ac:spMk id="181" creationId="{00000000-0000-0000-0000-000000000000}"/>
          </ac:spMkLst>
        </pc:spChg>
        <pc:picChg chg="add mod">
          <ac:chgData name="Koksrud Andreas" userId="9d9beba6-c052-407a-8599-c781a677a996" providerId="ADAL" clId="{4CD5824D-6142-4CBD-9878-FA57E0D27293}" dt="2023-11-30T13:42:16.644" v="3462" actId="1076"/>
          <ac:picMkLst>
            <pc:docMk/>
            <pc:sldMk cId="484354108" sldId="821"/>
            <ac:picMk id="3" creationId="{65CA40AD-A0EA-FAE1-67D8-CB199C811159}"/>
          </ac:picMkLst>
        </pc:picChg>
        <pc:picChg chg="add mod">
          <ac:chgData name="Koksrud Andreas" userId="9d9beba6-c052-407a-8599-c781a677a996" providerId="ADAL" clId="{4CD5824D-6142-4CBD-9878-FA57E0D27293}" dt="2023-12-03T18:51:18.414" v="4393" actId="1076"/>
          <ac:picMkLst>
            <pc:docMk/>
            <pc:sldMk cId="484354108" sldId="821"/>
            <ac:picMk id="4" creationId="{8A3296C5-83CF-2328-0C34-139B65BDBFB0}"/>
          </ac:picMkLst>
        </pc:picChg>
        <pc:picChg chg="add mod modCrop">
          <ac:chgData name="Koksrud Andreas" userId="9d9beba6-c052-407a-8599-c781a677a996" providerId="ADAL" clId="{4CD5824D-6142-4CBD-9878-FA57E0D27293}" dt="2023-12-03T18:51:39.770" v="4397" actId="732"/>
          <ac:picMkLst>
            <pc:docMk/>
            <pc:sldMk cId="484354108" sldId="821"/>
            <ac:picMk id="6" creationId="{4E36782A-BF54-EB5F-71F3-58F8972C8AE6}"/>
          </ac:picMkLst>
        </pc:picChg>
      </pc:sldChg>
      <pc:sldChg chg="addSp modSp add mod">
        <pc:chgData name="Koksrud Andreas" userId="9d9beba6-c052-407a-8599-c781a677a996" providerId="ADAL" clId="{4CD5824D-6142-4CBD-9878-FA57E0D27293}" dt="2023-11-30T13:53:00.978" v="3724" actId="14100"/>
        <pc:sldMkLst>
          <pc:docMk/>
          <pc:sldMk cId="1297674930" sldId="822"/>
        </pc:sldMkLst>
        <pc:spChg chg="add mod">
          <ac:chgData name="Koksrud Andreas" userId="9d9beba6-c052-407a-8599-c781a677a996" providerId="ADAL" clId="{4CD5824D-6142-4CBD-9878-FA57E0D27293}" dt="2023-11-30T13:48:30.274" v="3605" actId="20577"/>
          <ac:spMkLst>
            <pc:docMk/>
            <pc:sldMk cId="1297674930" sldId="822"/>
            <ac:spMk id="2" creationId="{021CA0C3-964C-194D-8088-55B4655C41AF}"/>
          </ac:spMkLst>
        </pc:spChg>
        <pc:spChg chg="mod">
          <ac:chgData name="Koksrud Andreas" userId="9d9beba6-c052-407a-8599-c781a677a996" providerId="ADAL" clId="{4CD5824D-6142-4CBD-9878-FA57E0D27293}" dt="2023-11-24T11:45:41.963" v="3177" actId="20577"/>
          <ac:spMkLst>
            <pc:docMk/>
            <pc:sldMk cId="1297674930" sldId="822"/>
            <ac:spMk id="180" creationId="{00000000-0000-0000-0000-000000000000}"/>
          </ac:spMkLst>
        </pc:spChg>
        <pc:spChg chg="mod">
          <ac:chgData name="Koksrud Andreas" userId="9d9beba6-c052-407a-8599-c781a677a996" providerId="ADAL" clId="{4CD5824D-6142-4CBD-9878-FA57E0D27293}" dt="2023-11-24T11:45:37.766" v="3169" actId="6549"/>
          <ac:spMkLst>
            <pc:docMk/>
            <pc:sldMk cId="1297674930" sldId="822"/>
            <ac:spMk id="181" creationId="{00000000-0000-0000-0000-000000000000}"/>
          </ac:spMkLst>
        </pc:spChg>
        <pc:picChg chg="add mod">
          <ac:chgData name="Koksrud Andreas" userId="9d9beba6-c052-407a-8599-c781a677a996" providerId="ADAL" clId="{4CD5824D-6142-4CBD-9878-FA57E0D27293}" dt="2023-11-30T13:53:00.978" v="3724" actId="14100"/>
          <ac:picMkLst>
            <pc:docMk/>
            <pc:sldMk cId="1297674930" sldId="822"/>
            <ac:picMk id="4" creationId="{EAB86436-246B-5693-017D-2894A492E0DD}"/>
          </ac:picMkLst>
        </pc:picChg>
      </pc:sldChg>
      <pc:sldChg chg="addSp delSp modSp add mod">
        <pc:chgData name="Koksrud Andreas" userId="9d9beba6-c052-407a-8599-c781a677a996" providerId="ADAL" clId="{4CD5824D-6142-4CBD-9878-FA57E0D27293}" dt="2023-12-01T11:32:03.550" v="4162" actId="20577"/>
        <pc:sldMkLst>
          <pc:docMk/>
          <pc:sldMk cId="3521479601" sldId="823"/>
        </pc:sldMkLst>
        <pc:spChg chg="add del mod">
          <ac:chgData name="Koksrud Andreas" userId="9d9beba6-c052-407a-8599-c781a677a996" providerId="ADAL" clId="{4CD5824D-6142-4CBD-9878-FA57E0D27293}" dt="2023-12-01T11:26:26.236" v="4016" actId="478"/>
          <ac:spMkLst>
            <pc:docMk/>
            <pc:sldMk cId="3521479601" sldId="823"/>
            <ac:spMk id="2" creationId="{5EE37D2C-AA92-2006-6627-1E6BDA830499}"/>
          </ac:spMkLst>
        </pc:spChg>
        <pc:spChg chg="add del mod">
          <ac:chgData name="Koksrud Andreas" userId="9d9beba6-c052-407a-8599-c781a677a996" providerId="ADAL" clId="{4CD5824D-6142-4CBD-9878-FA57E0D27293}" dt="2023-12-01T11:26:28.539" v="4017" actId="478"/>
          <ac:spMkLst>
            <pc:docMk/>
            <pc:sldMk cId="3521479601" sldId="823"/>
            <ac:spMk id="3" creationId="{6E26EF15-1CB2-EDFE-BDF1-5E33B74D41B5}"/>
          </ac:spMkLst>
        </pc:spChg>
        <pc:spChg chg="add del mod">
          <ac:chgData name="Koksrud Andreas" userId="9d9beba6-c052-407a-8599-c781a677a996" providerId="ADAL" clId="{4CD5824D-6142-4CBD-9878-FA57E0D27293}" dt="2023-12-01T11:28:14.591" v="4021" actId="478"/>
          <ac:spMkLst>
            <pc:docMk/>
            <pc:sldMk cId="3521479601" sldId="823"/>
            <ac:spMk id="4" creationId="{0D9715D0-38F7-99B1-CFAD-80020FD4D4EA}"/>
          </ac:spMkLst>
        </pc:spChg>
        <pc:spChg chg="add mod">
          <ac:chgData name="Koksrud Andreas" userId="9d9beba6-c052-407a-8599-c781a677a996" providerId="ADAL" clId="{4CD5824D-6142-4CBD-9878-FA57E0D27293}" dt="2023-12-01T11:32:03.550" v="4162" actId="20577"/>
          <ac:spMkLst>
            <pc:docMk/>
            <pc:sldMk cId="3521479601" sldId="823"/>
            <ac:spMk id="6" creationId="{5485B025-69EF-89C1-6489-284E2DAA1110}"/>
          </ac:spMkLst>
        </pc:spChg>
        <pc:spChg chg="add del">
          <ac:chgData name="Koksrud Andreas" userId="9d9beba6-c052-407a-8599-c781a677a996" providerId="ADAL" clId="{4CD5824D-6142-4CBD-9878-FA57E0D27293}" dt="2023-12-01T11:28:26.429" v="4026" actId="478"/>
          <ac:spMkLst>
            <pc:docMk/>
            <pc:sldMk cId="3521479601" sldId="823"/>
            <ac:spMk id="8" creationId="{E2E01979-A0CB-BF65-481C-21DDEF2B2975}"/>
          </ac:spMkLst>
        </pc:spChg>
        <pc:spChg chg="add mod">
          <ac:chgData name="Koksrud Andreas" userId="9d9beba6-c052-407a-8599-c781a677a996" providerId="ADAL" clId="{4CD5824D-6142-4CBD-9878-FA57E0D27293}" dt="2023-12-01T11:30:18.021" v="4105" actId="1076"/>
          <ac:spMkLst>
            <pc:docMk/>
            <pc:sldMk cId="3521479601" sldId="823"/>
            <ac:spMk id="9" creationId="{D17A5E2E-F765-DF16-1A1D-79770F561C65}"/>
          </ac:spMkLst>
        </pc:spChg>
        <pc:spChg chg="add mod">
          <ac:chgData name="Koksrud Andreas" userId="9d9beba6-c052-407a-8599-c781a677a996" providerId="ADAL" clId="{4CD5824D-6142-4CBD-9878-FA57E0D27293}" dt="2023-12-01T11:30:38.159" v="4110"/>
          <ac:spMkLst>
            <pc:docMk/>
            <pc:sldMk cId="3521479601" sldId="823"/>
            <ac:spMk id="10" creationId="{1F1F182D-F5E4-BCD4-A522-F4CB1BE01B01}"/>
          </ac:spMkLst>
        </pc:spChg>
        <pc:spChg chg="add mod">
          <ac:chgData name="Koksrud Andreas" userId="9d9beba6-c052-407a-8599-c781a677a996" providerId="ADAL" clId="{4CD5824D-6142-4CBD-9878-FA57E0D27293}" dt="2023-12-01T11:31:50.433" v="4159" actId="20577"/>
          <ac:spMkLst>
            <pc:docMk/>
            <pc:sldMk cId="3521479601" sldId="823"/>
            <ac:spMk id="11" creationId="{EDCFD39E-BC2E-CE73-9E05-DE7F383A2EB0}"/>
          </ac:spMkLst>
        </pc:spChg>
        <pc:spChg chg="del mod">
          <ac:chgData name="Koksrud Andreas" userId="9d9beba6-c052-407a-8599-c781a677a996" providerId="ADAL" clId="{4CD5824D-6142-4CBD-9878-FA57E0D27293}" dt="2023-12-01T11:28:17.246" v="4022" actId="478"/>
          <ac:spMkLst>
            <pc:docMk/>
            <pc:sldMk cId="3521479601" sldId="823"/>
            <ac:spMk id="181" creationId="{00000000-0000-0000-0000-000000000000}"/>
          </ac:spMkLst>
        </pc:spChg>
      </pc:sldChg>
      <pc:sldChg chg="addSp modSp add mod">
        <pc:chgData name="Koksrud Andreas" userId="9d9beba6-c052-407a-8599-c781a677a996" providerId="ADAL" clId="{4CD5824D-6142-4CBD-9878-FA57E0D27293}" dt="2023-11-24T11:49:17.143" v="3308" actId="1076"/>
        <pc:sldMkLst>
          <pc:docMk/>
          <pc:sldMk cId="2832886649" sldId="824"/>
        </pc:sldMkLst>
        <pc:spChg chg="mod">
          <ac:chgData name="Koksrud Andreas" userId="9d9beba6-c052-407a-8599-c781a677a996" providerId="ADAL" clId="{4CD5824D-6142-4CBD-9878-FA57E0D27293}" dt="2023-11-24T11:48:48.595" v="3258" actId="6549"/>
          <ac:spMkLst>
            <pc:docMk/>
            <pc:sldMk cId="2832886649" sldId="824"/>
            <ac:spMk id="2" creationId="{5EE37D2C-AA92-2006-6627-1E6BDA830499}"/>
          </ac:spMkLst>
        </pc:spChg>
        <pc:spChg chg="add mod">
          <ac:chgData name="Koksrud Andreas" userId="9d9beba6-c052-407a-8599-c781a677a996" providerId="ADAL" clId="{4CD5824D-6142-4CBD-9878-FA57E0D27293}" dt="2023-11-24T11:49:17.143" v="3308" actId="1076"/>
          <ac:spMkLst>
            <pc:docMk/>
            <pc:sldMk cId="2832886649" sldId="824"/>
            <ac:spMk id="4" creationId="{F1C29DD3-88AA-BC5D-A3B0-CB7FCA7AF84F}"/>
          </ac:spMkLst>
        </pc:spChg>
        <pc:spChg chg="mod">
          <ac:chgData name="Koksrud Andreas" userId="9d9beba6-c052-407a-8599-c781a677a996" providerId="ADAL" clId="{4CD5824D-6142-4CBD-9878-FA57E0D27293}" dt="2023-11-24T11:48:03.827" v="3207" actId="20577"/>
          <ac:spMkLst>
            <pc:docMk/>
            <pc:sldMk cId="2832886649" sldId="824"/>
            <ac:spMk id="181" creationId="{00000000-0000-0000-0000-000000000000}"/>
          </ac:spMkLst>
        </pc:spChg>
      </pc:sldChg>
      <pc:sldChg chg="delSp modSp add mod">
        <pc:chgData name="Koksrud Andreas" userId="9d9beba6-c052-407a-8599-c781a677a996" providerId="ADAL" clId="{4CD5824D-6142-4CBD-9878-FA57E0D27293}" dt="2023-11-24T11:51:15.718" v="3380" actId="6549"/>
        <pc:sldMkLst>
          <pc:docMk/>
          <pc:sldMk cId="3060428227" sldId="825"/>
        </pc:sldMkLst>
        <pc:spChg chg="mod">
          <ac:chgData name="Koksrud Andreas" userId="9d9beba6-c052-407a-8599-c781a677a996" providerId="ADAL" clId="{4CD5824D-6142-4CBD-9878-FA57E0D27293}" dt="2023-11-24T11:51:15.718" v="3380" actId="6549"/>
          <ac:spMkLst>
            <pc:docMk/>
            <pc:sldMk cId="3060428227" sldId="825"/>
            <ac:spMk id="2" creationId="{5EE37D2C-AA92-2006-6627-1E6BDA830499}"/>
          </ac:spMkLst>
        </pc:spChg>
        <pc:spChg chg="del">
          <ac:chgData name="Koksrud Andreas" userId="9d9beba6-c052-407a-8599-c781a677a996" providerId="ADAL" clId="{4CD5824D-6142-4CBD-9878-FA57E0D27293}" dt="2023-11-24T11:50:54.475" v="3377" actId="478"/>
          <ac:spMkLst>
            <pc:docMk/>
            <pc:sldMk cId="3060428227" sldId="825"/>
            <ac:spMk id="4" creationId="{F1C29DD3-88AA-BC5D-A3B0-CB7FCA7AF84F}"/>
          </ac:spMkLst>
        </pc:spChg>
        <pc:spChg chg="mod">
          <ac:chgData name="Koksrud Andreas" userId="9d9beba6-c052-407a-8599-c781a677a996" providerId="ADAL" clId="{4CD5824D-6142-4CBD-9878-FA57E0D27293}" dt="2023-11-24T11:50:46.770" v="3363" actId="20577"/>
          <ac:spMkLst>
            <pc:docMk/>
            <pc:sldMk cId="3060428227" sldId="825"/>
            <ac:spMk id="180" creationId="{00000000-0000-0000-0000-000000000000}"/>
          </ac:spMkLst>
        </pc:spChg>
        <pc:spChg chg="mod">
          <ac:chgData name="Koksrud Andreas" userId="9d9beba6-c052-407a-8599-c781a677a996" providerId="ADAL" clId="{4CD5824D-6142-4CBD-9878-FA57E0D27293}" dt="2023-11-24T11:50:50.374" v="3376" actId="20577"/>
          <ac:spMkLst>
            <pc:docMk/>
            <pc:sldMk cId="3060428227" sldId="825"/>
            <ac:spMk id="181" creationId="{00000000-0000-0000-0000-000000000000}"/>
          </ac:spMkLst>
        </pc:spChg>
      </pc:sldChg>
      <pc:sldChg chg="addSp delSp modSp add mod">
        <pc:chgData name="Koksrud Andreas" userId="9d9beba6-c052-407a-8599-c781a677a996" providerId="ADAL" clId="{4CD5824D-6142-4CBD-9878-FA57E0D27293}" dt="2023-12-01T07:02:16.582" v="3977" actId="404"/>
        <pc:sldMkLst>
          <pc:docMk/>
          <pc:sldMk cId="4106763092" sldId="826"/>
        </pc:sldMkLst>
        <pc:spChg chg="mod">
          <ac:chgData name="Koksrud Andreas" userId="9d9beba6-c052-407a-8599-c781a677a996" providerId="ADAL" clId="{4CD5824D-6142-4CBD-9878-FA57E0D27293}" dt="2023-12-01T07:01:47.410" v="3973" actId="20577"/>
          <ac:spMkLst>
            <pc:docMk/>
            <pc:sldMk cId="4106763092" sldId="826"/>
            <ac:spMk id="180" creationId="{00000000-0000-0000-0000-000000000000}"/>
          </ac:spMkLst>
        </pc:spChg>
        <pc:spChg chg="mod">
          <ac:chgData name="Koksrud Andreas" userId="9d9beba6-c052-407a-8599-c781a677a996" providerId="ADAL" clId="{4CD5824D-6142-4CBD-9878-FA57E0D27293}" dt="2023-12-01T07:02:16.582" v="3977" actId="404"/>
          <ac:spMkLst>
            <pc:docMk/>
            <pc:sldMk cId="4106763092" sldId="826"/>
            <ac:spMk id="181" creationId="{00000000-0000-0000-0000-000000000000}"/>
          </ac:spMkLst>
        </pc:spChg>
        <pc:graphicFrameChg chg="add del mod">
          <ac:chgData name="Koksrud Andreas" userId="9d9beba6-c052-407a-8599-c781a677a996" providerId="ADAL" clId="{4CD5824D-6142-4CBD-9878-FA57E0D27293}" dt="2023-12-01T06:43:20.380" v="3789"/>
          <ac:graphicFrameMkLst>
            <pc:docMk/>
            <pc:sldMk cId="4106763092" sldId="826"/>
            <ac:graphicFrameMk id="3" creationId="{9FFA8492-B0F8-43D4-8AF5-048E859C5C2B}"/>
          </ac:graphicFrameMkLst>
        </pc:graphicFrameChg>
        <pc:graphicFrameChg chg="add del mod">
          <ac:chgData name="Koksrud Andreas" userId="9d9beba6-c052-407a-8599-c781a677a996" providerId="ADAL" clId="{4CD5824D-6142-4CBD-9878-FA57E0D27293}" dt="2023-12-01T06:43:23.623" v="3791"/>
          <ac:graphicFrameMkLst>
            <pc:docMk/>
            <pc:sldMk cId="4106763092" sldId="826"/>
            <ac:graphicFrameMk id="4" creationId="{082D7A95-B899-AC3F-9993-6EEC8FF7262E}"/>
          </ac:graphicFrameMkLst>
        </pc:graphicFrameChg>
        <pc:graphicFrameChg chg="add del mod">
          <ac:chgData name="Koksrud Andreas" userId="9d9beba6-c052-407a-8599-c781a677a996" providerId="ADAL" clId="{4CD5824D-6142-4CBD-9878-FA57E0D27293}" dt="2023-12-01T06:44:13.078" v="3809" actId="478"/>
          <ac:graphicFrameMkLst>
            <pc:docMk/>
            <pc:sldMk cId="4106763092" sldId="826"/>
            <ac:graphicFrameMk id="5" creationId="{C75D17E9-3F95-3FA9-2C47-9667D4754269}"/>
          </ac:graphicFrameMkLst>
        </pc:graphicFrameChg>
        <pc:picChg chg="del">
          <ac:chgData name="Koksrud Andreas" userId="9d9beba6-c052-407a-8599-c781a677a996" providerId="ADAL" clId="{4CD5824D-6142-4CBD-9878-FA57E0D27293}" dt="2023-12-01T06:42:07.985" v="3730" actId="478"/>
          <ac:picMkLst>
            <pc:docMk/>
            <pc:sldMk cId="4106763092" sldId="826"/>
            <ac:picMk id="2" creationId="{31153E13-ACAC-897E-FC2F-BA0E107CD60D}"/>
          </ac:picMkLst>
        </pc:picChg>
      </pc:sldChg>
      <pc:sldChg chg="addSp delSp modSp add mod">
        <pc:chgData name="Koksrud Andreas" userId="9d9beba6-c052-407a-8599-c781a677a996" providerId="ADAL" clId="{4CD5824D-6142-4CBD-9878-FA57E0D27293}" dt="2023-12-01T07:03:40.504" v="4012" actId="20577"/>
        <pc:sldMkLst>
          <pc:docMk/>
          <pc:sldMk cId="3993021773" sldId="827"/>
        </pc:sldMkLst>
        <pc:spChg chg="add del mod">
          <ac:chgData name="Koksrud Andreas" userId="9d9beba6-c052-407a-8599-c781a677a996" providerId="ADAL" clId="{4CD5824D-6142-4CBD-9878-FA57E0D27293}" dt="2023-12-01T07:02:33.824" v="3979" actId="478"/>
          <ac:spMkLst>
            <pc:docMk/>
            <pc:sldMk cId="3993021773" sldId="827"/>
            <ac:spMk id="4" creationId="{6DDCDEAC-0828-32BB-E7D2-57A0C609CE9D}"/>
          </ac:spMkLst>
        </pc:spChg>
        <pc:spChg chg="mod">
          <ac:chgData name="Koksrud Andreas" userId="9d9beba6-c052-407a-8599-c781a677a996" providerId="ADAL" clId="{4CD5824D-6142-4CBD-9878-FA57E0D27293}" dt="2023-12-01T07:03:40.504" v="4012" actId="20577"/>
          <ac:spMkLst>
            <pc:docMk/>
            <pc:sldMk cId="3993021773" sldId="827"/>
            <ac:spMk id="180" creationId="{00000000-0000-0000-0000-000000000000}"/>
          </ac:spMkLst>
        </pc:spChg>
        <pc:spChg chg="del">
          <ac:chgData name="Koksrud Andreas" userId="9d9beba6-c052-407a-8599-c781a677a996" providerId="ADAL" clId="{4CD5824D-6142-4CBD-9878-FA57E0D27293}" dt="2023-12-01T07:02:29.859" v="3978" actId="478"/>
          <ac:spMkLst>
            <pc:docMk/>
            <pc:sldMk cId="3993021773" sldId="827"/>
            <ac:spMk id="181" creationId="{00000000-0000-0000-0000-000000000000}"/>
          </ac:spMkLst>
        </pc:spChg>
        <pc:picChg chg="del">
          <ac:chgData name="Koksrud Andreas" userId="9d9beba6-c052-407a-8599-c781a677a996" providerId="ADAL" clId="{4CD5824D-6142-4CBD-9878-FA57E0D27293}" dt="2023-12-01T07:02:34.454" v="3980" actId="478"/>
          <ac:picMkLst>
            <pc:docMk/>
            <pc:sldMk cId="3993021773" sldId="827"/>
            <ac:picMk id="3" creationId="{77764897-3F1A-B171-E2D8-7357AC30BADC}"/>
          </ac:picMkLst>
        </pc:picChg>
      </pc:sldChg>
      <pc:sldChg chg="add">
        <pc:chgData name="Koksrud Andreas" userId="9d9beba6-c052-407a-8599-c781a677a996" providerId="ADAL" clId="{4CD5824D-6142-4CBD-9878-FA57E0D27293}" dt="2023-12-01T11:25:40.359" v="4013" actId="2890"/>
        <pc:sldMkLst>
          <pc:docMk/>
          <pc:sldMk cId="4152257816" sldId="828"/>
        </pc:sldMkLst>
      </pc:sldChg>
      <pc:sldChg chg="addSp delSp modSp add mod">
        <pc:chgData name="Koksrud Andreas" userId="9d9beba6-c052-407a-8599-c781a677a996" providerId="ADAL" clId="{4CD5824D-6142-4CBD-9878-FA57E0D27293}" dt="2023-12-03T18:52:14.805" v="4400" actId="1076"/>
        <pc:sldMkLst>
          <pc:docMk/>
          <pc:sldMk cId="1118305278" sldId="829"/>
        </pc:sldMkLst>
        <pc:spChg chg="mod">
          <ac:chgData name="Koksrud Andreas" userId="9d9beba6-c052-407a-8599-c781a677a996" providerId="ADAL" clId="{4CD5824D-6142-4CBD-9878-FA57E0D27293}" dt="2023-12-03T18:49:26.474" v="4363" actId="20577"/>
          <ac:spMkLst>
            <pc:docMk/>
            <pc:sldMk cId="1118305278" sldId="829"/>
            <ac:spMk id="2" creationId="{021CA0C3-964C-194D-8088-55B4655C41AF}"/>
          </ac:spMkLst>
        </pc:spChg>
        <pc:picChg chg="del">
          <ac:chgData name="Koksrud Andreas" userId="9d9beba6-c052-407a-8599-c781a677a996" providerId="ADAL" clId="{4CD5824D-6142-4CBD-9878-FA57E0D27293}" dt="2023-12-03T18:49:02.831" v="4288" actId="478"/>
          <ac:picMkLst>
            <pc:docMk/>
            <pc:sldMk cId="1118305278" sldId="829"/>
            <ac:picMk id="4" creationId="{EAB86436-246B-5693-017D-2894A492E0DD}"/>
          </ac:picMkLst>
        </pc:picChg>
        <pc:picChg chg="add mod modCrop">
          <ac:chgData name="Koksrud Andreas" userId="9d9beba6-c052-407a-8599-c781a677a996" providerId="ADAL" clId="{4CD5824D-6142-4CBD-9878-FA57E0D27293}" dt="2023-12-03T18:52:14.805" v="4400" actId="1076"/>
          <ac:picMkLst>
            <pc:docMk/>
            <pc:sldMk cId="1118305278" sldId="829"/>
            <ac:picMk id="5" creationId="{43336349-78A5-A952-DB7D-358AD9EB5B2C}"/>
          </ac:picMkLst>
        </pc:picChg>
        <pc:picChg chg="add mod">
          <ac:chgData name="Koksrud Andreas" userId="9d9beba6-c052-407a-8599-c781a677a996" providerId="ADAL" clId="{4CD5824D-6142-4CBD-9878-FA57E0D27293}" dt="2023-12-03T18:52:14.805" v="4400" actId="1076"/>
          <ac:picMkLst>
            <pc:docMk/>
            <pc:sldMk cId="1118305278" sldId="829"/>
            <ac:picMk id="7" creationId="{C0331D1C-3593-F42B-229C-96B072208F67}"/>
          </ac:picMkLst>
        </pc:picChg>
        <pc:picChg chg="add mod">
          <ac:chgData name="Koksrud Andreas" userId="9d9beba6-c052-407a-8599-c781a677a996" providerId="ADAL" clId="{4CD5824D-6142-4CBD-9878-FA57E0D27293}" dt="2023-12-03T18:52:14.805" v="4400" actId="1076"/>
          <ac:picMkLst>
            <pc:docMk/>
            <pc:sldMk cId="1118305278" sldId="829"/>
            <ac:picMk id="9" creationId="{27FAC38C-7512-069D-9DB9-BAC8F87C1559}"/>
          </ac:picMkLst>
        </pc:picChg>
      </pc:sldChg>
      <pc:sldChg chg="addSp delSp modSp add mod">
        <pc:chgData name="Koksrud Andreas" userId="9d9beba6-c052-407a-8599-c781a677a996" providerId="ADAL" clId="{4CD5824D-6142-4CBD-9878-FA57E0D27293}" dt="2023-12-03T19:04:08.867" v="4695" actId="1076"/>
        <pc:sldMkLst>
          <pc:docMk/>
          <pc:sldMk cId="1212745208" sldId="830"/>
        </pc:sldMkLst>
        <pc:spChg chg="mod">
          <ac:chgData name="Koksrud Andreas" userId="9d9beba6-c052-407a-8599-c781a677a996" providerId="ADAL" clId="{4CD5824D-6142-4CBD-9878-FA57E0D27293}" dt="2023-12-03T19:03:59.422" v="4692" actId="20577"/>
          <ac:spMkLst>
            <pc:docMk/>
            <pc:sldMk cId="1212745208" sldId="830"/>
            <ac:spMk id="181" creationId="{00000000-0000-0000-0000-000000000000}"/>
          </ac:spMkLst>
        </pc:spChg>
        <pc:picChg chg="del">
          <ac:chgData name="Koksrud Andreas" userId="9d9beba6-c052-407a-8599-c781a677a996" providerId="ADAL" clId="{4CD5824D-6142-4CBD-9878-FA57E0D27293}" dt="2023-12-03T19:02:22.200" v="4565" actId="478"/>
          <ac:picMkLst>
            <pc:docMk/>
            <pc:sldMk cId="1212745208" sldId="830"/>
            <ac:picMk id="3" creationId="{CBFEFB0B-3282-7AC0-21B6-52CE33617628}"/>
          </ac:picMkLst>
        </pc:picChg>
        <pc:picChg chg="add mod">
          <ac:chgData name="Koksrud Andreas" userId="9d9beba6-c052-407a-8599-c781a677a996" providerId="ADAL" clId="{4CD5824D-6142-4CBD-9878-FA57E0D27293}" dt="2023-12-03T19:04:08.867" v="4695" actId="1076"/>
          <ac:picMkLst>
            <pc:docMk/>
            <pc:sldMk cId="1212745208" sldId="830"/>
            <ac:picMk id="4" creationId="{2732A197-6670-00B1-998C-BB6A421E922F}"/>
          </ac:picMkLst>
        </pc:picChg>
        <pc:picChg chg="del">
          <ac:chgData name="Koksrud Andreas" userId="9d9beba6-c052-407a-8599-c781a677a996" providerId="ADAL" clId="{4CD5824D-6142-4CBD-9878-FA57E0D27293}" dt="2023-12-03T19:02:22.675" v="4566" actId="478"/>
          <ac:picMkLst>
            <pc:docMk/>
            <pc:sldMk cId="1212745208" sldId="830"/>
            <ac:picMk id="5" creationId="{23572AA6-9B29-275E-AB67-74C799BC3C20}"/>
          </ac:picMkLst>
        </pc:picChg>
        <pc:picChg chg="del">
          <ac:chgData name="Koksrud Andreas" userId="9d9beba6-c052-407a-8599-c781a677a996" providerId="ADAL" clId="{4CD5824D-6142-4CBD-9878-FA57E0D27293}" dt="2023-12-03T19:02:24.167" v="4568" actId="478"/>
          <ac:picMkLst>
            <pc:docMk/>
            <pc:sldMk cId="1212745208" sldId="830"/>
            <ac:picMk id="11" creationId="{FA3AA484-9678-282F-FA0F-53789CE5C7E0}"/>
          </ac:picMkLst>
        </pc:picChg>
        <pc:picChg chg="del">
          <ac:chgData name="Koksrud Andreas" userId="9d9beba6-c052-407a-8599-c781a677a996" providerId="ADAL" clId="{4CD5824D-6142-4CBD-9878-FA57E0D27293}" dt="2023-12-03T19:02:24.603" v="4569" actId="478"/>
          <ac:picMkLst>
            <pc:docMk/>
            <pc:sldMk cId="1212745208" sldId="830"/>
            <ac:picMk id="13" creationId="{C7A6110E-5CF7-BBCF-6830-61081EFA2E77}"/>
          </ac:picMkLst>
        </pc:picChg>
        <pc:cxnChg chg="del mod">
          <ac:chgData name="Koksrud Andreas" userId="9d9beba6-c052-407a-8599-c781a677a996" providerId="ADAL" clId="{4CD5824D-6142-4CBD-9878-FA57E0D27293}" dt="2023-12-03T19:02:23.682" v="4567" actId="478"/>
          <ac:cxnSpMkLst>
            <pc:docMk/>
            <pc:sldMk cId="1212745208" sldId="830"/>
            <ac:cxnSpMk id="8" creationId="{61E4DBE9-0D5F-FCD9-C745-13AB35479943}"/>
          </ac:cxnSpMkLst>
        </pc:cxnChg>
        <pc:cxnChg chg="del mod">
          <ac:chgData name="Koksrud Andreas" userId="9d9beba6-c052-407a-8599-c781a677a996" providerId="ADAL" clId="{4CD5824D-6142-4CBD-9878-FA57E0D27293}" dt="2023-12-03T19:02:25.296" v="4570" actId="478"/>
          <ac:cxnSpMkLst>
            <pc:docMk/>
            <pc:sldMk cId="1212745208" sldId="830"/>
            <ac:cxnSpMk id="14" creationId="{5E62564F-5B58-6220-DA9D-75A1C5F55029}"/>
          </ac:cxnSpMkLst>
        </pc:cxnChg>
      </pc:sldChg>
    </pc:docChg>
  </pc:docChgLst>
  <pc:docChgLst>
    <pc:chgData name="Koksrud Andreas" userId="9d9beba6-c052-407a-8599-c781a677a996" providerId="ADAL" clId="{48A7DA74-46DF-41F4-B014-4ED8B1955498}"/>
    <pc:docChg chg="modSld">
      <pc:chgData name="Koksrud Andreas" userId="9d9beba6-c052-407a-8599-c781a677a996" providerId="ADAL" clId="{48A7DA74-46DF-41F4-B014-4ED8B1955498}" dt="2022-10-12T21:01:08.327" v="115" actId="404"/>
      <pc:docMkLst>
        <pc:docMk/>
      </pc:docMkLst>
      <pc:sldChg chg="modSp mod">
        <pc:chgData name="Koksrud Andreas" userId="9d9beba6-c052-407a-8599-c781a677a996" providerId="ADAL" clId="{48A7DA74-46DF-41F4-B014-4ED8B1955498}" dt="2022-10-12T21:01:08.327" v="115" actId="404"/>
        <pc:sldMkLst>
          <pc:docMk/>
          <pc:sldMk cId="697137886" sldId="679"/>
        </pc:sldMkLst>
        <pc:spChg chg="mod">
          <ac:chgData name="Koksrud Andreas" userId="9d9beba6-c052-407a-8599-c781a677a996" providerId="ADAL" clId="{48A7DA74-46DF-41F4-B014-4ED8B1955498}" dt="2022-10-12T21:01:08.327" v="115" actId="404"/>
          <ac:spMkLst>
            <pc:docMk/>
            <pc:sldMk cId="697137886" sldId="679"/>
            <ac:spMk id="2" creationId="{00000000-0000-0000-0000-000000000000}"/>
          </ac:spMkLst>
        </pc:spChg>
      </pc:sldChg>
    </pc:docChg>
  </pc:docChgLst>
  <pc:docChgLst>
    <pc:chgData name="Andreas Koksrud" userId="9d9beba6-c052-407a-8599-c781a677a996" providerId="ADAL" clId="{025ACCFA-B3FA-4AE2-A82E-BBF81FEC4877}"/>
    <pc:docChg chg="undo custSel addSld delSld modSld modSection">
      <pc:chgData name="Andreas Koksrud" userId="9d9beba6-c052-407a-8599-c781a677a996" providerId="ADAL" clId="{025ACCFA-B3FA-4AE2-A82E-BBF81FEC4877}" dt="2024-10-17T11:25:20.355" v="1516" actId="20577"/>
      <pc:docMkLst>
        <pc:docMk/>
      </pc:docMkLst>
      <pc:sldChg chg="addSp modSp mod">
        <pc:chgData name="Andreas Koksrud" userId="9d9beba6-c052-407a-8599-c781a677a996" providerId="ADAL" clId="{025ACCFA-B3FA-4AE2-A82E-BBF81FEC4877}" dt="2024-10-09T10:26:04.308" v="1275" actId="1076"/>
        <pc:sldMkLst>
          <pc:docMk/>
          <pc:sldMk cId="2011127005" sldId="974"/>
        </pc:sldMkLst>
        <pc:spChg chg="add mod">
          <ac:chgData name="Andreas Koksrud" userId="9d9beba6-c052-407a-8599-c781a677a996" providerId="ADAL" clId="{025ACCFA-B3FA-4AE2-A82E-BBF81FEC4877}" dt="2024-10-09T10:25:58.757" v="1273" actId="20577"/>
          <ac:spMkLst>
            <pc:docMk/>
            <pc:sldMk cId="2011127005" sldId="974"/>
            <ac:spMk id="2" creationId="{9298423D-4B6A-2753-F62C-A62E6DCC3CB4}"/>
          </ac:spMkLst>
        </pc:spChg>
        <pc:spChg chg="mod">
          <ac:chgData name="Andreas Koksrud" userId="9d9beba6-c052-407a-8599-c781a677a996" providerId="ADAL" clId="{025ACCFA-B3FA-4AE2-A82E-BBF81FEC4877}" dt="2024-10-09T10:25:45.667" v="1267" actId="20577"/>
          <ac:spMkLst>
            <pc:docMk/>
            <pc:sldMk cId="2011127005" sldId="974"/>
            <ac:spMk id="7" creationId="{77A4E8EF-7150-0558-D127-0ADCDE214C5B}"/>
          </ac:spMkLst>
        </pc:spChg>
        <pc:picChg chg="mod">
          <ac:chgData name="Andreas Koksrud" userId="9d9beba6-c052-407a-8599-c781a677a996" providerId="ADAL" clId="{025ACCFA-B3FA-4AE2-A82E-BBF81FEC4877}" dt="2024-10-09T10:26:04.308" v="1275" actId="1076"/>
          <ac:picMkLst>
            <pc:docMk/>
            <pc:sldMk cId="2011127005" sldId="974"/>
            <ac:picMk id="3" creationId="{40A05BD8-F3A7-B195-36CE-DD8B936FC14E}"/>
          </ac:picMkLst>
        </pc:picChg>
        <pc:picChg chg="mod">
          <ac:chgData name="Andreas Koksrud" userId="9d9beba6-c052-407a-8599-c781a677a996" providerId="ADAL" clId="{025ACCFA-B3FA-4AE2-A82E-BBF81FEC4877}" dt="2024-10-09T10:25:53.004" v="1269" actId="1076"/>
          <ac:picMkLst>
            <pc:docMk/>
            <pc:sldMk cId="2011127005" sldId="974"/>
            <ac:picMk id="1026" creationId="{41D01BC7-6384-6294-ED8B-A227B35003A6}"/>
          </ac:picMkLst>
        </pc:picChg>
      </pc:sldChg>
      <pc:sldChg chg="del">
        <pc:chgData name="Andreas Koksrud" userId="9d9beba6-c052-407a-8599-c781a677a996" providerId="ADAL" clId="{025ACCFA-B3FA-4AE2-A82E-BBF81FEC4877}" dt="2024-10-17T11:24:59.732" v="1488" actId="47"/>
        <pc:sldMkLst>
          <pc:docMk/>
          <pc:sldMk cId="27567207" sldId="1008"/>
        </pc:sldMkLst>
      </pc:sldChg>
      <pc:sldChg chg="addSp modSp mod">
        <pc:chgData name="Andreas Koksrud" userId="9d9beba6-c052-407a-8599-c781a677a996" providerId="ADAL" clId="{025ACCFA-B3FA-4AE2-A82E-BBF81FEC4877}" dt="2024-10-17T11:24:30.925" v="1487" actId="207"/>
        <pc:sldMkLst>
          <pc:docMk/>
          <pc:sldMk cId="1214755120" sldId="1010"/>
        </pc:sldMkLst>
        <pc:spChg chg="mod">
          <ac:chgData name="Andreas Koksrud" userId="9d9beba6-c052-407a-8599-c781a677a996" providerId="ADAL" clId="{025ACCFA-B3FA-4AE2-A82E-BBF81FEC4877}" dt="2024-10-17T11:22:20.467" v="1389" actId="20577"/>
          <ac:spMkLst>
            <pc:docMk/>
            <pc:sldMk cId="1214755120" sldId="1010"/>
            <ac:spMk id="181" creationId="{00000000-0000-0000-0000-000000000000}"/>
          </ac:spMkLst>
        </pc:spChg>
        <pc:graphicFrameChg chg="add mod modGraphic">
          <ac:chgData name="Andreas Koksrud" userId="9d9beba6-c052-407a-8599-c781a677a996" providerId="ADAL" clId="{025ACCFA-B3FA-4AE2-A82E-BBF81FEC4877}" dt="2024-10-17T11:24:30.925" v="1487" actId="207"/>
          <ac:graphicFrameMkLst>
            <pc:docMk/>
            <pc:sldMk cId="1214755120" sldId="1010"/>
            <ac:graphicFrameMk id="4" creationId="{E773EFB9-1255-A285-694E-D49A8D5C3ACF}"/>
          </ac:graphicFrameMkLst>
        </pc:graphicFrameChg>
      </pc:sldChg>
      <pc:sldChg chg="modSp mod">
        <pc:chgData name="Andreas Koksrud" userId="9d9beba6-c052-407a-8599-c781a677a996" providerId="ADAL" clId="{025ACCFA-B3FA-4AE2-A82E-BBF81FEC4877}" dt="2024-10-17T11:25:20.355" v="1516" actId="20577"/>
        <pc:sldMkLst>
          <pc:docMk/>
          <pc:sldMk cId="2448949193" sldId="1011"/>
        </pc:sldMkLst>
        <pc:spChg chg="mod">
          <ac:chgData name="Andreas Koksrud" userId="9d9beba6-c052-407a-8599-c781a677a996" providerId="ADAL" clId="{025ACCFA-B3FA-4AE2-A82E-BBF81FEC4877}" dt="2024-10-17T11:25:13.653" v="1490" actId="20577"/>
          <ac:spMkLst>
            <pc:docMk/>
            <pc:sldMk cId="2448949193" sldId="1011"/>
            <ac:spMk id="180" creationId="{00000000-0000-0000-0000-000000000000}"/>
          </ac:spMkLst>
        </pc:spChg>
        <pc:spChg chg="mod">
          <ac:chgData name="Andreas Koksrud" userId="9d9beba6-c052-407a-8599-c781a677a996" providerId="ADAL" clId="{025ACCFA-B3FA-4AE2-A82E-BBF81FEC4877}" dt="2024-10-17T11:25:20.355" v="1516" actId="20577"/>
          <ac:spMkLst>
            <pc:docMk/>
            <pc:sldMk cId="2448949193" sldId="1011"/>
            <ac:spMk id="181" creationId="{00000000-0000-0000-0000-000000000000}"/>
          </ac:spMkLst>
        </pc:spChg>
      </pc:sldChg>
      <pc:sldChg chg="addSp delSp modSp add mod">
        <pc:chgData name="Andreas Koksrud" userId="9d9beba6-c052-407a-8599-c781a677a996" providerId="ADAL" clId="{025ACCFA-B3FA-4AE2-A82E-BBF81FEC4877}" dt="2024-10-09T10:24:19.842" v="1140" actId="6549"/>
        <pc:sldMkLst>
          <pc:docMk/>
          <pc:sldMk cId="2703278859" sldId="1012"/>
        </pc:sldMkLst>
        <pc:spChg chg="add mod">
          <ac:chgData name="Andreas Koksrud" userId="9d9beba6-c052-407a-8599-c781a677a996" providerId="ADAL" clId="{025ACCFA-B3FA-4AE2-A82E-BBF81FEC4877}" dt="2024-10-09T10:24:19.842" v="1140" actId="6549"/>
          <ac:spMkLst>
            <pc:docMk/>
            <pc:sldMk cId="2703278859" sldId="1012"/>
            <ac:spMk id="2" creationId="{08A20273-77FA-7EC2-AAB4-34B7901CC5F4}"/>
          </ac:spMkLst>
        </pc:spChg>
        <pc:spChg chg="add del">
          <ac:chgData name="Andreas Koksrud" userId="9d9beba6-c052-407a-8599-c781a677a996" providerId="ADAL" clId="{025ACCFA-B3FA-4AE2-A82E-BBF81FEC4877}" dt="2024-10-09T10:20:41.492" v="973" actId="11529"/>
          <ac:spMkLst>
            <pc:docMk/>
            <pc:sldMk cId="2703278859" sldId="1012"/>
            <ac:spMk id="3" creationId="{2FCE1570-99E5-70EE-61B6-29518CC8B645}"/>
          </ac:spMkLst>
        </pc:spChg>
        <pc:spChg chg="add mod">
          <ac:chgData name="Andreas Koksrud" userId="9d9beba6-c052-407a-8599-c781a677a996" providerId="ADAL" clId="{025ACCFA-B3FA-4AE2-A82E-BBF81FEC4877}" dt="2024-10-09T10:21:29.659" v="979" actId="208"/>
          <ac:spMkLst>
            <pc:docMk/>
            <pc:sldMk cId="2703278859" sldId="1012"/>
            <ac:spMk id="5" creationId="{8BC6EA9D-EBF1-3AE4-EF97-23EAFDAA6573}"/>
          </ac:spMkLst>
        </pc:spChg>
        <pc:spChg chg="add mod">
          <ac:chgData name="Andreas Koksrud" userId="9d9beba6-c052-407a-8599-c781a677a996" providerId="ADAL" clId="{025ACCFA-B3FA-4AE2-A82E-BBF81FEC4877}" dt="2024-10-09T10:21:59.691" v="984" actId="208"/>
          <ac:spMkLst>
            <pc:docMk/>
            <pc:sldMk cId="2703278859" sldId="1012"/>
            <ac:spMk id="7" creationId="{39F29756-4C76-B25D-FB31-87156B937863}"/>
          </ac:spMkLst>
        </pc:spChg>
        <pc:spChg chg="mod">
          <ac:chgData name="Andreas Koksrud" userId="9d9beba6-c052-407a-8599-c781a677a996" providerId="ADAL" clId="{025ACCFA-B3FA-4AE2-A82E-BBF81FEC4877}" dt="2024-10-09T10:22:37.589" v="987" actId="14100"/>
          <ac:spMkLst>
            <pc:docMk/>
            <pc:sldMk cId="2703278859" sldId="1012"/>
            <ac:spMk id="180" creationId="{00000000-0000-0000-0000-000000000000}"/>
          </ac:spMkLst>
        </pc:spChg>
        <pc:graphicFrameChg chg="mod">
          <ac:chgData name="Andreas Koksrud" userId="9d9beba6-c052-407a-8599-c781a677a996" providerId="ADAL" clId="{025ACCFA-B3FA-4AE2-A82E-BBF81FEC4877}" dt="2024-10-09T10:20:45.372" v="975" actId="20577"/>
          <ac:graphicFrameMkLst>
            <pc:docMk/>
            <pc:sldMk cId="2703278859" sldId="1012"/>
            <ac:graphicFrameMk id="182" creationId="{31C961BD-9981-8CD8-539D-AB011F3808BE}"/>
          </ac:graphicFrameMkLst>
        </pc:graphicFrameChg>
      </pc:sldChg>
      <pc:sldChg chg="new del">
        <pc:chgData name="Andreas Koksrud" userId="9d9beba6-c052-407a-8599-c781a677a996" providerId="ADAL" clId="{025ACCFA-B3FA-4AE2-A82E-BBF81FEC4877}" dt="2024-10-09T10:25:41.639" v="1265" actId="2696"/>
        <pc:sldMkLst>
          <pc:docMk/>
          <pc:sldMk cId="3497705197" sldId="1013"/>
        </pc:sldMkLst>
      </pc:sldChg>
    </pc:docChg>
  </pc:docChgLst>
  <pc:docChgLst>
    <pc:chgData name="Koksrud Andreas" userId="9d9beba6-c052-407a-8599-c781a677a996" providerId="ADAL" clId="{7956FAC5-41A0-4609-A911-62C4A829A2C4}"/>
    <pc:docChg chg="undo redo custSel addSld delSld modSld sldOrd modSection">
      <pc:chgData name="Koksrud Andreas" userId="9d9beba6-c052-407a-8599-c781a677a996" providerId="ADAL" clId="{7956FAC5-41A0-4609-A911-62C4A829A2C4}" dt="2021-12-15T14:49:07.924" v="4235" actId="20577"/>
      <pc:docMkLst>
        <pc:docMk/>
      </pc:docMkLst>
      <pc:sldChg chg="del">
        <pc:chgData name="Koksrud Andreas" userId="9d9beba6-c052-407a-8599-c781a677a996" providerId="ADAL" clId="{7956FAC5-41A0-4609-A911-62C4A829A2C4}" dt="2021-12-08T15:16:33.539" v="56" actId="47"/>
        <pc:sldMkLst>
          <pc:docMk/>
          <pc:sldMk cId="3737422792" sldId="276"/>
        </pc:sldMkLst>
      </pc:sldChg>
      <pc:sldChg chg="delSp modSp del mod">
        <pc:chgData name="Koksrud Andreas" userId="9d9beba6-c052-407a-8599-c781a677a996" providerId="ADAL" clId="{7956FAC5-41A0-4609-A911-62C4A829A2C4}" dt="2021-12-08T15:17:21.167" v="120" actId="47"/>
        <pc:sldMkLst>
          <pc:docMk/>
          <pc:sldMk cId="3062551098" sldId="278"/>
        </pc:sldMkLst>
        <pc:spChg chg="mod">
          <ac:chgData name="Koksrud Andreas" userId="9d9beba6-c052-407a-8599-c781a677a996" providerId="ADAL" clId="{7956FAC5-41A0-4609-A911-62C4A829A2C4}" dt="2021-12-08T15:16:45.806" v="85" actId="20577"/>
          <ac:spMkLst>
            <pc:docMk/>
            <pc:sldMk cId="3062551098" sldId="278"/>
            <ac:spMk id="165" creationId="{00000000-0000-0000-0000-000000000000}"/>
          </ac:spMkLst>
        </pc:spChg>
        <pc:picChg chg="del">
          <ac:chgData name="Koksrud Andreas" userId="9d9beba6-c052-407a-8599-c781a677a996" providerId="ADAL" clId="{7956FAC5-41A0-4609-A911-62C4A829A2C4}" dt="2021-12-08T15:16:36.287" v="57" actId="478"/>
          <ac:picMkLst>
            <pc:docMk/>
            <pc:sldMk cId="3062551098" sldId="278"/>
            <ac:picMk id="6" creationId="{4D677013-A4B2-4837-8BAC-1213E9BD830A}"/>
          </ac:picMkLst>
        </pc:picChg>
      </pc:sldChg>
      <pc:sldChg chg="del">
        <pc:chgData name="Koksrud Andreas" userId="9d9beba6-c052-407a-8599-c781a677a996" providerId="ADAL" clId="{7956FAC5-41A0-4609-A911-62C4A829A2C4}" dt="2021-12-08T15:16:48.469" v="86" actId="47"/>
        <pc:sldMkLst>
          <pc:docMk/>
          <pc:sldMk cId="595294778" sldId="279"/>
        </pc:sldMkLst>
      </pc:sldChg>
      <pc:sldChg chg="del">
        <pc:chgData name="Koksrud Andreas" userId="9d9beba6-c052-407a-8599-c781a677a996" providerId="ADAL" clId="{7956FAC5-41A0-4609-A911-62C4A829A2C4}" dt="2021-12-08T15:16:48.812" v="87" actId="47"/>
        <pc:sldMkLst>
          <pc:docMk/>
          <pc:sldMk cId="3494317797" sldId="280"/>
        </pc:sldMkLst>
      </pc:sldChg>
      <pc:sldChg chg="del">
        <pc:chgData name="Koksrud Andreas" userId="9d9beba6-c052-407a-8599-c781a677a996" providerId="ADAL" clId="{7956FAC5-41A0-4609-A911-62C4A829A2C4}" dt="2021-12-08T15:16:49.341" v="88" actId="47"/>
        <pc:sldMkLst>
          <pc:docMk/>
          <pc:sldMk cId="1895067963" sldId="281"/>
        </pc:sldMkLst>
      </pc:sldChg>
      <pc:sldChg chg="del">
        <pc:chgData name="Koksrud Andreas" userId="9d9beba6-c052-407a-8599-c781a677a996" providerId="ADAL" clId="{7956FAC5-41A0-4609-A911-62C4A829A2C4}" dt="2021-12-08T15:16:49.748" v="89" actId="47"/>
        <pc:sldMkLst>
          <pc:docMk/>
          <pc:sldMk cId="3454780860" sldId="282"/>
        </pc:sldMkLst>
      </pc:sldChg>
      <pc:sldChg chg="del">
        <pc:chgData name="Koksrud Andreas" userId="9d9beba6-c052-407a-8599-c781a677a996" providerId="ADAL" clId="{7956FAC5-41A0-4609-A911-62C4A829A2C4}" dt="2021-12-08T15:16:50.155" v="90" actId="47"/>
        <pc:sldMkLst>
          <pc:docMk/>
          <pc:sldMk cId="1108960129" sldId="283"/>
        </pc:sldMkLst>
      </pc:sldChg>
      <pc:sldChg chg="del">
        <pc:chgData name="Koksrud Andreas" userId="9d9beba6-c052-407a-8599-c781a677a996" providerId="ADAL" clId="{7956FAC5-41A0-4609-A911-62C4A829A2C4}" dt="2021-12-08T15:16:51.065" v="92" actId="47"/>
        <pc:sldMkLst>
          <pc:docMk/>
          <pc:sldMk cId="1607459823" sldId="285"/>
        </pc:sldMkLst>
      </pc:sldChg>
      <pc:sldChg chg="del">
        <pc:chgData name="Koksrud Andreas" userId="9d9beba6-c052-407a-8599-c781a677a996" providerId="ADAL" clId="{7956FAC5-41A0-4609-A911-62C4A829A2C4}" dt="2021-12-08T15:16:51.475" v="93" actId="47"/>
        <pc:sldMkLst>
          <pc:docMk/>
          <pc:sldMk cId="1459155293" sldId="286"/>
        </pc:sldMkLst>
      </pc:sldChg>
      <pc:sldChg chg="del">
        <pc:chgData name="Koksrud Andreas" userId="9d9beba6-c052-407a-8599-c781a677a996" providerId="ADAL" clId="{7956FAC5-41A0-4609-A911-62C4A829A2C4}" dt="2021-12-08T15:16:51.851" v="94" actId="47"/>
        <pc:sldMkLst>
          <pc:docMk/>
          <pc:sldMk cId="1405705192" sldId="287"/>
        </pc:sldMkLst>
      </pc:sldChg>
      <pc:sldChg chg="del">
        <pc:chgData name="Koksrud Andreas" userId="9d9beba6-c052-407a-8599-c781a677a996" providerId="ADAL" clId="{7956FAC5-41A0-4609-A911-62C4A829A2C4}" dt="2021-12-08T15:16:52.595" v="95" actId="47"/>
        <pc:sldMkLst>
          <pc:docMk/>
          <pc:sldMk cId="2770564330" sldId="288"/>
        </pc:sldMkLst>
      </pc:sldChg>
      <pc:sldChg chg="del">
        <pc:chgData name="Koksrud Andreas" userId="9d9beba6-c052-407a-8599-c781a677a996" providerId="ADAL" clId="{7956FAC5-41A0-4609-A911-62C4A829A2C4}" dt="2021-12-08T15:16:53.151" v="96" actId="47"/>
        <pc:sldMkLst>
          <pc:docMk/>
          <pc:sldMk cId="708408685" sldId="289"/>
        </pc:sldMkLst>
      </pc:sldChg>
      <pc:sldChg chg="del">
        <pc:chgData name="Koksrud Andreas" userId="9d9beba6-c052-407a-8599-c781a677a996" providerId="ADAL" clId="{7956FAC5-41A0-4609-A911-62C4A829A2C4}" dt="2021-12-08T15:16:53.642" v="97" actId="47"/>
        <pc:sldMkLst>
          <pc:docMk/>
          <pc:sldMk cId="2509195288" sldId="290"/>
        </pc:sldMkLst>
      </pc:sldChg>
      <pc:sldChg chg="del">
        <pc:chgData name="Koksrud Andreas" userId="9d9beba6-c052-407a-8599-c781a677a996" providerId="ADAL" clId="{7956FAC5-41A0-4609-A911-62C4A829A2C4}" dt="2021-12-08T15:16:54.187" v="98" actId="47"/>
        <pc:sldMkLst>
          <pc:docMk/>
          <pc:sldMk cId="1911017754" sldId="291"/>
        </pc:sldMkLst>
      </pc:sldChg>
      <pc:sldChg chg="del">
        <pc:chgData name="Koksrud Andreas" userId="9d9beba6-c052-407a-8599-c781a677a996" providerId="ADAL" clId="{7956FAC5-41A0-4609-A911-62C4A829A2C4}" dt="2021-12-08T15:17:23.991" v="121" actId="47"/>
        <pc:sldMkLst>
          <pc:docMk/>
          <pc:sldMk cId="905136967" sldId="292"/>
        </pc:sldMkLst>
      </pc:sldChg>
      <pc:sldChg chg="del">
        <pc:chgData name="Koksrud Andreas" userId="9d9beba6-c052-407a-8599-c781a677a996" providerId="ADAL" clId="{7956FAC5-41A0-4609-A911-62C4A829A2C4}" dt="2021-12-08T15:16:59.903" v="99" actId="47"/>
        <pc:sldMkLst>
          <pc:docMk/>
          <pc:sldMk cId="2719012752" sldId="293"/>
        </pc:sldMkLst>
      </pc:sldChg>
      <pc:sldChg chg="del">
        <pc:chgData name="Koksrud Andreas" userId="9d9beba6-c052-407a-8599-c781a677a996" providerId="ADAL" clId="{7956FAC5-41A0-4609-A911-62C4A829A2C4}" dt="2021-12-08T15:17:00.455" v="100" actId="47"/>
        <pc:sldMkLst>
          <pc:docMk/>
          <pc:sldMk cId="105445765" sldId="294"/>
        </pc:sldMkLst>
      </pc:sldChg>
      <pc:sldChg chg="del">
        <pc:chgData name="Koksrud Andreas" userId="9d9beba6-c052-407a-8599-c781a677a996" providerId="ADAL" clId="{7956FAC5-41A0-4609-A911-62C4A829A2C4}" dt="2021-12-08T15:17:00.850" v="101" actId="47"/>
        <pc:sldMkLst>
          <pc:docMk/>
          <pc:sldMk cId="2698391475" sldId="295"/>
        </pc:sldMkLst>
      </pc:sldChg>
      <pc:sldChg chg="del">
        <pc:chgData name="Koksrud Andreas" userId="9d9beba6-c052-407a-8599-c781a677a996" providerId="ADAL" clId="{7956FAC5-41A0-4609-A911-62C4A829A2C4}" dt="2021-12-08T15:17:01.366" v="102" actId="47"/>
        <pc:sldMkLst>
          <pc:docMk/>
          <pc:sldMk cId="558428443" sldId="296"/>
        </pc:sldMkLst>
      </pc:sldChg>
      <pc:sldChg chg="del">
        <pc:chgData name="Koksrud Andreas" userId="9d9beba6-c052-407a-8599-c781a677a996" providerId="ADAL" clId="{7956FAC5-41A0-4609-A911-62C4A829A2C4}" dt="2021-12-08T15:17:02.072" v="103" actId="47"/>
        <pc:sldMkLst>
          <pc:docMk/>
          <pc:sldMk cId="312594172" sldId="298"/>
        </pc:sldMkLst>
      </pc:sldChg>
      <pc:sldChg chg="del">
        <pc:chgData name="Koksrud Andreas" userId="9d9beba6-c052-407a-8599-c781a677a996" providerId="ADAL" clId="{7956FAC5-41A0-4609-A911-62C4A829A2C4}" dt="2021-12-08T15:17:02.633" v="104" actId="47"/>
        <pc:sldMkLst>
          <pc:docMk/>
          <pc:sldMk cId="2755240579" sldId="299"/>
        </pc:sldMkLst>
      </pc:sldChg>
      <pc:sldChg chg="del">
        <pc:chgData name="Koksrud Andreas" userId="9d9beba6-c052-407a-8599-c781a677a996" providerId="ADAL" clId="{7956FAC5-41A0-4609-A911-62C4A829A2C4}" dt="2021-12-08T15:17:26.436" v="122" actId="47"/>
        <pc:sldMkLst>
          <pc:docMk/>
          <pc:sldMk cId="3134029436" sldId="300"/>
        </pc:sldMkLst>
      </pc:sldChg>
      <pc:sldChg chg="del">
        <pc:chgData name="Koksrud Andreas" userId="9d9beba6-c052-407a-8599-c781a677a996" providerId="ADAL" clId="{7956FAC5-41A0-4609-A911-62C4A829A2C4}" dt="2021-12-08T15:17:07.292" v="106" actId="47"/>
        <pc:sldMkLst>
          <pc:docMk/>
          <pc:sldMk cId="1764870061" sldId="302"/>
        </pc:sldMkLst>
      </pc:sldChg>
      <pc:sldChg chg="del">
        <pc:chgData name="Koksrud Andreas" userId="9d9beba6-c052-407a-8599-c781a677a996" providerId="ADAL" clId="{7956FAC5-41A0-4609-A911-62C4A829A2C4}" dt="2021-12-08T15:17:08.902" v="108" actId="47"/>
        <pc:sldMkLst>
          <pc:docMk/>
          <pc:sldMk cId="1114236349" sldId="303"/>
        </pc:sldMkLst>
      </pc:sldChg>
      <pc:sldChg chg="del">
        <pc:chgData name="Koksrud Andreas" userId="9d9beba6-c052-407a-8599-c781a677a996" providerId="ADAL" clId="{7956FAC5-41A0-4609-A911-62C4A829A2C4}" dt="2021-12-08T15:17:09.555" v="109" actId="47"/>
        <pc:sldMkLst>
          <pc:docMk/>
          <pc:sldMk cId="2366142093" sldId="304"/>
        </pc:sldMkLst>
      </pc:sldChg>
      <pc:sldChg chg="del">
        <pc:chgData name="Koksrud Andreas" userId="9d9beba6-c052-407a-8599-c781a677a996" providerId="ADAL" clId="{7956FAC5-41A0-4609-A911-62C4A829A2C4}" dt="2021-12-08T15:17:10.109" v="110" actId="47"/>
        <pc:sldMkLst>
          <pc:docMk/>
          <pc:sldMk cId="4218830267" sldId="306"/>
        </pc:sldMkLst>
      </pc:sldChg>
      <pc:sldChg chg="del">
        <pc:chgData name="Koksrud Andreas" userId="9d9beba6-c052-407a-8599-c781a677a996" providerId="ADAL" clId="{7956FAC5-41A0-4609-A911-62C4A829A2C4}" dt="2021-12-08T15:17:10.688" v="111" actId="47"/>
        <pc:sldMkLst>
          <pc:docMk/>
          <pc:sldMk cId="2431522764" sldId="311"/>
        </pc:sldMkLst>
      </pc:sldChg>
      <pc:sldChg chg="del">
        <pc:chgData name="Koksrud Andreas" userId="9d9beba6-c052-407a-8599-c781a677a996" providerId="ADAL" clId="{7956FAC5-41A0-4609-A911-62C4A829A2C4}" dt="2021-12-08T15:17:11.266" v="112" actId="47"/>
        <pc:sldMkLst>
          <pc:docMk/>
          <pc:sldMk cId="3505328169" sldId="312"/>
        </pc:sldMkLst>
      </pc:sldChg>
      <pc:sldChg chg="del">
        <pc:chgData name="Koksrud Andreas" userId="9d9beba6-c052-407a-8599-c781a677a996" providerId="ADAL" clId="{7956FAC5-41A0-4609-A911-62C4A829A2C4}" dt="2021-12-08T15:17:11.730" v="113" actId="47"/>
        <pc:sldMkLst>
          <pc:docMk/>
          <pc:sldMk cId="488657684" sldId="313"/>
        </pc:sldMkLst>
      </pc:sldChg>
      <pc:sldChg chg="del">
        <pc:chgData name="Koksrud Andreas" userId="9d9beba6-c052-407a-8599-c781a677a996" providerId="ADAL" clId="{7956FAC5-41A0-4609-A911-62C4A829A2C4}" dt="2021-12-08T15:17:30.540" v="123" actId="47"/>
        <pc:sldMkLst>
          <pc:docMk/>
          <pc:sldMk cId="2314019208" sldId="315"/>
        </pc:sldMkLst>
      </pc:sldChg>
      <pc:sldChg chg="del">
        <pc:chgData name="Koksrud Andreas" userId="9d9beba6-c052-407a-8599-c781a677a996" providerId="ADAL" clId="{7956FAC5-41A0-4609-A911-62C4A829A2C4}" dt="2021-12-08T15:17:12.167" v="114" actId="47"/>
        <pc:sldMkLst>
          <pc:docMk/>
          <pc:sldMk cId="541287524" sldId="316"/>
        </pc:sldMkLst>
      </pc:sldChg>
      <pc:sldChg chg="modSp mod">
        <pc:chgData name="Koksrud Andreas" userId="9d9beba6-c052-407a-8599-c781a677a996" providerId="ADAL" clId="{7956FAC5-41A0-4609-A911-62C4A829A2C4}" dt="2021-12-08T15:15:14.985" v="18" actId="20577"/>
        <pc:sldMkLst>
          <pc:docMk/>
          <pc:sldMk cId="697137886" sldId="679"/>
        </pc:sldMkLst>
        <pc:spChg chg="mod">
          <ac:chgData name="Koksrud Andreas" userId="9d9beba6-c052-407a-8599-c781a677a996" providerId="ADAL" clId="{7956FAC5-41A0-4609-A911-62C4A829A2C4}" dt="2021-12-08T15:15:14.985" v="18" actId="20577"/>
          <ac:spMkLst>
            <pc:docMk/>
            <pc:sldMk cId="697137886" sldId="679"/>
            <ac:spMk id="2" creationId="{00000000-0000-0000-0000-000000000000}"/>
          </ac:spMkLst>
        </pc:spChg>
      </pc:sldChg>
      <pc:sldChg chg="delSp modSp mod">
        <pc:chgData name="Koksrud Andreas" userId="9d9beba6-c052-407a-8599-c781a677a996" providerId="ADAL" clId="{7956FAC5-41A0-4609-A911-62C4A829A2C4}" dt="2021-12-08T15:16:01.811" v="55" actId="478"/>
        <pc:sldMkLst>
          <pc:docMk/>
          <pc:sldMk cId="2087783305" sldId="730"/>
        </pc:sldMkLst>
        <pc:spChg chg="mod">
          <ac:chgData name="Koksrud Andreas" userId="9d9beba6-c052-407a-8599-c781a677a996" providerId="ADAL" clId="{7956FAC5-41A0-4609-A911-62C4A829A2C4}" dt="2021-12-08T15:15:45.661" v="44" actId="20577"/>
          <ac:spMkLst>
            <pc:docMk/>
            <pc:sldMk cId="2087783305" sldId="730"/>
            <ac:spMk id="11" creationId="{618A10C5-431B-4229-87F2-69FEAE5298F3}"/>
          </ac:spMkLst>
        </pc:spChg>
        <pc:spChg chg="mod">
          <ac:chgData name="Koksrud Andreas" userId="9d9beba6-c052-407a-8599-c781a677a996" providerId="ADAL" clId="{7956FAC5-41A0-4609-A911-62C4A829A2C4}" dt="2021-12-08T15:15:48.738" v="51" actId="20577"/>
          <ac:spMkLst>
            <pc:docMk/>
            <pc:sldMk cId="2087783305" sldId="730"/>
            <ac:spMk id="12" creationId="{F4823D76-F745-416B-B271-20B77344DBD4}"/>
          </ac:spMkLst>
        </pc:spChg>
        <pc:spChg chg="mod">
          <ac:chgData name="Koksrud Andreas" userId="9d9beba6-c052-407a-8599-c781a677a996" providerId="ADAL" clId="{7956FAC5-41A0-4609-A911-62C4A829A2C4}" dt="2021-12-08T15:15:35.100" v="31" actId="20577"/>
          <ac:spMkLst>
            <pc:docMk/>
            <pc:sldMk cId="2087783305" sldId="730"/>
            <ac:spMk id="13" creationId="{65A2EA35-6E56-4E08-BAAC-9895D08AD256}"/>
          </ac:spMkLst>
        </pc:spChg>
        <pc:spChg chg="del">
          <ac:chgData name="Koksrud Andreas" userId="9d9beba6-c052-407a-8599-c781a677a996" providerId="ADAL" clId="{7956FAC5-41A0-4609-A911-62C4A829A2C4}" dt="2021-12-08T15:16:00.636" v="53" actId="478"/>
          <ac:spMkLst>
            <pc:docMk/>
            <pc:sldMk cId="2087783305" sldId="730"/>
            <ac:spMk id="15" creationId="{3C76393C-FC96-4E11-96C8-83D73865BFF3}"/>
          </ac:spMkLst>
        </pc:spChg>
        <pc:spChg chg="del">
          <ac:chgData name="Koksrud Andreas" userId="9d9beba6-c052-407a-8599-c781a677a996" providerId="ADAL" clId="{7956FAC5-41A0-4609-A911-62C4A829A2C4}" dt="2021-12-08T15:16:01.207" v="54" actId="478"/>
          <ac:spMkLst>
            <pc:docMk/>
            <pc:sldMk cId="2087783305" sldId="730"/>
            <ac:spMk id="16" creationId="{B7D7E413-8D33-460F-9286-2FF50DA438BA}"/>
          </ac:spMkLst>
        </pc:spChg>
        <pc:spChg chg="del">
          <ac:chgData name="Koksrud Andreas" userId="9d9beba6-c052-407a-8599-c781a677a996" providerId="ADAL" clId="{7956FAC5-41A0-4609-A911-62C4A829A2C4}" dt="2021-12-08T15:15:57.781" v="52" actId="478"/>
          <ac:spMkLst>
            <pc:docMk/>
            <pc:sldMk cId="2087783305" sldId="730"/>
            <ac:spMk id="17" creationId="{D313F849-693C-4168-A593-04E7F0D87DE1}"/>
          </ac:spMkLst>
        </pc:spChg>
        <pc:spChg chg="del">
          <ac:chgData name="Koksrud Andreas" userId="9d9beba6-c052-407a-8599-c781a677a996" providerId="ADAL" clId="{7956FAC5-41A0-4609-A911-62C4A829A2C4}" dt="2021-12-08T15:16:01.811" v="55" actId="478"/>
          <ac:spMkLst>
            <pc:docMk/>
            <pc:sldMk cId="2087783305" sldId="730"/>
            <ac:spMk id="18" creationId="{A3DD34F7-6ECE-4E5F-A04C-254F1D3C0EB6}"/>
          </ac:spMkLst>
        </pc:spChg>
      </pc:sldChg>
      <pc:sldChg chg="del">
        <pc:chgData name="Koksrud Andreas" userId="9d9beba6-c052-407a-8599-c781a677a996" providerId="ADAL" clId="{7956FAC5-41A0-4609-A911-62C4A829A2C4}" dt="2021-12-08T15:17:07.931" v="107" actId="47"/>
        <pc:sldMkLst>
          <pc:docMk/>
          <pc:sldMk cId="1184925497" sldId="732"/>
        </pc:sldMkLst>
      </pc:sldChg>
      <pc:sldChg chg="del">
        <pc:chgData name="Koksrud Andreas" userId="9d9beba6-c052-407a-8599-c781a677a996" providerId="ADAL" clId="{7956FAC5-41A0-4609-A911-62C4A829A2C4}" dt="2021-12-08T15:17:06.783" v="105" actId="47"/>
        <pc:sldMkLst>
          <pc:docMk/>
          <pc:sldMk cId="2202495698" sldId="733"/>
        </pc:sldMkLst>
      </pc:sldChg>
      <pc:sldChg chg="del">
        <pc:chgData name="Koksrud Andreas" userId="9d9beba6-c052-407a-8599-c781a677a996" providerId="ADAL" clId="{7956FAC5-41A0-4609-A911-62C4A829A2C4}" dt="2021-12-08T15:16:50.659" v="91" actId="47"/>
        <pc:sldMkLst>
          <pc:docMk/>
          <pc:sldMk cId="827763474" sldId="734"/>
        </pc:sldMkLst>
      </pc:sldChg>
      <pc:sldChg chg="del">
        <pc:chgData name="Koksrud Andreas" userId="9d9beba6-c052-407a-8599-c781a677a996" providerId="ADAL" clId="{7956FAC5-41A0-4609-A911-62C4A829A2C4}" dt="2021-12-08T15:17:12.652" v="115" actId="47"/>
        <pc:sldMkLst>
          <pc:docMk/>
          <pc:sldMk cId="1210415694" sldId="736"/>
        </pc:sldMkLst>
      </pc:sldChg>
      <pc:sldChg chg="del">
        <pc:chgData name="Koksrud Andreas" userId="9d9beba6-c052-407a-8599-c781a677a996" providerId="ADAL" clId="{7956FAC5-41A0-4609-A911-62C4A829A2C4}" dt="2021-12-08T15:17:13.245" v="116" actId="47"/>
        <pc:sldMkLst>
          <pc:docMk/>
          <pc:sldMk cId="2671092135" sldId="737"/>
        </pc:sldMkLst>
      </pc:sldChg>
      <pc:sldChg chg="del">
        <pc:chgData name="Koksrud Andreas" userId="9d9beba6-c052-407a-8599-c781a677a996" providerId="ADAL" clId="{7956FAC5-41A0-4609-A911-62C4A829A2C4}" dt="2021-12-08T15:17:13.831" v="117" actId="47"/>
        <pc:sldMkLst>
          <pc:docMk/>
          <pc:sldMk cId="862304365" sldId="738"/>
        </pc:sldMkLst>
      </pc:sldChg>
      <pc:sldChg chg="del">
        <pc:chgData name="Koksrud Andreas" userId="9d9beba6-c052-407a-8599-c781a677a996" providerId="ADAL" clId="{7956FAC5-41A0-4609-A911-62C4A829A2C4}" dt="2021-12-08T15:17:14.318" v="118" actId="47"/>
        <pc:sldMkLst>
          <pc:docMk/>
          <pc:sldMk cId="2173740" sldId="739"/>
        </pc:sldMkLst>
      </pc:sldChg>
      <pc:sldChg chg="del">
        <pc:chgData name="Koksrud Andreas" userId="9d9beba6-c052-407a-8599-c781a677a996" providerId="ADAL" clId="{7956FAC5-41A0-4609-A911-62C4A829A2C4}" dt="2021-12-08T15:17:14.863" v="119" actId="47"/>
        <pc:sldMkLst>
          <pc:docMk/>
          <pc:sldMk cId="4010697748" sldId="740"/>
        </pc:sldMkLst>
      </pc:sldChg>
      <pc:sldChg chg="modSp del mod">
        <pc:chgData name="Koksrud Andreas" userId="9d9beba6-c052-407a-8599-c781a677a996" providerId="ADAL" clId="{7956FAC5-41A0-4609-A911-62C4A829A2C4}" dt="2021-12-08T15:19:19.769" v="193" actId="47"/>
        <pc:sldMkLst>
          <pc:docMk/>
          <pc:sldMk cId="2876860209" sldId="741"/>
        </pc:sldMkLst>
        <pc:spChg chg="mod">
          <ac:chgData name="Koksrud Andreas" userId="9d9beba6-c052-407a-8599-c781a677a996" providerId="ADAL" clId="{7956FAC5-41A0-4609-A911-62C4A829A2C4}" dt="2021-12-08T15:18:04.780" v="149" actId="20577"/>
          <ac:spMkLst>
            <pc:docMk/>
            <pc:sldMk cId="2876860209" sldId="741"/>
            <ac:spMk id="126" creationId="{BD2D9D3E-0A1E-4AC3-979E-48547F484027}"/>
          </ac:spMkLst>
        </pc:spChg>
        <pc:spChg chg="mod">
          <ac:chgData name="Koksrud Andreas" userId="9d9beba6-c052-407a-8599-c781a677a996" providerId="ADAL" clId="{7956FAC5-41A0-4609-A911-62C4A829A2C4}" dt="2021-12-08T15:17:57.781" v="134" actId="20577"/>
          <ac:spMkLst>
            <pc:docMk/>
            <pc:sldMk cId="2876860209" sldId="741"/>
            <ac:spMk id="180" creationId="{00000000-0000-0000-0000-000000000000}"/>
          </ac:spMkLst>
        </pc:spChg>
        <pc:spChg chg="mod">
          <ac:chgData name="Koksrud Andreas" userId="9d9beba6-c052-407a-8599-c781a677a996" providerId="ADAL" clId="{7956FAC5-41A0-4609-A911-62C4A829A2C4}" dt="2021-12-08T15:18:15.143" v="159" actId="20577"/>
          <ac:spMkLst>
            <pc:docMk/>
            <pc:sldMk cId="2876860209" sldId="741"/>
            <ac:spMk id="181" creationId="{00000000-0000-0000-0000-000000000000}"/>
          </ac:spMkLst>
        </pc:spChg>
      </pc:sldChg>
      <pc:sldChg chg="del">
        <pc:chgData name="Koksrud Andreas" userId="9d9beba6-c052-407a-8599-c781a677a996" providerId="ADAL" clId="{7956FAC5-41A0-4609-A911-62C4A829A2C4}" dt="2021-12-08T15:17:40.438" v="124" actId="47"/>
        <pc:sldMkLst>
          <pc:docMk/>
          <pc:sldMk cId="587894895" sldId="742"/>
        </pc:sldMkLst>
      </pc:sldChg>
      <pc:sldChg chg="add del">
        <pc:chgData name="Koksrud Andreas" userId="9d9beba6-c052-407a-8599-c781a677a996" providerId="ADAL" clId="{7956FAC5-41A0-4609-A911-62C4A829A2C4}" dt="2021-12-08T15:19:20.021" v="194" actId="47"/>
        <pc:sldMkLst>
          <pc:docMk/>
          <pc:sldMk cId="2943518614" sldId="742"/>
        </pc:sldMkLst>
      </pc:sldChg>
      <pc:sldChg chg="add del">
        <pc:chgData name="Koksrud Andreas" userId="9d9beba6-c052-407a-8599-c781a677a996" providerId="ADAL" clId="{7956FAC5-41A0-4609-A911-62C4A829A2C4}" dt="2021-12-08T15:19:20.605" v="195" actId="47"/>
        <pc:sldMkLst>
          <pc:docMk/>
          <pc:sldMk cId="4262138407" sldId="743"/>
        </pc:sldMkLst>
      </pc:sldChg>
      <pc:sldChg chg="add del">
        <pc:chgData name="Koksrud Andreas" userId="9d9beba6-c052-407a-8599-c781a677a996" providerId="ADAL" clId="{7956FAC5-41A0-4609-A911-62C4A829A2C4}" dt="2021-12-08T15:19:20.829" v="196" actId="47"/>
        <pc:sldMkLst>
          <pc:docMk/>
          <pc:sldMk cId="1225091722" sldId="744"/>
        </pc:sldMkLst>
      </pc:sldChg>
      <pc:sldChg chg="add del">
        <pc:chgData name="Koksrud Andreas" userId="9d9beba6-c052-407a-8599-c781a677a996" providerId="ADAL" clId="{7956FAC5-41A0-4609-A911-62C4A829A2C4}" dt="2021-12-08T15:19:21.054" v="197" actId="47"/>
        <pc:sldMkLst>
          <pc:docMk/>
          <pc:sldMk cId="550561932" sldId="745"/>
        </pc:sldMkLst>
      </pc:sldChg>
      <pc:sldChg chg="add del">
        <pc:chgData name="Koksrud Andreas" userId="9d9beba6-c052-407a-8599-c781a677a996" providerId="ADAL" clId="{7956FAC5-41A0-4609-A911-62C4A829A2C4}" dt="2021-12-08T15:19:21.228" v="198" actId="47"/>
        <pc:sldMkLst>
          <pc:docMk/>
          <pc:sldMk cId="1761088982" sldId="746"/>
        </pc:sldMkLst>
      </pc:sldChg>
      <pc:sldChg chg="add del">
        <pc:chgData name="Koksrud Andreas" userId="9d9beba6-c052-407a-8599-c781a677a996" providerId="ADAL" clId="{7956FAC5-41A0-4609-A911-62C4A829A2C4}" dt="2021-12-08T15:19:21.638" v="199" actId="47"/>
        <pc:sldMkLst>
          <pc:docMk/>
          <pc:sldMk cId="871342142" sldId="747"/>
        </pc:sldMkLst>
      </pc:sldChg>
      <pc:sldChg chg="add del">
        <pc:chgData name="Koksrud Andreas" userId="9d9beba6-c052-407a-8599-c781a677a996" providerId="ADAL" clId="{7956FAC5-41A0-4609-A911-62C4A829A2C4}" dt="2021-12-08T15:19:22.001" v="200" actId="47"/>
        <pc:sldMkLst>
          <pc:docMk/>
          <pc:sldMk cId="854509214" sldId="748"/>
        </pc:sldMkLst>
      </pc:sldChg>
      <pc:sldChg chg="add del">
        <pc:chgData name="Koksrud Andreas" userId="9d9beba6-c052-407a-8599-c781a677a996" providerId="ADAL" clId="{7956FAC5-41A0-4609-A911-62C4A829A2C4}" dt="2021-12-08T15:19:22.293" v="201" actId="47"/>
        <pc:sldMkLst>
          <pc:docMk/>
          <pc:sldMk cId="1868890099" sldId="749"/>
        </pc:sldMkLst>
      </pc:sldChg>
      <pc:sldChg chg="add del">
        <pc:chgData name="Koksrud Andreas" userId="9d9beba6-c052-407a-8599-c781a677a996" providerId="ADAL" clId="{7956FAC5-41A0-4609-A911-62C4A829A2C4}" dt="2021-12-08T15:19:22.722" v="202" actId="47"/>
        <pc:sldMkLst>
          <pc:docMk/>
          <pc:sldMk cId="1906560191" sldId="750"/>
        </pc:sldMkLst>
      </pc:sldChg>
      <pc:sldChg chg="add del">
        <pc:chgData name="Koksrud Andreas" userId="9d9beba6-c052-407a-8599-c781a677a996" providerId="ADAL" clId="{7956FAC5-41A0-4609-A911-62C4A829A2C4}" dt="2021-12-08T15:19:23.008" v="203" actId="47"/>
        <pc:sldMkLst>
          <pc:docMk/>
          <pc:sldMk cId="984105003" sldId="751"/>
        </pc:sldMkLst>
      </pc:sldChg>
      <pc:sldChg chg="add del">
        <pc:chgData name="Koksrud Andreas" userId="9d9beba6-c052-407a-8599-c781a677a996" providerId="ADAL" clId="{7956FAC5-41A0-4609-A911-62C4A829A2C4}" dt="2021-12-08T15:19:23.372" v="204" actId="47"/>
        <pc:sldMkLst>
          <pc:docMk/>
          <pc:sldMk cId="73400914" sldId="752"/>
        </pc:sldMkLst>
      </pc:sldChg>
      <pc:sldChg chg="add del">
        <pc:chgData name="Koksrud Andreas" userId="9d9beba6-c052-407a-8599-c781a677a996" providerId="ADAL" clId="{7956FAC5-41A0-4609-A911-62C4A829A2C4}" dt="2021-12-08T15:19:23.713" v="205" actId="47"/>
        <pc:sldMkLst>
          <pc:docMk/>
          <pc:sldMk cId="1061761218" sldId="753"/>
        </pc:sldMkLst>
      </pc:sldChg>
      <pc:sldChg chg="add del">
        <pc:chgData name="Koksrud Andreas" userId="9d9beba6-c052-407a-8599-c781a677a996" providerId="ADAL" clId="{7956FAC5-41A0-4609-A911-62C4A829A2C4}" dt="2021-12-08T15:19:23.927" v="206" actId="47"/>
        <pc:sldMkLst>
          <pc:docMk/>
          <pc:sldMk cId="3301308958" sldId="754"/>
        </pc:sldMkLst>
      </pc:sldChg>
      <pc:sldChg chg="add del">
        <pc:chgData name="Koksrud Andreas" userId="9d9beba6-c052-407a-8599-c781a677a996" providerId="ADAL" clId="{7956FAC5-41A0-4609-A911-62C4A829A2C4}" dt="2021-12-08T15:19:24.697" v="207" actId="47"/>
        <pc:sldMkLst>
          <pc:docMk/>
          <pc:sldMk cId="1916156686" sldId="755"/>
        </pc:sldMkLst>
      </pc:sldChg>
      <pc:sldChg chg="addSp delSp modSp add mod ord">
        <pc:chgData name="Koksrud Andreas" userId="9d9beba6-c052-407a-8599-c781a677a996" providerId="ADAL" clId="{7956FAC5-41A0-4609-A911-62C4A829A2C4}" dt="2021-12-08T15:22:13.261" v="567" actId="20577"/>
        <pc:sldMkLst>
          <pc:docMk/>
          <pc:sldMk cId="662028914" sldId="756"/>
        </pc:sldMkLst>
        <pc:spChg chg="add del mod">
          <ac:chgData name="Koksrud Andreas" userId="9d9beba6-c052-407a-8599-c781a677a996" providerId="ADAL" clId="{7956FAC5-41A0-4609-A911-62C4A829A2C4}" dt="2021-12-08T15:19:10.581" v="191" actId="478"/>
          <ac:spMkLst>
            <pc:docMk/>
            <pc:sldMk cId="662028914" sldId="756"/>
            <ac:spMk id="3" creationId="{EDD438C6-BD97-4B78-BD93-F1793E7AB559}"/>
          </ac:spMkLst>
        </pc:spChg>
        <pc:spChg chg="del">
          <ac:chgData name="Koksrud Andreas" userId="9d9beba6-c052-407a-8599-c781a677a996" providerId="ADAL" clId="{7956FAC5-41A0-4609-A911-62C4A829A2C4}" dt="2021-12-08T15:19:09.091" v="190" actId="478"/>
          <ac:spMkLst>
            <pc:docMk/>
            <pc:sldMk cId="662028914" sldId="756"/>
            <ac:spMk id="126" creationId="{BD2D9D3E-0A1E-4AC3-979E-48547F484027}"/>
          </ac:spMkLst>
        </pc:spChg>
        <pc:spChg chg="mod">
          <ac:chgData name="Koksrud Andreas" userId="9d9beba6-c052-407a-8599-c781a677a996" providerId="ADAL" clId="{7956FAC5-41A0-4609-A911-62C4A829A2C4}" dt="2021-12-08T15:18:29.330" v="187" actId="20577"/>
          <ac:spMkLst>
            <pc:docMk/>
            <pc:sldMk cId="662028914" sldId="756"/>
            <ac:spMk id="180" creationId="{00000000-0000-0000-0000-000000000000}"/>
          </ac:spMkLst>
        </pc:spChg>
        <pc:spChg chg="mod">
          <ac:chgData name="Koksrud Andreas" userId="9d9beba6-c052-407a-8599-c781a677a996" providerId="ADAL" clId="{7956FAC5-41A0-4609-A911-62C4A829A2C4}" dt="2021-12-08T15:22:13.261" v="567" actId="20577"/>
          <ac:spMkLst>
            <pc:docMk/>
            <pc:sldMk cId="662028914" sldId="756"/>
            <ac:spMk id="181" creationId="{00000000-0000-0000-0000-000000000000}"/>
          </ac:spMkLst>
        </pc:spChg>
      </pc:sldChg>
      <pc:sldChg chg="modSp add mod">
        <pc:chgData name="Koksrud Andreas" userId="9d9beba6-c052-407a-8599-c781a677a996" providerId="ADAL" clId="{7956FAC5-41A0-4609-A911-62C4A829A2C4}" dt="2021-12-08T15:23:01.488" v="715" actId="20577"/>
        <pc:sldMkLst>
          <pc:docMk/>
          <pc:sldMk cId="396736890" sldId="757"/>
        </pc:sldMkLst>
        <pc:spChg chg="mod">
          <ac:chgData name="Koksrud Andreas" userId="9d9beba6-c052-407a-8599-c781a677a996" providerId="ADAL" clId="{7956FAC5-41A0-4609-A911-62C4A829A2C4}" dt="2021-12-08T15:22:43.141" v="610" actId="20577"/>
          <ac:spMkLst>
            <pc:docMk/>
            <pc:sldMk cId="396736890" sldId="757"/>
            <ac:spMk id="180" creationId="{00000000-0000-0000-0000-000000000000}"/>
          </ac:spMkLst>
        </pc:spChg>
        <pc:spChg chg="mod">
          <ac:chgData name="Koksrud Andreas" userId="9d9beba6-c052-407a-8599-c781a677a996" providerId="ADAL" clId="{7956FAC5-41A0-4609-A911-62C4A829A2C4}" dt="2021-12-08T15:23:01.488" v="715" actId="20577"/>
          <ac:spMkLst>
            <pc:docMk/>
            <pc:sldMk cId="396736890" sldId="757"/>
            <ac:spMk id="181" creationId="{00000000-0000-0000-0000-000000000000}"/>
          </ac:spMkLst>
        </pc:spChg>
      </pc:sldChg>
      <pc:sldChg chg="modSp add mod">
        <pc:chgData name="Koksrud Andreas" userId="9d9beba6-c052-407a-8599-c781a677a996" providerId="ADAL" clId="{7956FAC5-41A0-4609-A911-62C4A829A2C4}" dt="2021-12-08T15:26:06.674" v="1273" actId="20577"/>
        <pc:sldMkLst>
          <pc:docMk/>
          <pc:sldMk cId="2706780473" sldId="758"/>
        </pc:sldMkLst>
        <pc:spChg chg="mod">
          <ac:chgData name="Koksrud Andreas" userId="9d9beba6-c052-407a-8599-c781a677a996" providerId="ADAL" clId="{7956FAC5-41A0-4609-A911-62C4A829A2C4}" dt="2021-12-08T15:23:18.391" v="753" actId="20577"/>
          <ac:spMkLst>
            <pc:docMk/>
            <pc:sldMk cId="2706780473" sldId="758"/>
            <ac:spMk id="180" creationId="{00000000-0000-0000-0000-000000000000}"/>
          </ac:spMkLst>
        </pc:spChg>
        <pc:spChg chg="mod">
          <ac:chgData name="Koksrud Andreas" userId="9d9beba6-c052-407a-8599-c781a677a996" providerId="ADAL" clId="{7956FAC5-41A0-4609-A911-62C4A829A2C4}" dt="2021-12-08T15:26:06.674" v="1273" actId="20577"/>
          <ac:spMkLst>
            <pc:docMk/>
            <pc:sldMk cId="2706780473" sldId="758"/>
            <ac:spMk id="181" creationId="{00000000-0000-0000-0000-000000000000}"/>
          </ac:spMkLst>
        </pc:spChg>
      </pc:sldChg>
      <pc:sldChg chg="modSp add mod">
        <pc:chgData name="Koksrud Andreas" userId="9d9beba6-c052-407a-8599-c781a677a996" providerId="ADAL" clId="{7956FAC5-41A0-4609-A911-62C4A829A2C4}" dt="2021-12-08T15:27:51.679" v="1670" actId="20577"/>
        <pc:sldMkLst>
          <pc:docMk/>
          <pc:sldMk cId="2616277657" sldId="759"/>
        </pc:sldMkLst>
        <pc:spChg chg="mod">
          <ac:chgData name="Koksrud Andreas" userId="9d9beba6-c052-407a-8599-c781a677a996" providerId="ADAL" clId="{7956FAC5-41A0-4609-A911-62C4A829A2C4}" dt="2021-12-08T15:26:25.173" v="1331" actId="20577"/>
          <ac:spMkLst>
            <pc:docMk/>
            <pc:sldMk cId="2616277657" sldId="759"/>
            <ac:spMk id="180" creationId="{00000000-0000-0000-0000-000000000000}"/>
          </ac:spMkLst>
        </pc:spChg>
        <pc:spChg chg="mod">
          <ac:chgData name="Koksrud Andreas" userId="9d9beba6-c052-407a-8599-c781a677a996" providerId="ADAL" clId="{7956FAC5-41A0-4609-A911-62C4A829A2C4}" dt="2021-12-08T15:27:51.679" v="1670" actId="20577"/>
          <ac:spMkLst>
            <pc:docMk/>
            <pc:sldMk cId="2616277657" sldId="759"/>
            <ac:spMk id="181" creationId="{00000000-0000-0000-0000-000000000000}"/>
          </ac:spMkLst>
        </pc:spChg>
      </pc:sldChg>
      <pc:sldChg chg="modSp add mod">
        <pc:chgData name="Koksrud Andreas" userId="9d9beba6-c052-407a-8599-c781a677a996" providerId="ADAL" clId="{7956FAC5-41A0-4609-A911-62C4A829A2C4}" dt="2021-12-08T15:28:24.282" v="1753" actId="20577"/>
        <pc:sldMkLst>
          <pc:docMk/>
          <pc:sldMk cId="1725751202" sldId="760"/>
        </pc:sldMkLst>
        <pc:spChg chg="mod">
          <ac:chgData name="Koksrud Andreas" userId="9d9beba6-c052-407a-8599-c781a677a996" providerId="ADAL" clId="{7956FAC5-41A0-4609-A911-62C4A829A2C4}" dt="2021-12-08T15:28:17.934" v="1723" actId="20577"/>
          <ac:spMkLst>
            <pc:docMk/>
            <pc:sldMk cId="1725751202" sldId="760"/>
            <ac:spMk id="180" creationId="{00000000-0000-0000-0000-000000000000}"/>
          </ac:spMkLst>
        </pc:spChg>
        <pc:spChg chg="mod">
          <ac:chgData name="Koksrud Andreas" userId="9d9beba6-c052-407a-8599-c781a677a996" providerId="ADAL" clId="{7956FAC5-41A0-4609-A911-62C4A829A2C4}" dt="2021-12-08T15:28:24.282" v="1753" actId="20577"/>
          <ac:spMkLst>
            <pc:docMk/>
            <pc:sldMk cId="1725751202" sldId="760"/>
            <ac:spMk id="181" creationId="{00000000-0000-0000-0000-000000000000}"/>
          </ac:spMkLst>
        </pc:spChg>
      </pc:sldChg>
      <pc:sldChg chg="modSp add mod">
        <pc:chgData name="Koksrud Andreas" userId="9d9beba6-c052-407a-8599-c781a677a996" providerId="ADAL" clId="{7956FAC5-41A0-4609-A911-62C4A829A2C4}" dt="2021-12-08T15:31:06.211" v="2127" actId="20577"/>
        <pc:sldMkLst>
          <pc:docMk/>
          <pc:sldMk cId="1019764475" sldId="761"/>
        </pc:sldMkLst>
        <pc:spChg chg="mod">
          <ac:chgData name="Koksrud Andreas" userId="9d9beba6-c052-407a-8599-c781a677a996" providerId="ADAL" clId="{7956FAC5-41A0-4609-A911-62C4A829A2C4}" dt="2021-12-08T15:29:56.837" v="1881" actId="20577"/>
          <ac:spMkLst>
            <pc:docMk/>
            <pc:sldMk cId="1019764475" sldId="761"/>
            <ac:spMk id="180" creationId="{00000000-0000-0000-0000-000000000000}"/>
          </ac:spMkLst>
        </pc:spChg>
        <pc:spChg chg="mod">
          <ac:chgData name="Koksrud Andreas" userId="9d9beba6-c052-407a-8599-c781a677a996" providerId="ADAL" clId="{7956FAC5-41A0-4609-A911-62C4A829A2C4}" dt="2021-12-08T15:31:06.211" v="2127" actId="20577"/>
          <ac:spMkLst>
            <pc:docMk/>
            <pc:sldMk cId="1019764475" sldId="761"/>
            <ac:spMk id="181" creationId="{00000000-0000-0000-0000-000000000000}"/>
          </ac:spMkLst>
        </pc:spChg>
      </pc:sldChg>
      <pc:sldChg chg="modSp add mod">
        <pc:chgData name="Koksrud Andreas" userId="9d9beba6-c052-407a-8599-c781a677a996" providerId="ADAL" clId="{7956FAC5-41A0-4609-A911-62C4A829A2C4}" dt="2021-12-08T15:46:10.481" v="2512" actId="20577"/>
        <pc:sldMkLst>
          <pc:docMk/>
          <pc:sldMk cId="451449259" sldId="762"/>
        </pc:sldMkLst>
        <pc:spChg chg="mod">
          <ac:chgData name="Koksrud Andreas" userId="9d9beba6-c052-407a-8599-c781a677a996" providerId="ADAL" clId="{7956FAC5-41A0-4609-A911-62C4A829A2C4}" dt="2021-12-08T15:45:38.550" v="2422" actId="20577"/>
          <ac:spMkLst>
            <pc:docMk/>
            <pc:sldMk cId="451449259" sldId="762"/>
            <ac:spMk id="180" creationId="{00000000-0000-0000-0000-000000000000}"/>
          </ac:spMkLst>
        </pc:spChg>
        <pc:spChg chg="mod">
          <ac:chgData name="Koksrud Andreas" userId="9d9beba6-c052-407a-8599-c781a677a996" providerId="ADAL" clId="{7956FAC5-41A0-4609-A911-62C4A829A2C4}" dt="2021-12-08T15:46:10.481" v="2512" actId="20577"/>
          <ac:spMkLst>
            <pc:docMk/>
            <pc:sldMk cId="451449259" sldId="762"/>
            <ac:spMk id="181" creationId="{00000000-0000-0000-0000-000000000000}"/>
          </ac:spMkLst>
        </pc:spChg>
      </pc:sldChg>
      <pc:sldChg chg="modSp add mod">
        <pc:chgData name="Koksrud Andreas" userId="9d9beba6-c052-407a-8599-c781a677a996" providerId="ADAL" clId="{7956FAC5-41A0-4609-A911-62C4A829A2C4}" dt="2021-12-15T14:47:37.279" v="4058" actId="20577"/>
        <pc:sldMkLst>
          <pc:docMk/>
          <pc:sldMk cId="1523800458" sldId="763"/>
        </pc:sldMkLst>
        <pc:spChg chg="mod">
          <ac:chgData name="Koksrud Andreas" userId="9d9beba6-c052-407a-8599-c781a677a996" providerId="ADAL" clId="{7956FAC5-41A0-4609-A911-62C4A829A2C4}" dt="2021-12-15T14:47:37.279" v="4058" actId="20577"/>
          <ac:spMkLst>
            <pc:docMk/>
            <pc:sldMk cId="1523800458" sldId="763"/>
            <ac:spMk id="180" creationId="{00000000-0000-0000-0000-000000000000}"/>
          </ac:spMkLst>
        </pc:spChg>
        <pc:spChg chg="mod">
          <ac:chgData name="Koksrud Andreas" userId="9d9beba6-c052-407a-8599-c781a677a996" providerId="ADAL" clId="{7956FAC5-41A0-4609-A911-62C4A829A2C4}" dt="2021-12-09T11:55:09.861" v="2557" actId="20577"/>
          <ac:spMkLst>
            <pc:docMk/>
            <pc:sldMk cId="1523800458" sldId="763"/>
            <ac:spMk id="181" creationId="{00000000-0000-0000-0000-000000000000}"/>
          </ac:spMkLst>
        </pc:spChg>
      </pc:sldChg>
      <pc:sldChg chg="modSp add mod">
        <pc:chgData name="Koksrud Andreas" userId="9d9beba6-c052-407a-8599-c781a677a996" providerId="ADAL" clId="{7956FAC5-41A0-4609-A911-62C4A829A2C4}" dt="2021-12-08T15:29:40.970" v="1858" actId="20577"/>
        <pc:sldMkLst>
          <pc:docMk/>
          <pc:sldMk cId="1963101599" sldId="764"/>
        </pc:sldMkLst>
        <pc:spChg chg="mod">
          <ac:chgData name="Koksrud Andreas" userId="9d9beba6-c052-407a-8599-c781a677a996" providerId="ADAL" clId="{7956FAC5-41A0-4609-A911-62C4A829A2C4}" dt="2021-12-08T15:29:40.970" v="1858" actId="20577"/>
          <ac:spMkLst>
            <pc:docMk/>
            <pc:sldMk cId="1963101599" sldId="764"/>
            <ac:spMk id="181" creationId="{00000000-0000-0000-0000-000000000000}"/>
          </ac:spMkLst>
        </pc:spChg>
      </pc:sldChg>
      <pc:sldChg chg="modSp add mod">
        <pc:chgData name="Koksrud Andreas" userId="9d9beba6-c052-407a-8599-c781a677a996" providerId="ADAL" clId="{7956FAC5-41A0-4609-A911-62C4A829A2C4}" dt="2021-12-08T15:46:35.006" v="2523" actId="20577"/>
        <pc:sldMkLst>
          <pc:docMk/>
          <pc:sldMk cId="1133620909" sldId="765"/>
        </pc:sldMkLst>
        <pc:spChg chg="mod">
          <ac:chgData name="Koksrud Andreas" userId="9d9beba6-c052-407a-8599-c781a677a996" providerId="ADAL" clId="{7956FAC5-41A0-4609-A911-62C4A829A2C4}" dt="2021-12-08T15:46:35.006" v="2523" actId="20577"/>
          <ac:spMkLst>
            <pc:docMk/>
            <pc:sldMk cId="1133620909" sldId="765"/>
            <ac:spMk id="181" creationId="{00000000-0000-0000-0000-000000000000}"/>
          </ac:spMkLst>
        </pc:spChg>
      </pc:sldChg>
      <pc:sldChg chg="modSp add mod ord">
        <pc:chgData name="Koksrud Andreas" userId="9d9beba6-c052-407a-8599-c781a677a996" providerId="ADAL" clId="{7956FAC5-41A0-4609-A911-62C4A829A2C4}" dt="2021-12-15T14:40:35.627" v="3201" actId="20577"/>
        <pc:sldMkLst>
          <pc:docMk/>
          <pc:sldMk cId="2033200031" sldId="766"/>
        </pc:sldMkLst>
        <pc:spChg chg="mod">
          <ac:chgData name="Koksrud Andreas" userId="9d9beba6-c052-407a-8599-c781a677a996" providerId="ADAL" clId="{7956FAC5-41A0-4609-A911-62C4A829A2C4}" dt="2021-12-15T14:40:35.627" v="3201" actId="20577"/>
          <ac:spMkLst>
            <pc:docMk/>
            <pc:sldMk cId="2033200031" sldId="766"/>
            <ac:spMk id="180" creationId="{00000000-0000-0000-0000-000000000000}"/>
          </ac:spMkLst>
        </pc:spChg>
        <pc:spChg chg="mod">
          <ac:chgData name="Koksrud Andreas" userId="9d9beba6-c052-407a-8599-c781a677a996" providerId="ADAL" clId="{7956FAC5-41A0-4609-A911-62C4A829A2C4}" dt="2021-12-15T14:40:13.574" v="3173" actId="20577"/>
          <ac:spMkLst>
            <pc:docMk/>
            <pc:sldMk cId="2033200031" sldId="766"/>
            <ac:spMk id="181" creationId="{00000000-0000-0000-0000-000000000000}"/>
          </ac:spMkLst>
        </pc:spChg>
      </pc:sldChg>
      <pc:sldChg chg="modSp add mod">
        <pc:chgData name="Koksrud Andreas" userId="9d9beba6-c052-407a-8599-c781a677a996" providerId="ADAL" clId="{7956FAC5-41A0-4609-A911-62C4A829A2C4}" dt="2021-12-14T14:02:35.219" v="2743" actId="20577"/>
        <pc:sldMkLst>
          <pc:docMk/>
          <pc:sldMk cId="3428711004" sldId="767"/>
        </pc:sldMkLst>
        <pc:spChg chg="mod">
          <ac:chgData name="Koksrud Andreas" userId="9d9beba6-c052-407a-8599-c781a677a996" providerId="ADAL" clId="{7956FAC5-41A0-4609-A911-62C4A829A2C4}" dt="2021-12-14T14:02:35.219" v="2743" actId="20577"/>
          <ac:spMkLst>
            <pc:docMk/>
            <pc:sldMk cId="3428711004" sldId="767"/>
            <ac:spMk id="181" creationId="{00000000-0000-0000-0000-000000000000}"/>
          </ac:spMkLst>
        </pc:spChg>
      </pc:sldChg>
      <pc:sldChg chg="modSp add mod">
        <pc:chgData name="Koksrud Andreas" userId="9d9beba6-c052-407a-8599-c781a677a996" providerId="ADAL" clId="{7956FAC5-41A0-4609-A911-62C4A829A2C4}" dt="2021-12-14T14:03:23.014" v="2914" actId="20577"/>
        <pc:sldMkLst>
          <pc:docMk/>
          <pc:sldMk cId="1456486215" sldId="768"/>
        </pc:sldMkLst>
        <pc:spChg chg="mod">
          <ac:chgData name="Koksrud Andreas" userId="9d9beba6-c052-407a-8599-c781a677a996" providerId="ADAL" clId="{7956FAC5-41A0-4609-A911-62C4A829A2C4}" dt="2021-12-14T14:03:23.014" v="2914" actId="20577"/>
          <ac:spMkLst>
            <pc:docMk/>
            <pc:sldMk cId="1456486215" sldId="768"/>
            <ac:spMk id="181" creationId="{00000000-0000-0000-0000-000000000000}"/>
          </ac:spMkLst>
        </pc:spChg>
      </pc:sldChg>
      <pc:sldChg chg="modSp add mod">
        <pc:chgData name="Koksrud Andreas" userId="9d9beba6-c052-407a-8599-c781a677a996" providerId="ADAL" clId="{7956FAC5-41A0-4609-A911-62C4A829A2C4}" dt="2021-12-15T14:41:34.771" v="3300" actId="20577"/>
        <pc:sldMkLst>
          <pc:docMk/>
          <pc:sldMk cId="1313933673" sldId="769"/>
        </pc:sldMkLst>
        <pc:spChg chg="mod">
          <ac:chgData name="Koksrud Andreas" userId="9d9beba6-c052-407a-8599-c781a677a996" providerId="ADAL" clId="{7956FAC5-41A0-4609-A911-62C4A829A2C4}" dt="2021-12-15T14:40:40.665" v="3218" actId="20577"/>
          <ac:spMkLst>
            <pc:docMk/>
            <pc:sldMk cId="1313933673" sldId="769"/>
            <ac:spMk id="180" creationId="{00000000-0000-0000-0000-000000000000}"/>
          </ac:spMkLst>
        </pc:spChg>
        <pc:spChg chg="mod">
          <ac:chgData name="Koksrud Andreas" userId="9d9beba6-c052-407a-8599-c781a677a996" providerId="ADAL" clId="{7956FAC5-41A0-4609-A911-62C4A829A2C4}" dt="2021-12-15T14:41:34.771" v="3300" actId="20577"/>
          <ac:spMkLst>
            <pc:docMk/>
            <pc:sldMk cId="1313933673" sldId="769"/>
            <ac:spMk id="181" creationId="{00000000-0000-0000-0000-000000000000}"/>
          </ac:spMkLst>
        </pc:spChg>
      </pc:sldChg>
      <pc:sldChg chg="modSp add mod">
        <pc:chgData name="Koksrud Andreas" userId="9d9beba6-c052-407a-8599-c781a677a996" providerId="ADAL" clId="{7956FAC5-41A0-4609-A911-62C4A829A2C4}" dt="2021-12-15T14:43:40.489" v="3492" actId="20577"/>
        <pc:sldMkLst>
          <pc:docMk/>
          <pc:sldMk cId="284321844" sldId="770"/>
        </pc:sldMkLst>
        <pc:spChg chg="mod">
          <ac:chgData name="Koksrud Andreas" userId="9d9beba6-c052-407a-8599-c781a677a996" providerId="ADAL" clId="{7956FAC5-41A0-4609-A911-62C4A829A2C4}" dt="2021-12-15T14:41:47.673" v="3326" actId="20577"/>
          <ac:spMkLst>
            <pc:docMk/>
            <pc:sldMk cId="284321844" sldId="770"/>
            <ac:spMk id="180" creationId="{00000000-0000-0000-0000-000000000000}"/>
          </ac:spMkLst>
        </pc:spChg>
        <pc:spChg chg="mod">
          <ac:chgData name="Koksrud Andreas" userId="9d9beba6-c052-407a-8599-c781a677a996" providerId="ADAL" clId="{7956FAC5-41A0-4609-A911-62C4A829A2C4}" dt="2021-12-15T14:43:40.489" v="3492" actId="20577"/>
          <ac:spMkLst>
            <pc:docMk/>
            <pc:sldMk cId="284321844" sldId="770"/>
            <ac:spMk id="181" creationId="{00000000-0000-0000-0000-000000000000}"/>
          </ac:spMkLst>
        </pc:spChg>
      </pc:sldChg>
      <pc:sldChg chg="modSp add mod">
        <pc:chgData name="Koksrud Andreas" userId="9d9beba6-c052-407a-8599-c781a677a996" providerId="ADAL" clId="{7956FAC5-41A0-4609-A911-62C4A829A2C4}" dt="2021-12-15T14:44:15.258" v="3612" actId="20577"/>
        <pc:sldMkLst>
          <pc:docMk/>
          <pc:sldMk cId="3521944309" sldId="771"/>
        </pc:sldMkLst>
        <pc:spChg chg="mod">
          <ac:chgData name="Koksrud Andreas" userId="9d9beba6-c052-407a-8599-c781a677a996" providerId="ADAL" clId="{7956FAC5-41A0-4609-A911-62C4A829A2C4}" dt="2021-12-15T14:43:59.377" v="3521" actId="20577"/>
          <ac:spMkLst>
            <pc:docMk/>
            <pc:sldMk cId="3521944309" sldId="771"/>
            <ac:spMk id="180" creationId="{00000000-0000-0000-0000-000000000000}"/>
          </ac:spMkLst>
        </pc:spChg>
        <pc:spChg chg="mod">
          <ac:chgData name="Koksrud Andreas" userId="9d9beba6-c052-407a-8599-c781a677a996" providerId="ADAL" clId="{7956FAC5-41A0-4609-A911-62C4A829A2C4}" dt="2021-12-15T14:44:15.258" v="3612" actId="20577"/>
          <ac:spMkLst>
            <pc:docMk/>
            <pc:sldMk cId="3521944309" sldId="771"/>
            <ac:spMk id="181" creationId="{00000000-0000-0000-0000-000000000000}"/>
          </ac:spMkLst>
        </pc:spChg>
      </pc:sldChg>
      <pc:sldChg chg="modSp add mod">
        <pc:chgData name="Koksrud Andreas" userId="9d9beba6-c052-407a-8599-c781a677a996" providerId="ADAL" clId="{7956FAC5-41A0-4609-A911-62C4A829A2C4}" dt="2021-12-15T14:45:23.726" v="3697" actId="20577"/>
        <pc:sldMkLst>
          <pc:docMk/>
          <pc:sldMk cId="4174575932" sldId="772"/>
        </pc:sldMkLst>
        <pc:spChg chg="mod">
          <ac:chgData name="Koksrud Andreas" userId="9d9beba6-c052-407a-8599-c781a677a996" providerId="ADAL" clId="{7956FAC5-41A0-4609-A911-62C4A829A2C4}" dt="2021-12-15T14:44:51.485" v="3638" actId="20577"/>
          <ac:spMkLst>
            <pc:docMk/>
            <pc:sldMk cId="4174575932" sldId="772"/>
            <ac:spMk id="180" creationId="{00000000-0000-0000-0000-000000000000}"/>
          </ac:spMkLst>
        </pc:spChg>
        <pc:spChg chg="mod">
          <ac:chgData name="Koksrud Andreas" userId="9d9beba6-c052-407a-8599-c781a677a996" providerId="ADAL" clId="{7956FAC5-41A0-4609-A911-62C4A829A2C4}" dt="2021-12-15T14:45:23.726" v="3697" actId="20577"/>
          <ac:spMkLst>
            <pc:docMk/>
            <pc:sldMk cId="4174575932" sldId="772"/>
            <ac:spMk id="181" creationId="{00000000-0000-0000-0000-000000000000}"/>
          </ac:spMkLst>
        </pc:spChg>
      </pc:sldChg>
      <pc:sldChg chg="modSp add mod">
        <pc:chgData name="Koksrud Andreas" userId="9d9beba6-c052-407a-8599-c781a677a996" providerId="ADAL" clId="{7956FAC5-41A0-4609-A911-62C4A829A2C4}" dt="2021-12-15T14:46:08.884" v="3875" actId="20577"/>
        <pc:sldMkLst>
          <pc:docMk/>
          <pc:sldMk cId="1893841773" sldId="773"/>
        </pc:sldMkLst>
        <pc:spChg chg="mod">
          <ac:chgData name="Koksrud Andreas" userId="9d9beba6-c052-407a-8599-c781a677a996" providerId="ADAL" clId="{7956FAC5-41A0-4609-A911-62C4A829A2C4}" dt="2021-12-15T14:45:29.951" v="3718" actId="20577"/>
          <ac:spMkLst>
            <pc:docMk/>
            <pc:sldMk cId="1893841773" sldId="773"/>
            <ac:spMk id="180" creationId="{00000000-0000-0000-0000-000000000000}"/>
          </ac:spMkLst>
        </pc:spChg>
        <pc:spChg chg="mod">
          <ac:chgData name="Koksrud Andreas" userId="9d9beba6-c052-407a-8599-c781a677a996" providerId="ADAL" clId="{7956FAC5-41A0-4609-A911-62C4A829A2C4}" dt="2021-12-15T14:46:08.884" v="3875" actId="20577"/>
          <ac:spMkLst>
            <pc:docMk/>
            <pc:sldMk cId="1893841773" sldId="773"/>
            <ac:spMk id="181" creationId="{00000000-0000-0000-0000-000000000000}"/>
          </ac:spMkLst>
        </pc:spChg>
      </pc:sldChg>
      <pc:sldChg chg="modSp add mod">
        <pc:chgData name="Koksrud Andreas" userId="9d9beba6-c052-407a-8599-c781a677a996" providerId="ADAL" clId="{7956FAC5-41A0-4609-A911-62C4A829A2C4}" dt="2021-12-15T14:46:43.879" v="3986" actId="20577"/>
        <pc:sldMkLst>
          <pc:docMk/>
          <pc:sldMk cId="1749779748" sldId="774"/>
        </pc:sldMkLst>
        <pc:spChg chg="mod">
          <ac:chgData name="Koksrud Andreas" userId="9d9beba6-c052-407a-8599-c781a677a996" providerId="ADAL" clId="{7956FAC5-41A0-4609-A911-62C4A829A2C4}" dt="2021-12-15T14:46:24.813" v="3886" actId="20577"/>
          <ac:spMkLst>
            <pc:docMk/>
            <pc:sldMk cId="1749779748" sldId="774"/>
            <ac:spMk id="180" creationId="{00000000-0000-0000-0000-000000000000}"/>
          </ac:spMkLst>
        </pc:spChg>
        <pc:spChg chg="mod">
          <ac:chgData name="Koksrud Andreas" userId="9d9beba6-c052-407a-8599-c781a677a996" providerId="ADAL" clId="{7956FAC5-41A0-4609-A911-62C4A829A2C4}" dt="2021-12-15T14:46:43.879" v="3986" actId="20577"/>
          <ac:spMkLst>
            <pc:docMk/>
            <pc:sldMk cId="1749779748" sldId="774"/>
            <ac:spMk id="181" creationId="{00000000-0000-0000-0000-000000000000}"/>
          </ac:spMkLst>
        </pc:spChg>
      </pc:sldChg>
      <pc:sldChg chg="modSp add mod">
        <pc:chgData name="Koksrud Andreas" userId="9d9beba6-c052-407a-8599-c781a677a996" providerId="ADAL" clId="{7956FAC5-41A0-4609-A911-62C4A829A2C4}" dt="2021-12-15T14:47:22.096" v="4037" actId="20577"/>
        <pc:sldMkLst>
          <pc:docMk/>
          <pc:sldMk cId="2963068298" sldId="775"/>
        </pc:sldMkLst>
        <pc:spChg chg="mod">
          <ac:chgData name="Koksrud Andreas" userId="9d9beba6-c052-407a-8599-c781a677a996" providerId="ADAL" clId="{7956FAC5-41A0-4609-A911-62C4A829A2C4}" dt="2021-12-15T14:46:59.265" v="4025" actId="20577"/>
          <ac:spMkLst>
            <pc:docMk/>
            <pc:sldMk cId="2963068298" sldId="775"/>
            <ac:spMk id="180" creationId="{00000000-0000-0000-0000-000000000000}"/>
          </ac:spMkLst>
        </pc:spChg>
        <pc:spChg chg="mod">
          <ac:chgData name="Koksrud Andreas" userId="9d9beba6-c052-407a-8599-c781a677a996" providerId="ADAL" clId="{7956FAC5-41A0-4609-A911-62C4A829A2C4}" dt="2021-12-15T14:47:22.096" v="4037" actId="20577"/>
          <ac:spMkLst>
            <pc:docMk/>
            <pc:sldMk cId="2963068298" sldId="775"/>
            <ac:spMk id="181" creationId="{00000000-0000-0000-0000-000000000000}"/>
          </ac:spMkLst>
        </pc:spChg>
      </pc:sldChg>
      <pc:sldChg chg="modSp add mod">
        <pc:chgData name="Koksrud Andreas" userId="9d9beba6-c052-407a-8599-c781a677a996" providerId="ADAL" clId="{7956FAC5-41A0-4609-A911-62C4A829A2C4}" dt="2021-12-15T14:48:17.766" v="4119" actId="20577"/>
        <pc:sldMkLst>
          <pc:docMk/>
          <pc:sldMk cId="2831047971" sldId="776"/>
        </pc:sldMkLst>
        <pc:spChg chg="mod">
          <ac:chgData name="Koksrud Andreas" userId="9d9beba6-c052-407a-8599-c781a677a996" providerId="ADAL" clId="{7956FAC5-41A0-4609-A911-62C4A829A2C4}" dt="2021-12-15T14:48:14.934" v="4118" actId="20577"/>
          <ac:spMkLst>
            <pc:docMk/>
            <pc:sldMk cId="2831047971" sldId="776"/>
            <ac:spMk id="180" creationId="{00000000-0000-0000-0000-000000000000}"/>
          </ac:spMkLst>
        </pc:spChg>
        <pc:spChg chg="mod">
          <ac:chgData name="Koksrud Andreas" userId="9d9beba6-c052-407a-8599-c781a677a996" providerId="ADAL" clId="{7956FAC5-41A0-4609-A911-62C4A829A2C4}" dt="2021-12-15T14:48:17.766" v="4119" actId="20577"/>
          <ac:spMkLst>
            <pc:docMk/>
            <pc:sldMk cId="2831047971" sldId="776"/>
            <ac:spMk id="181" creationId="{00000000-0000-0000-0000-000000000000}"/>
          </ac:spMkLst>
        </pc:spChg>
      </pc:sldChg>
      <pc:sldChg chg="modSp add mod">
        <pc:chgData name="Koksrud Andreas" userId="9d9beba6-c052-407a-8599-c781a677a996" providerId="ADAL" clId="{7956FAC5-41A0-4609-A911-62C4A829A2C4}" dt="2021-12-15T14:48:31.545" v="4161" actId="20577"/>
        <pc:sldMkLst>
          <pc:docMk/>
          <pc:sldMk cId="1447749266" sldId="777"/>
        </pc:sldMkLst>
        <pc:spChg chg="mod">
          <ac:chgData name="Koksrud Andreas" userId="9d9beba6-c052-407a-8599-c781a677a996" providerId="ADAL" clId="{7956FAC5-41A0-4609-A911-62C4A829A2C4}" dt="2021-12-15T14:48:25.158" v="4134" actId="6549"/>
          <ac:spMkLst>
            <pc:docMk/>
            <pc:sldMk cId="1447749266" sldId="777"/>
            <ac:spMk id="180" creationId="{00000000-0000-0000-0000-000000000000}"/>
          </ac:spMkLst>
        </pc:spChg>
        <pc:spChg chg="mod">
          <ac:chgData name="Koksrud Andreas" userId="9d9beba6-c052-407a-8599-c781a677a996" providerId="ADAL" clId="{7956FAC5-41A0-4609-A911-62C4A829A2C4}" dt="2021-12-15T14:48:31.545" v="4161" actId="20577"/>
          <ac:spMkLst>
            <pc:docMk/>
            <pc:sldMk cId="1447749266" sldId="777"/>
            <ac:spMk id="181" creationId="{00000000-0000-0000-0000-000000000000}"/>
          </ac:spMkLst>
        </pc:spChg>
      </pc:sldChg>
      <pc:sldChg chg="modSp add mod">
        <pc:chgData name="Koksrud Andreas" userId="9d9beba6-c052-407a-8599-c781a677a996" providerId="ADAL" clId="{7956FAC5-41A0-4609-A911-62C4A829A2C4}" dt="2021-12-15T14:48:49.107" v="4189" actId="20577"/>
        <pc:sldMkLst>
          <pc:docMk/>
          <pc:sldMk cId="988087066" sldId="778"/>
        </pc:sldMkLst>
        <pc:spChg chg="mod">
          <ac:chgData name="Koksrud Andreas" userId="9d9beba6-c052-407a-8599-c781a677a996" providerId="ADAL" clId="{7956FAC5-41A0-4609-A911-62C4A829A2C4}" dt="2021-12-15T14:48:49.107" v="4189" actId="20577"/>
          <ac:spMkLst>
            <pc:docMk/>
            <pc:sldMk cId="988087066" sldId="778"/>
            <ac:spMk id="180" creationId="{00000000-0000-0000-0000-000000000000}"/>
          </ac:spMkLst>
        </pc:spChg>
      </pc:sldChg>
      <pc:sldChg chg="modSp add mod">
        <pc:chgData name="Koksrud Andreas" userId="9d9beba6-c052-407a-8599-c781a677a996" providerId="ADAL" clId="{7956FAC5-41A0-4609-A911-62C4A829A2C4}" dt="2021-12-15T14:49:01.169" v="4204" actId="20577"/>
        <pc:sldMkLst>
          <pc:docMk/>
          <pc:sldMk cId="286125317" sldId="779"/>
        </pc:sldMkLst>
        <pc:spChg chg="mod">
          <ac:chgData name="Koksrud Andreas" userId="9d9beba6-c052-407a-8599-c781a677a996" providerId="ADAL" clId="{7956FAC5-41A0-4609-A911-62C4A829A2C4}" dt="2021-12-15T14:49:01.169" v="4204" actId="20577"/>
          <ac:spMkLst>
            <pc:docMk/>
            <pc:sldMk cId="286125317" sldId="779"/>
            <ac:spMk id="180" creationId="{00000000-0000-0000-0000-000000000000}"/>
          </ac:spMkLst>
        </pc:spChg>
      </pc:sldChg>
      <pc:sldChg chg="modSp add mod">
        <pc:chgData name="Koksrud Andreas" userId="9d9beba6-c052-407a-8599-c781a677a996" providerId="ADAL" clId="{7956FAC5-41A0-4609-A911-62C4A829A2C4}" dt="2021-12-15T14:49:07.924" v="4235" actId="20577"/>
        <pc:sldMkLst>
          <pc:docMk/>
          <pc:sldMk cId="2127300312" sldId="780"/>
        </pc:sldMkLst>
        <pc:spChg chg="mod">
          <ac:chgData name="Koksrud Andreas" userId="9d9beba6-c052-407a-8599-c781a677a996" providerId="ADAL" clId="{7956FAC5-41A0-4609-A911-62C4A829A2C4}" dt="2021-12-15T14:49:07.924" v="4235" actId="20577"/>
          <ac:spMkLst>
            <pc:docMk/>
            <pc:sldMk cId="2127300312" sldId="780"/>
            <ac:spMk id="180" creationId="{00000000-0000-0000-0000-000000000000}"/>
          </ac:spMkLst>
        </pc:spChg>
      </pc:sldChg>
    </pc:docChg>
  </pc:docChgLst>
  <pc:docChgLst>
    <pc:chgData name="Andreas Koksrud" userId="9d9beba6-c052-407a-8599-c781a677a996" providerId="ADAL" clId="{3709BB77-63F6-4A9F-B8E2-244723369860}"/>
    <pc:docChg chg="undo custSel addSld delSld modSld sldOrd delSection modSection">
      <pc:chgData name="Andreas Koksrud" userId="9d9beba6-c052-407a-8599-c781a677a996" providerId="ADAL" clId="{3709BB77-63F6-4A9F-B8E2-244723369860}" dt="2024-08-22T05:54:52.918" v="3709" actId="20577"/>
      <pc:docMkLst>
        <pc:docMk/>
      </pc:docMkLst>
      <pc:sldChg chg="modSp mod">
        <pc:chgData name="Andreas Koksrud" userId="9d9beba6-c052-407a-8599-c781a677a996" providerId="ADAL" clId="{3709BB77-63F6-4A9F-B8E2-244723369860}" dt="2024-08-11T09:49:27.345" v="41" actId="6549"/>
        <pc:sldMkLst>
          <pc:docMk/>
          <pc:sldMk cId="697137886" sldId="679"/>
        </pc:sldMkLst>
        <pc:spChg chg="mod">
          <ac:chgData name="Andreas Koksrud" userId="9d9beba6-c052-407a-8599-c781a677a996" providerId="ADAL" clId="{3709BB77-63F6-4A9F-B8E2-244723369860}" dt="2024-08-11T09:49:27.345" v="41" actId="6549"/>
          <ac:spMkLst>
            <pc:docMk/>
            <pc:sldMk cId="697137886" sldId="679"/>
            <ac:spMk id="2" creationId="{00000000-0000-0000-0000-000000000000}"/>
          </ac:spMkLst>
        </pc:spChg>
      </pc:sldChg>
      <pc:sldChg chg="modSp mod">
        <pc:chgData name="Andreas Koksrud" userId="9d9beba6-c052-407a-8599-c781a677a996" providerId="ADAL" clId="{3709BB77-63F6-4A9F-B8E2-244723369860}" dt="2024-08-20T08:32:29.231" v="3632" actId="6549"/>
        <pc:sldMkLst>
          <pc:docMk/>
          <pc:sldMk cId="2087783305" sldId="730"/>
        </pc:sldMkLst>
        <pc:spChg chg="mod">
          <ac:chgData name="Andreas Koksrud" userId="9d9beba6-c052-407a-8599-c781a677a996" providerId="ADAL" clId="{3709BB77-63F6-4A9F-B8E2-244723369860}" dt="2024-08-20T08:32:29.231" v="3632" actId="6549"/>
          <ac:spMkLst>
            <pc:docMk/>
            <pc:sldMk cId="2087783305" sldId="730"/>
            <ac:spMk id="2" creationId="{E83F8947-299D-4698-B80E-56B8E23125F0}"/>
          </ac:spMkLst>
        </pc:spChg>
      </pc:sldChg>
      <pc:sldChg chg="del">
        <pc:chgData name="Andreas Koksrud" userId="9d9beba6-c052-407a-8599-c781a677a996" providerId="ADAL" clId="{3709BB77-63F6-4A9F-B8E2-244723369860}" dt="2024-08-11T09:50:15.576" v="43" actId="47"/>
        <pc:sldMkLst>
          <pc:docMk/>
          <pc:sldMk cId="1205429650" sldId="740"/>
        </pc:sldMkLst>
      </pc:sldChg>
      <pc:sldChg chg="del">
        <pc:chgData name="Andreas Koksrud" userId="9d9beba6-c052-407a-8599-c781a677a996" providerId="ADAL" clId="{3709BB77-63F6-4A9F-B8E2-244723369860}" dt="2024-08-11T09:50:15.576" v="43" actId="47"/>
        <pc:sldMkLst>
          <pc:docMk/>
          <pc:sldMk cId="2950788596" sldId="780"/>
        </pc:sldMkLst>
      </pc:sldChg>
      <pc:sldChg chg="del">
        <pc:chgData name="Andreas Koksrud" userId="9d9beba6-c052-407a-8599-c781a677a996" providerId="ADAL" clId="{3709BB77-63F6-4A9F-B8E2-244723369860}" dt="2024-08-11T09:50:15.576" v="43" actId="47"/>
        <pc:sldMkLst>
          <pc:docMk/>
          <pc:sldMk cId="1603511548" sldId="781"/>
        </pc:sldMkLst>
      </pc:sldChg>
      <pc:sldChg chg="del">
        <pc:chgData name="Andreas Koksrud" userId="9d9beba6-c052-407a-8599-c781a677a996" providerId="ADAL" clId="{3709BB77-63F6-4A9F-B8E2-244723369860}" dt="2024-08-11T09:50:15.576" v="43" actId="47"/>
        <pc:sldMkLst>
          <pc:docMk/>
          <pc:sldMk cId="1881751481" sldId="782"/>
        </pc:sldMkLst>
      </pc:sldChg>
      <pc:sldChg chg="del">
        <pc:chgData name="Andreas Koksrud" userId="9d9beba6-c052-407a-8599-c781a677a996" providerId="ADAL" clId="{3709BB77-63F6-4A9F-B8E2-244723369860}" dt="2024-08-11T09:50:15.576" v="43" actId="47"/>
        <pc:sldMkLst>
          <pc:docMk/>
          <pc:sldMk cId="590634226" sldId="798"/>
        </pc:sldMkLst>
      </pc:sldChg>
      <pc:sldChg chg="del">
        <pc:chgData name="Andreas Koksrud" userId="9d9beba6-c052-407a-8599-c781a677a996" providerId="ADAL" clId="{3709BB77-63F6-4A9F-B8E2-244723369860}" dt="2024-08-11T09:50:15.576" v="43" actId="47"/>
        <pc:sldMkLst>
          <pc:docMk/>
          <pc:sldMk cId="1498060418" sldId="802"/>
        </pc:sldMkLst>
      </pc:sldChg>
      <pc:sldChg chg="del">
        <pc:chgData name="Andreas Koksrud" userId="9d9beba6-c052-407a-8599-c781a677a996" providerId="ADAL" clId="{3709BB77-63F6-4A9F-B8E2-244723369860}" dt="2024-08-11T09:50:15.576" v="43" actId="47"/>
        <pc:sldMkLst>
          <pc:docMk/>
          <pc:sldMk cId="248187023" sldId="814"/>
        </pc:sldMkLst>
      </pc:sldChg>
      <pc:sldChg chg="del">
        <pc:chgData name="Andreas Koksrud" userId="9d9beba6-c052-407a-8599-c781a677a996" providerId="ADAL" clId="{3709BB77-63F6-4A9F-B8E2-244723369860}" dt="2024-08-11T09:50:15.576" v="43" actId="47"/>
        <pc:sldMkLst>
          <pc:docMk/>
          <pc:sldMk cId="2920848915" sldId="815"/>
        </pc:sldMkLst>
      </pc:sldChg>
      <pc:sldChg chg="del">
        <pc:chgData name="Andreas Koksrud" userId="9d9beba6-c052-407a-8599-c781a677a996" providerId="ADAL" clId="{3709BB77-63F6-4A9F-B8E2-244723369860}" dt="2024-08-11T09:50:15.576" v="43" actId="47"/>
        <pc:sldMkLst>
          <pc:docMk/>
          <pc:sldMk cId="2825686732" sldId="816"/>
        </pc:sldMkLst>
      </pc:sldChg>
      <pc:sldChg chg="del">
        <pc:chgData name="Andreas Koksrud" userId="9d9beba6-c052-407a-8599-c781a677a996" providerId="ADAL" clId="{3709BB77-63F6-4A9F-B8E2-244723369860}" dt="2024-08-11T09:50:15.576" v="43" actId="47"/>
        <pc:sldMkLst>
          <pc:docMk/>
          <pc:sldMk cId="3012956304" sldId="817"/>
        </pc:sldMkLst>
      </pc:sldChg>
      <pc:sldChg chg="del">
        <pc:chgData name="Andreas Koksrud" userId="9d9beba6-c052-407a-8599-c781a677a996" providerId="ADAL" clId="{3709BB77-63F6-4A9F-B8E2-244723369860}" dt="2024-08-11T09:50:15.576" v="43" actId="47"/>
        <pc:sldMkLst>
          <pc:docMk/>
          <pc:sldMk cId="958133851" sldId="818"/>
        </pc:sldMkLst>
      </pc:sldChg>
      <pc:sldChg chg="del">
        <pc:chgData name="Andreas Koksrud" userId="9d9beba6-c052-407a-8599-c781a677a996" providerId="ADAL" clId="{3709BB77-63F6-4A9F-B8E2-244723369860}" dt="2024-08-11T09:50:15.576" v="43" actId="47"/>
        <pc:sldMkLst>
          <pc:docMk/>
          <pc:sldMk cId="3123567294" sldId="819"/>
        </pc:sldMkLst>
      </pc:sldChg>
      <pc:sldChg chg="del">
        <pc:chgData name="Andreas Koksrud" userId="9d9beba6-c052-407a-8599-c781a677a996" providerId="ADAL" clId="{3709BB77-63F6-4A9F-B8E2-244723369860}" dt="2024-08-11T09:50:15.576" v="43" actId="47"/>
        <pc:sldMkLst>
          <pc:docMk/>
          <pc:sldMk cId="2810975730" sldId="820"/>
        </pc:sldMkLst>
      </pc:sldChg>
      <pc:sldChg chg="del">
        <pc:chgData name="Andreas Koksrud" userId="9d9beba6-c052-407a-8599-c781a677a996" providerId="ADAL" clId="{3709BB77-63F6-4A9F-B8E2-244723369860}" dt="2024-08-11T09:50:15.576" v="43" actId="47"/>
        <pc:sldMkLst>
          <pc:docMk/>
          <pc:sldMk cId="484354108" sldId="821"/>
        </pc:sldMkLst>
      </pc:sldChg>
      <pc:sldChg chg="del">
        <pc:chgData name="Andreas Koksrud" userId="9d9beba6-c052-407a-8599-c781a677a996" providerId="ADAL" clId="{3709BB77-63F6-4A9F-B8E2-244723369860}" dt="2024-08-11T09:50:15.576" v="43" actId="47"/>
        <pc:sldMkLst>
          <pc:docMk/>
          <pc:sldMk cId="1297674930" sldId="822"/>
        </pc:sldMkLst>
      </pc:sldChg>
      <pc:sldChg chg="del">
        <pc:chgData name="Andreas Koksrud" userId="9d9beba6-c052-407a-8599-c781a677a996" providerId="ADAL" clId="{3709BB77-63F6-4A9F-B8E2-244723369860}" dt="2024-08-11T09:50:15.576" v="43" actId="47"/>
        <pc:sldMkLst>
          <pc:docMk/>
          <pc:sldMk cId="3521479601" sldId="823"/>
        </pc:sldMkLst>
      </pc:sldChg>
      <pc:sldChg chg="del">
        <pc:chgData name="Andreas Koksrud" userId="9d9beba6-c052-407a-8599-c781a677a996" providerId="ADAL" clId="{3709BB77-63F6-4A9F-B8E2-244723369860}" dt="2024-08-11T09:50:15.576" v="43" actId="47"/>
        <pc:sldMkLst>
          <pc:docMk/>
          <pc:sldMk cId="4106763092" sldId="826"/>
        </pc:sldMkLst>
      </pc:sldChg>
      <pc:sldChg chg="del">
        <pc:chgData name="Andreas Koksrud" userId="9d9beba6-c052-407a-8599-c781a677a996" providerId="ADAL" clId="{3709BB77-63F6-4A9F-B8E2-244723369860}" dt="2024-08-11T09:50:15.576" v="43" actId="47"/>
        <pc:sldMkLst>
          <pc:docMk/>
          <pc:sldMk cId="1118305278" sldId="829"/>
        </pc:sldMkLst>
      </pc:sldChg>
      <pc:sldChg chg="del">
        <pc:chgData name="Andreas Koksrud" userId="9d9beba6-c052-407a-8599-c781a677a996" providerId="ADAL" clId="{3709BB77-63F6-4A9F-B8E2-244723369860}" dt="2024-08-11T09:50:15.576" v="43" actId="47"/>
        <pc:sldMkLst>
          <pc:docMk/>
          <pc:sldMk cId="1212745208" sldId="830"/>
        </pc:sldMkLst>
      </pc:sldChg>
      <pc:sldChg chg="del">
        <pc:chgData name="Andreas Koksrud" userId="9d9beba6-c052-407a-8599-c781a677a996" providerId="ADAL" clId="{3709BB77-63F6-4A9F-B8E2-244723369860}" dt="2024-08-11T09:50:15.576" v="43" actId="47"/>
        <pc:sldMkLst>
          <pc:docMk/>
          <pc:sldMk cId="1070812493" sldId="839"/>
        </pc:sldMkLst>
      </pc:sldChg>
      <pc:sldChg chg="del">
        <pc:chgData name="Andreas Koksrud" userId="9d9beba6-c052-407a-8599-c781a677a996" providerId="ADAL" clId="{3709BB77-63F6-4A9F-B8E2-244723369860}" dt="2024-08-11T09:50:15.576" v="43" actId="47"/>
        <pc:sldMkLst>
          <pc:docMk/>
          <pc:sldMk cId="2685798531" sldId="840"/>
        </pc:sldMkLst>
      </pc:sldChg>
      <pc:sldChg chg="del">
        <pc:chgData name="Andreas Koksrud" userId="9d9beba6-c052-407a-8599-c781a677a996" providerId="ADAL" clId="{3709BB77-63F6-4A9F-B8E2-244723369860}" dt="2024-08-11T09:50:15.576" v="43" actId="47"/>
        <pc:sldMkLst>
          <pc:docMk/>
          <pc:sldMk cId="2309282967" sldId="841"/>
        </pc:sldMkLst>
      </pc:sldChg>
      <pc:sldChg chg="del">
        <pc:chgData name="Andreas Koksrud" userId="9d9beba6-c052-407a-8599-c781a677a996" providerId="ADAL" clId="{3709BB77-63F6-4A9F-B8E2-244723369860}" dt="2024-08-11T09:50:15.576" v="43" actId="47"/>
        <pc:sldMkLst>
          <pc:docMk/>
          <pc:sldMk cId="685011829" sldId="842"/>
        </pc:sldMkLst>
      </pc:sldChg>
      <pc:sldChg chg="del">
        <pc:chgData name="Andreas Koksrud" userId="9d9beba6-c052-407a-8599-c781a677a996" providerId="ADAL" clId="{3709BB77-63F6-4A9F-B8E2-244723369860}" dt="2024-08-11T09:50:15.576" v="43" actId="47"/>
        <pc:sldMkLst>
          <pc:docMk/>
          <pc:sldMk cId="3245717989" sldId="845"/>
        </pc:sldMkLst>
      </pc:sldChg>
      <pc:sldChg chg="del">
        <pc:chgData name="Andreas Koksrud" userId="9d9beba6-c052-407a-8599-c781a677a996" providerId="ADAL" clId="{3709BB77-63F6-4A9F-B8E2-244723369860}" dt="2024-08-11T09:50:15.576" v="43" actId="47"/>
        <pc:sldMkLst>
          <pc:docMk/>
          <pc:sldMk cId="3805266284" sldId="846"/>
        </pc:sldMkLst>
      </pc:sldChg>
      <pc:sldChg chg="del">
        <pc:chgData name="Andreas Koksrud" userId="9d9beba6-c052-407a-8599-c781a677a996" providerId="ADAL" clId="{3709BB77-63F6-4A9F-B8E2-244723369860}" dt="2024-08-11T09:50:15.576" v="43" actId="47"/>
        <pc:sldMkLst>
          <pc:docMk/>
          <pc:sldMk cId="1521086367" sldId="847"/>
        </pc:sldMkLst>
      </pc:sldChg>
      <pc:sldChg chg="del">
        <pc:chgData name="Andreas Koksrud" userId="9d9beba6-c052-407a-8599-c781a677a996" providerId="ADAL" clId="{3709BB77-63F6-4A9F-B8E2-244723369860}" dt="2024-08-11T09:50:15.576" v="43" actId="47"/>
        <pc:sldMkLst>
          <pc:docMk/>
          <pc:sldMk cId="468106742" sldId="850"/>
        </pc:sldMkLst>
      </pc:sldChg>
      <pc:sldChg chg="del">
        <pc:chgData name="Andreas Koksrud" userId="9d9beba6-c052-407a-8599-c781a677a996" providerId="ADAL" clId="{3709BB77-63F6-4A9F-B8E2-244723369860}" dt="2024-08-11T09:50:15.576" v="43" actId="47"/>
        <pc:sldMkLst>
          <pc:docMk/>
          <pc:sldMk cId="3782901869" sldId="851"/>
        </pc:sldMkLst>
      </pc:sldChg>
      <pc:sldChg chg="modSp add del mod">
        <pc:chgData name="Andreas Koksrud" userId="9d9beba6-c052-407a-8599-c781a677a996" providerId="ADAL" clId="{3709BB77-63F6-4A9F-B8E2-244723369860}" dt="2024-08-11T10:14:59.980" v="2018" actId="20577"/>
        <pc:sldMkLst>
          <pc:docMk/>
          <pc:sldMk cId="3385289181" sldId="854"/>
        </pc:sldMkLst>
        <pc:spChg chg="mod">
          <ac:chgData name="Andreas Koksrud" userId="9d9beba6-c052-407a-8599-c781a677a996" providerId="ADAL" clId="{3709BB77-63F6-4A9F-B8E2-244723369860}" dt="2024-08-11T10:14:59.980" v="2018" actId="20577"/>
          <ac:spMkLst>
            <pc:docMk/>
            <pc:sldMk cId="3385289181" sldId="854"/>
            <ac:spMk id="2" creationId="{77B193A8-0489-D0D8-DD7D-A9D19A927D92}"/>
          </ac:spMkLst>
        </pc:spChg>
        <pc:spChg chg="mod">
          <ac:chgData name="Andreas Koksrud" userId="9d9beba6-c052-407a-8599-c781a677a996" providerId="ADAL" clId="{3709BB77-63F6-4A9F-B8E2-244723369860}" dt="2024-08-11T10:14:53.844" v="1999" actId="20577"/>
          <ac:spMkLst>
            <pc:docMk/>
            <pc:sldMk cId="3385289181" sldId="854"/>
            <ac:spMk id="3" creationId="{1E25DF2D-D2A1-6026-2A45-5B48A09582E5}"/>
          </ac:spMkLst>
        </pc:spChg>
        <pc:spChg chg="mod">
          <ac:chgData name="Andreas Koksrud" userId="9d9beba6-c052-407a-8599-c781a677a996" providerId="ADAL" clId="{3709BB77-63F6-4A9F-B8E2-244723369860}" dt="2024-08-11T10:14:49.618" v="1992" actId="6549"/>
          <ac:spMkLst>
            <pc:docMk/>
            <pc:sldMk cId="3385289181" sldId="854"/>
            <ac:spMk id="180" creationId="{00000000-0000-0000-0000-000000000000}"/>
          </ac:spMkLst>
        </pc:spChg>
      </pc:sldChg>
      <pc:sldChg chg="del">
        <pc:chgData name="Andreas Koksrud" userId="9d9beba6-c052-407a-8599-c781a677a996" providerId="ADAL" clId="{3709BB77-63F6-4A9F-B8E2-244723369860}" dt="2024-08-11T09:50:15.576" v="43" actId="47"/>
        <pc:sldMkLst>
          <pc:docMk/>
          <pc:sldMk cId="1250772557" sldId="855"/>
        </pc:sldMkLst>
      </pc:sldChg>
      <pc:sldChg chg="del">
        <pc:chgData name="Andreas Koksrud" userId="9d9beba6-c052-407a-8599-c781a677a996" providerId="ADAL" clId="{3709BB77-63F6-4A9F-B8E2-244723369860}" dt="2024-08-11T09:50:15.576" v="43" actId="47"/>
        <pc:sldMkLst>
          <pc:docMk/>
          <pc:sldMk cId="879097217" sldId="856"/>
        </pc:sldMkLst>
      </pc:sldChg>
      <pc:sldChg chg="del">
        <pc:chgData name="Andreas Koksrud" userId="9d9beba6-c052-407a-8599-c781a677a996" providerId="ADAL" clId="{3709BB77-63F6-4A9F-B8E2-244723369860}" dt="2024-08-11T09:50:15.576" v="43" actId="47"/>
        <pc:sldMkLst>
          <pc:docMk/>
          <pc:sldMk cId="2658323505" sldId="857"/>
        </pc:sldMkLst>
      </pc:sldChg>
      <pc:sldChg chg="del">
        <pc:chgData name="Andreas Koksrud" userId="9d9beba6-c052-407a-8599-c781a677a996" providerId="ADAL" clId="{3709BB77-63F6-4A9F-B8E2-244723369860}" dt="2024-08-11T09:50:15.576" v="43" actId="47"/>
        <pc:sldMkLst>
          <pc:docMk/>
          <pc:sldMk cId="2554802186" sldId="861"/>
        </pc:sldMkLst>
      </pc:sldChg>
      <pc:sldChg chg="del">
        <pc:chgData name="Andreas Koksrud" userId="9d9beba6-c052-407a-8599-c781a677a996" providerId="ADAL" clId="{3709BB77-63F6-4A9F-B8E2-244723369860}" dt="2024-08-11T09:50:15.576" v="43" actId="47"/>
        <pc:sldMkLst>
          <pc:docMk/>
          <pc:sldMk cId="575130139" sldId="862"/>
        </pc:sldMkLst>
      </pc:sldChg>
      <pc:sldChg chg="del">
        <pc:chgData name="Andreas Koksrud" userId="9d9beba6-c052-407a-8599-c781a677a996" providerId="ADAL" clId="{3709BB77-63F6-4A9F-B8E2-244723369860}" dt="2024-08-11T09:50:15.576" v="43" actId="47"/>
        <pc:sldMkLst>
          <pc:docMk/>
          <pc:sldMk cId="3027998341" sldId="863"/>
        </pc:sldMkLst>
      </pc:sldChg>
      <pc:sldChg chg="del">
        <pc:chgData name="Andreas Koksrud" userId="9d9beba6-c052-407a-8599-c781a677a996" providerId="ADAL" clId="{3709BB77-63F6-4A9F-B8E2-244723369860}" dt="2024-08-11T09:50:15.576" v="43" actId="47"/>
        <pc:sldMkLst>
          <pc:docMk/>
          <pc:sldMk cId="2970237999" sldId="864"/>
        </pc:sldMkLst>
      </pc:sldChg>
      <pc:sldChg chg="del">
        <pc:chgData name="Andreas Koksrud" userId="9d9beba6-c052-407a-8599-c781a677a996" providerId="ADAL" clId="{3709BB77-63F6-4A9F-B8E2-244723369860}" dt="2024-08-11T09:50:15.576" v="43" actId="47"/>
        <pc:sldMkLst>
          <pc:docMk/>
          <pc:sldMk cId="1445178992" sldId="865"/>
        </pc:sldMkLst>
      </pc:sldChg>
      <pc:sldChg chg="del">
        <pc:chgData name="Andreas Koksrud" userId="9d9beba6-c052-407a-8599-c781a677a996" providerId="ADAL" clId="{3709BB77-63F6-4A9F-B8E2-244723369860}" dt="2024-08-11T09:50:15.576" v="43" actId="47"/>
        <pc:sldMkLst>
          <pc:docMk/>
          <pc:sldMk cId="3994882627" sldId="867"/>
        </pc:sldMkLst>
      </pc:sldChg>
      <pc:sldChg chg="del">
        <pc:chgData name="Andreas Koksrud" userId="9d9beba6-c052-407a-8599-c781a677a996" providerId="ADAL" clId="{3709BB77-63F6-4A9F-B8E2-244723369860}" dt="2024-08-11T09:50:15.576" v="43" actId="47"/>
        <pc:sldMkLst>
          <pc:docMk/>
          <pc:sldMk cId="4078051789" sldId="868"/>
        </pc:sldMkLst>
      </pc:sldChg>
      <pc:sldChg chg="del">
        <pc:chgData name="Andreas Koksrud" userId="9d9beba6-c052-407a-8599-c781a677a996" providerId="ADAL" clId="{3709BB77-63F6-4A9F-B8E2-244723369860}" dt="2024-08-11T09:50:15.576" v="43" actId="47"/>
        <pc:sldMkLst>
          <pc:docMk/>
          <pc:sldMk cId="612492956" sldId="869"/>
        </pc:sldMkLst>
      </pc:sldChg>
      <pc:sldChg chg="del">
        <pc:chgData name="Andreas Koksrud" userId="9d9beba6-c052-407a-8599-c781a677a996" providerId="ADAL" clId="{3709BB77-63F6-4A9F-B8E2-244723369860}" dt="2024-08-11T09:50:15.576" v="43" actId="47"/>
        <pc:sldMkLst>
          <pc:docMk/>
          <pc:sldMk cId="118550550" sldId="870"/>
        </pc:sldMkLst>
      </pc:sldChg>
      <pc:sldChg chg="del">
        <pc:chgData name="Andreas Koksrud" userId="9d9beba6-c052-407a-8599-c781a677a996" providerId="ADAL" clId="{3709BB77-63F6-4A9F-B8E2-244723369860}" dt="2024-08-11T09:50:15.576" v="43" actId="47"/>
        <pc:sldMkLst>
          <pc:docMk/>
          <pc:sldMk cId="548472017" sldId="871"/>
        </pc:sldMkLst>
      </pc:sldChg>
      <pc:sldChg chg="del">
        <pc:chgData name="Andreas Koksrud" userId="9d9beba6-c052-407a-8599-c781a677a996" providerId="ADAL" clId="{3709BB77-63F6-4A9F-B8E2-244723369860}" dt="2024-08-11T09:50:15.576" v="43" actId="47"/>
        <pc:sldMkLst>
          <pc:docMk/>
          <pc:sldMk cId="2547417480" sldId="872"/>
        </pc:sldMkLst>
      </pc:sldChg>
      <pc:sldChg chg="del">
        <pc:chgData name="Andreas Koksrud" userId="9d9beba6-c052-407a-8599-c781a677a996" providerId="ADAL" clId="{3709BB77-63F6-4A9F-B8E2-244723369860}" dt="2024-08-11T09:50:15.576" v="43" actId="47"/>
        <pc:sldMkLst>
          <pc:docMk/>
          <pc:sldMk cId="3240008992" sldId="874"/>
        </pc:sldMkLst>
      </pc:sldChg>
      <pc:sldChg chg="del">
        <pc:chgData name="Andreas Koksrud" userId="9d9beba6-c052-407a-8599-c781a677a996" providerId="ADAL" clId="{3709BB77-63F6-4A9F-B8E2-244723369860}" dt="2024-08-11T09:50:15.576" v="43" actId="47"/>
        <pc:sldMkLst>
          <pc:docMk/>
          <pc:sldMk cId="3825753762" sldId="875"/>
        </pc:sldMkLst>
      </pc:sldChg>
      <pc:sldChg chg="del">
        <pc:chgData name="Andreas Koksrud" userId="9d9beba6-c052-407a-8599-c781a677a996" providerId="ADAL" clId="{3709BB77-63F6-4A9F-B8E2-244723369860}" dt="2024-08-11T09:50:15.576" v="43" actId="47"/>
        <pc:sldMkLst>
          <pc:docMk/>
          <pc:sldMk cId="1529294142" sldId="876"/>
        </pc:sldMkLst>
      </pc:sldChg>
      <pc:sldChg chg="del">
        <pc:chgData name="Andreas Koksrud" userId="9d9beba6-c052-407a-8599-c781a677a996" providerId="ADAL" clId="{3709BB77-63F6-4A9F-B8E2-244723369860}" dt="2024-08-11T09:50:15.576" v="43" actId="47"/>
        <pc:sldMkLst>
          <pc:docMk/>
          <pc:sldMk cId="1680702220" sldId="877"/>
        </pc:sldMkLst>
      </pc:sldChg>
      <pc:sldChg chg="del">
        <pc:chgData name="Andreas Koksrud" userId="9d9beba6-c052-407a-8599-c781a677a996" providerId="ADAL" clId="{3709BB77-63F6-4A9F-B8E2-244723369860}" dt="2024-08-11T09:50:15.576" v="43" actId="47"/>
        <pc:sldMkLst>
          <pc:docMk/>
          <pc:sldMk cId="3516004309" sldId="878"/>
        </pc:sldMkLst>
      </pc:sldChg>
      <pc:sldChg chg="del">
        <pc:chgData name="Andreas Koksrud" userId="9d9beba6-c052-407a-8599-c781a677a996" providerId="ADAL" clId="{3709BB77-63F6-4A9F-B8E2-244723369860}" dt="2024-08-11T09:50:15.576" v="43" actId="47"/>
        <pc:sldMkLst>
          <pc:docMk/>
          <pc:sldMk cId="999972062" sldId="879"/>
        </pc:sldMkLst>
      </pc:sldChg>
      <pc:sldChg chg="del">
        <pc:chgData name="Andreas Koksrud" userId="9d9beba6-c052-407a-8599-c781a677a996" providerId="ADAL" clId="{3709BB77-63F6-4A9F-B8E2-244723369860}" dt="2024-08-11T09:50:15.576" v="43" actId="47"/>
        <pc:sldMkLst>
          <pc:docMk/>
          <pc:sldMk cId="3205976706" sldId="880"/>
        </pc:sldMkLst>
      </pc:sldChg>
      <pc:sldChg chg="del">
        <pc:chgData name="Andreas Koksrud" userId="9d9beba6-c052-407a-8599-c781a677a996" providerId="ADAL" clId="{3709BB77-63F6-4A9F-B8E2-244723369860}" dt="2024-08-11T09:50:15.576" v="43" actId="47"/>
        <pc:sldMkLst>
          <pc:docMk/>
          <pc:sldMk cId="2279528697" sldId="881"/>
        </pc:sldMkLst>
      </pc:sldChg>
      <pc:sldChg chg="del">
        <pc:chgData name="Andreas Koksrud" userId="9d9beba6-c052-407a-8599-c781a677a996" providerId="ADAL" clId="{3709BB77-63F6-4A9F-B8E2-244723369860}" dt="2024-08-11T09:50:15.576" v="43" actId="47"/>
        <pc:sldMkLst>
          <pc:docMk/>
          <pc:sldMk cId="360095748" sldId="882"/>
        </pc:sldMkLst>
      </pc:sldChg>
      <pc:sldChg chg="del">
        <pc:chgData name="Andreas Koksrud" userId="9d9beba6-c052-407a-8599-c781a677a996" providerId="ADAL" clId="{3709BB77-63F6-4A9F-B8E2-244723369860}" dt="2024-08-11T09:50:15.576" v="43" actId="47"/>
        <pc:sldMkLst>
          <pc:docMk/>
          <pc:sldMk cId="1917928831" sldId="883"/>
        </pc:sldMkLst>
      </pc:sldChg>
      <pc:sldChg chg="del">
        <pc:chgData name="Andreas Koksrud" userId="9d9beba6-c052-407a-8599-c781a677a996" providerId="ADAL" clId="{3709BB77-63F6-4A9F-B8E2-244723369860}" dt="2024-08-11T09:50:15.576" v="43" actId="47"/>
        <pc:sldMkLst>
          <pc:docMk/>
          <pc:sldMk cId="33461568" sldId="884"/>
        </pc:sldMkLst>
      </pc:sldChg>
      <pc:sldChg chg="del">
        <pc:chgData name="Andreas Koksrud" userId="9d9beba6-c052-407a-8599-c781a677a996" providerId="ADAL" clId="{3709BB77-63F6-4A9F-B8E2-244723369860}" dt="2024-08-11T09:50:15.576" v="43" actId="47"/>
        <pc:sldMkLst>
          <pc:docMk/>
          <pc:sldMk cId="2228775269" sldId="885"/>
        </pc:sldMkLst>
      </pc:sldChg>
      <pc:sldChg chg="del">
        <pc:chgData name="Andreas Koksrud" userId="9d9beba6-c052-407a-8599-c781a677a996" providerId="ADAL" clId="{3709BB77-63F6-4A9F-B8E2-244723369860}" dt="2024-08-11T09:50:15.576" v="43" actId="47"/>
        <pc:sldMkLst>
          <pc:docMk/>
          <pc:sldMk cId="3576402817" sldId="886"/>
        </pc:sldMkLst>
      </pc:sldChg>
      <pc:sldChg chg="del">
        <pc:chgData name="Andreas Koksrud" userId="9d9beba6-c052-407a-8599-c781a677a996" providerId="ADAL" clId="{3709BB77-63F6-4A9F-B8E2-244723369860}" dt="2024-08-11T09:50:15.576" v="43" actId="47"/>
        <pc:sldMkLst>
          <pc:docMk/>
          <pc:sldMk cId="3284537785" sldId="887"/>
        </pc:sldMkLst>
      </pc:sldChg>
      <pc:sldChg chg="del">
        <pc:chgData name="Andreas Koksrud" userId="9d9beba6-c052-407a-8599-c781a677a996" providerId="ADAL" clId="{3709BB77-63F6-4A9F-B8E2-244723369860}" dt="2024-08-11T09:50:15.576" v="43" actId="47"/>
        <pc:sldMkLst>
          <pc:docMk/>
          <pc:sldMk cId="2194220150" sldId="888"/>
        </pc:sldMkLst>
      </pc:sldChg>
      <pc:sldChg chg="del">
        <pc:chgData name="Andreas Koksrud" userId="9d9beba6-c052-407a-8599-c781a677a996" providerId="ADAL" clId="{3709BB77-63F6-4A9F-B8E2-244723369860}" dt="2024-08-11T09:50:15.576" v="43" actId="47"/>
        <pc:sldMkLst>
          <pc:docMk/>
          <pc:sldMk cId="797114304" sldId="889"/>
        </pc:sldMkLst>
      </pc:sldChg>
      <pc:sldChg chg="del">
        <pc:chgData name="Andreas Koksrud" userId="9d9beba6-c052-407a-8599-c781a677a996" providerId="ADAL" clId="{3709BB77-63F6-4A9F-B8E2-244723369860}" dt="2024-08-11T09:50:15.576" v="43" actId="47"/>
        <pc:sldMkLst>
          <pc:docMk/>
          <pc:sldMk cId="2383107090" sldId="890"/>
        </pc:sldMkLst>
      </pc:sldChg>
      <pc:sldChg chg="del">
        <pc:chgData name="Andreas Koksrud" userId="9d9beba6-c052-407a-8599-c781a677a996" providerId="ADAL" clId="{3709BB77-63F6-4A9F-B8E2-244723369860}" dt="2024-08-11T09:50:15.576" v="43" actId="47"/>
        <pc:sldMkLst>
          <pc:docMk/>
          <pc:sldMk cId="1681035015" sldId="900"/>
        </pc:sldMkLst>
      </pc:sldChg>
      <pc:sldChg chg="del">
        <pc:chgData name="Andreas Koksrud" userId="9d9beba6-c052-407a-8599-c781a677a996" providerId="ADAL" clId="{3709BB77-63F6-4A9F-B8E2-244723369860}" dt="2024-08-11T09:50:15.576" v="43" actId="47"/>
        <pc:sldMkLst>
          <pc:docMk/>
          <pc:sldMk cId="1114492161" sldId="902"/>
        </pc:sldMkLst>
      </pc:sldChg>
      <pc:sldChg chg="del">
        <pc:chgData name="Andreas Koksrud" userId="9d9beba6-c052-407a-8599-c781a677a996" providerId="ADAL" clId="{3709BB77-63F6-4A9F-B8E2-244723369860}" dt="2024-08-11T09:50:15.576" v="43" actId="47"/>
        <pc:sldMkLst>
          <pc:docMk/>
          <pc:sldMk cId="2933509549" sldId="903"/>
        </pc:sldMkLst>
      </pc:sldChg>
      <pc:sldChg chg="del">
        <pc:chgData name="Andreas Koksrud" userId="9d9beba6-c052-407a-8599-c781a677a996" providerId="ADAL" clId="{3709BB77-63F6-4A9F-B8E2-244723369860}" dt="2024-08-11T09:50:15.576" v="43" actId="47"/>
        <pc:sldMkLst>
          <pc:docMk/>
          <pc:sldMk cId="2986239912" sldId="904"/>
        </pc:sldMkLst>
      </pc:sldChg>
      <pc:sldChg chg="del">
        <pc:chgData name="Andreas Koksrud" userId="9d9beba6-c052-407a-8599-c781a677a996" providerId="ADAL" clId="{3709BB77-63F6-4A9F-B8E2-244723369860}" dt="2024-08-11T09:50:15.576" v="43" actId="47"/>
        <pc:sldMkLst>
          <pc:docMk/>
          <pc:sldMk cId="2439861555" sldId="905"/>
        </pc:sldMkLst>
      </pc:sldChg>
      <pc:sldChg chg="del">
        <pc:chgData name="Andreas Koksrud" userId="9d9beba6-c052-407a-8599-c781a677a996" providerId="ADAL" clId="{3709BB77-63F6-4A9F-B8E2-244723369860}" dt="2024-08-11T09:50:15.576" v="43" actId="47"/>
        <pc:sldMkLst>
          <pc:docMk/>
          <pc:sldMk cId="3378771878" sldId="906"/>
        </pc:sldMkLst>
      </pc:sldChg>
      <pc:sldChg chg="del">
        <pc:chgData name="Andreas Koksrud" userId="9d9beba6-c052-407a-8599-c781a677a996" providerId="ADAL" clId="{3709BB77-63F6-4A9F-B8E2-244723369860}" dt="2024-08-11T09:50:15.576" v="43" actId="47"/>
        <pc:sldMkLst>
          <pc:docMk/>
          <pc:sldMk cId="2223033950" sldId="907"/>
        </pc:sldMkLst>
      </pc:sldChg>
      <pc:sldChg chg="del">
        <pc:chgData name="Andreas Koksrud" userId="9d9beba6-c052-407a-8599-c781a677a996" providerId="ADAL" clId="{3709BB77-63F6-4A9F-B8E2-244723369860}" dt="2024-08-11T09:50:15.576" v="43" actId="47"/>
        <pc:sldMkLst>
          <pc:docMk/>
          <pc:sldMk cId="2242358945" sldId="908"/>
        </pc:sldMkLst>
      </pc:sldChg>
      <pc:sldChg chg="del">
        <pc:chgData name="Andreas Koksrud" userId="9d9beba6-c052-407a-8599-c781a677a996" providerId="ADAL" clId="{3709BB77-63F6-4A9F-B8E2-244723369860}" dt="2024-08-11T09:50:15.576" v="43" actId="47"/>
        <pc:sldMkLst>
          <pc:docMk/>
          <pc:sldMk cId="772392015" sldId="909"/>
        </pc:sldMkLst>
      </pc:sldChg>
      <pc:sldChg chg="del">
        <pc:chgData name="Andreas Koksrud" userId="9d9beba6-c052-407a-8599-c781a677a996" providerId="ADAL" clId="{3709BB77-63F6-4A9F-B8E2-244723369860}" dt="2024-08-11T09:50:15.576" v="43" actId="47"/>
        <pc:sldMkLst>
          <pc:docMk/>
          <pc:sldMk cId="3240845591" sldId="910"/>
        </pc:sldMkLst>
      </pc:sldChg>
      <pc:sldChg chg="del">
        <pc:chgData name="Andreas Koksrud" userId="9d9beba6-c052-407a-8599-c781a677a996" providerId="ADAL" clId="{3709BB77-63F6-4A9F-B8E2-244723369860}" dt="2024-08-11T09:50:15.576" v="43" actId="47"/>
        <pc:sldMkLst>
          <pc:docMk/>
          <pc:sldMk cId="2156656660" sldId="911"/>
        </pc:sldMkLst>
      </pc:sldChg>
      <pc:sldChg chg="del">
        <pc:chgData name="Andreas Koksrud" userId="9d9beba6-c052-407a-8599-c781a677a996" providerId="ADAL" clId="{3709BB77-63F6-4A9F-B8E2-244723369860}" dt="2024-08-11T09:50:15.576" v="43" actId="47"/>
        <pc:sldMkLst>
          <pc:docMk/>
          <pc:sldMk cId="3467226560" sldId="914"/>
        </pc:sldMkLst>
      </pc:sldChg>
      <pc:sldChg chg="del">
        <pc:chgData name="Andreas Koksrud" userId="9d9beba6-c052-407a-8599-c781a677a996" providerId="ADAL" clId="{3709BB77-63F6-4A9F-B8E2-244723369860}" dt="2024-08-11T09:50:15.576" v="43" actId="47"/>
        <pc:sldMkLst>
          <pc:docMk/>
          <pc:sldMk cId="2515752309" sldId="915"/>
        </pc:sldMkLst>
      </pc:sldChg>
      <pc:sldChg chg="del">
        <pc:chgData name="Andreas Koksrud" userId="9d9beba6-c052-407a-8599-c781a677a996" providerId="ADAL" clId="{3709BB77-63F6-4A9F-B8E2-244723369860}" dt="2024-08-11T09:50:15.576" v="43" actId="47"/>
        <pc:sldMkLst>
          <pc:docMk/>
          <pc:sldMk cId="2176964589" sldId="917"/>
        </pc:sldMkLst>
      </pc:sldChg>
      <pc:sldChg chg="del">
        <pc:chgData name="Andreas Koksrud" userId="9d9beba6-c052-407a-8599-c781a677a996" providerId="ADAL" clId="{3709BB77-63F6-4A9F-B8E2-244723369860}" dt="2024-08-11T09:50:15.576" v="43" actId="47"/>
        <pc:sldMkLst>
          <pc:docMk/>
          <pc:sldMk cId="1758492541" sldId="918"/>
        </pc:sldMkLst>
      </pc:sldChg>
      <pc:sldChg chg="del">
        <pc:chgData name="Andreas Koksrud" userId="9d9beba6-c052-407a-8599-c781a677a996" providerId="ADAL" clId="{3709BB77-63F6-4A9F-B8E2-244723369860}" dt="2024-08-11T09:50:15.576" v="43" actId="47"/>
        <pc:sldMkLst>
          <pc:docMk/>
          <pc:sldMk cId="1808846110" sldId="919"/>
        </pc:sldMkLst>
      </pc:sldChg>
      <pc:sldChg chg="del">
        <pc:chgData name="Andreas Koksrud" userId="9d9beba6-c052-407a-8599-c781a677a996" providerId="ADAL" clId="{3709BB77-63F6-4A9F-B8E2-244723369860}" dt="2024-08-11T09:50:15.576" v="43" actId="47"/>
        <pc:sldMkLst>
          <pc:docMk/>
          <pc:sldMk cId="1801208341" sldId="920"/>
        </pc:sldMkLst>
      </pc:sldChg>
      <pc:sldChg chg="del">
        <pc:chgData name="Andreas Koksrud" userId="9d9beba6-c052-407a-8599-c781a677a996" providerId="ADAL" clId="{3709BB77-63F6-4A9F-B8E2-244723369860}" dt="2024-08-11T09:50:15.576" v="43" actId="47"/>
        <pc:sldMkLst>
          <pc:docMk/>
          <pc:sldMk cId="2341160540" sldId="921"/>
        </pc:sldMkLst>
      </pc:sldChg>
      <pc:sldChg chg="del">
        <pc:chgData name="Andreas Koksrud" userId="9d9beba6-c052-407a-8599-c781a677a996" providerId="ADAL" clId="{3709BB77-63F6-4A9F-B8E2-244723369860}" dt="2024-08-11T09:50:15.576" v="43" actId="47"/>
        <pc:sldMkLst>
          <pc:docMk/>
          <pc:sldMk cId="118872145" sldId="922"/>
        </pc:sldMkLst>
      </pc:sldChg>
      <pc:sldChg chg="del">
        <pc:chgData name="Andreas Koksrud" userId="9d9beba6-c052-407a-8599-c781a677a996" providerId="ADAL" clId="{3709BB77-63F6-4A9F-B8E2-244723369860}" dt="2024-08-11T09:50:15.576" v="43" actId="47"/>
        <pc:sldMkLst>
          <pc:docMk/>
          <pc:sldMk cId="3496916072" sldId="929"/>
        </pc:sldMkLst>
      </pc:sldChg>
      <pc:sldChg chg="del">
        <pc:chgData name="Andreas Koksrud" userId="9d9beba6-c052-407a-8599-c781a677a996" providerId="ADAL" clId="{3709BB77-63F6-4A9F-B8E2-244723369860}" dt="2024-08-11T09:50:15.576" v="43" actId="47"/>
        <pc:sldMkLst>
          <pc:docMk/>
          <pc:sldMk cId="1794767992" sldId="930"/>
        </pc:sldMkLst>
      </pc:sldChg>
      <pc:sldChg chg="del">
        <pc:chgData name="Andreas Koksrud" userId="9d9beba6-c052-407a-8599-c781a677a996" providerId="ADAL" clId="{3709BB77-63F6-4A9F-B8E2-244723369860}" dt="2024-08-11T09:50:15.576" v="43" actId="47"/>
        <pc:sldMkLst>
          <pc:docMk/>
          <pc:sldMk cId="2544668817" sldId="931"/>
        </pc:sldMkLst>
      </pc:sldChg>
      <pc:sldChg chg="del">
        <pc:chgData name="Andreas Koksrud" userId="9d9beba6-c052-407a-8599-c781a677a996" providerId="ADAL" clId="{3709BB77-63F6-4A9F-B8E2-244723369860}" dt="2024-08-11T09:50:15.576" v="43" actId="47"/>
        <pc:sldMkLst>
          <pc:docMk/>
          <pc:sldMk cId="1016572018" sldId="932"/>
        </pc:sldMkLst>
      </pc:sldChg>
      <pc:sldChg chg="del">
        <pc:chgData name="Andreas Koksrud" userId="9d9beba6-c052-407a-8599-c781a677a996" providerId="ADAL" clId="{3709BB77-63F6-4A9F-B8E2-244723369860}" dt="2024-08-11T09:50:15.576" v="43" actId="47"/>
        <pc:sldMkLst>
          <pc:docMk/>
          <pc:sldMk cId="516132435" sldId="933"/>
        </pc:sldMkLst>
      </pc:sldChg>
      <pc:sldChg chg="del">
        <pc:chgData name="Andreas Koksrud" userId="9d9beba6-c052-407a-8599-c781a677a996" providerId="ADAL" clId="{3709BB77-63F6-4A9F-B8E2-244723369860}" dt="2024-08-11T09:50:15.576" v="43" actId="47"/>
        <pc:sldMkLst>
          <pc:docMk/>
          <pc:sldMk cId="100500619" sldId="934"/>
        </pc:sldMkLst>
      </pc:sldChg>
      <pc:sldChg chg="del">
        <pc:chgData name="Andreas Koksrud" userId="9d9beba6-c052-407a-8599-c781a677a996" providerId="ADAL" clId="{3709BB77-63F6-4A9F-B8E2-244723369860}" dt="2024-08-11T09:50:15.576" v="43" actId="47"/>
        <pc:sldMkLst>
          <pc:docMk/>
          <pc:sldMk cId="1678513824" sldId="935"/>
        </pc:sldMkLst>
      </pc:sldChg>
      <pc:sldChg chg="del">
        <pc:chgData name="Andreas Koksrud" userId="9d9beba6-c052-407a-8599-c781a677a996" providerId="ADAL" clId="{3709BB77-63F6-4A9F-B8E2-244723369860}" dt="2024-08-11T09:50:15.576" v="43" actId="47"/>
        <pc:sldMkLst>
          <pc:docMk/>
          <pc:sldMk cId="1640846257" sldId="936"/>
        </pc:sldMkLst>
      </pc:sldChg>
      <pc:sldChg chg="del">
        <pc:chgData name="Andreas Koksrud" userId="9d9beba6-c052-407a-8599-c781a677a996" providerId="ADAL" clId="{3709BB77-63F6-4A9F-B8E2-244723369860}" dt="2024-08-11T09:50:15.576" v="43" actId="47"/>
        <pc:sldMkLst>
          <pc:docMk/>
          <pc:sldMk cId="1343251663" sldId="937"/>
        </pc:sldMkLst>
      </pc:sldChg>
      <pc:sldChg chg="del">
        <pc:chgData name="Andreas Koksrud" userId="9d9beba6-c052-407a-8599-c781a677a996" providerId="ADAL" clId="{3709BB77-63F6-4A9F-B8E2-244723369860}" dt="2024-08-11T09:50:15.576" v="43" actId="47"/>
        <pc:sldMkLst>
          <pc:docMk/>
          <pc:sldMk cId="4244963184" sldId="938"/>
        </pc:sldMkLst>
      </pc:sldChg>
      <pc:sldChg chg="del">
        <pc:chgData name="Andreas Koksrud" userId="9d9beba6-c052-407a-8599-c781a677a996" providerId="ADAL" clId="{3709BB77-63F6-4A9F-B8E2-244723369860}" dt="2024-08-11T09:50:15.576" v="43" actId="47"/>
        <pc:sldMkLst>
          <pc:docMk/>
          <pc:sldMk cId="4271162885" sldId="939"/>
        </pc:sldMkLst>
      </pc:sldChg>
      <pc:sldChg chg="del">
        <pc:chgData name="Andreas Koksrud" userId="9d9beba6-c052-407a-8599-c781a677a996" providerId="ADAL" clId="{3709BB77-63F6-4A9F-B8E2-244723369860}" dt="2024-08-11T09:50:15.576" v="43" actId="47"/>
        <pc:sldMkLst>
          <pc:docMk/>
          <pc:sldMk cId="76786861" sldId="940"/>
        </pc:sldMkLst>
      </pc:sldChg>
      <pc:sldChg chg="del">
        <pc:chgData name="Andreas Koksrud" userId="9d9beba6-c052-407a-8599-c781a677a996" providerId="ADAL" clId="{3709BB77-63F6-4A9F-B8E2-244723369860}" dt="2024-08-11T09:50:15.576" v="43" actId="47"/>
        <pc:sldMkLst>
          <pc:docMk/>
          <pc:sldMk cId="259599803" sldId="941"/>
        </pc:sldMkLst>
      </pc:sldChg>
      <pc:sldChg chg="del">
        <pc:chgData name="Andreas Koksrud" userId="9d9beba6-c052-407a-8599-c781a677a996" providerId="ADAL" clId="{3709BB77-63F6-4A9F-B8E2-244723369860}" dt="2024-08-11T09:50:15.576" v="43" actId="47"/>
        <pc:sldMkLst>
          <pc:docMk/>
          <pc:sldMk cId="617464026" sldId="942"/>
        </pc:sldMkLst>
      </pc:sldChg>
      <pc:sldChg chg="del">
        <pc:chgData name="Andreas Koksrud" userId="9d9beba6-c052-407a-8599-c781a677a996" providerId="ADAL" clId="{3709BB77-63F6-4A9F-B8E2-244723369860}" dt="2024-08-11T09:50:15.576" v="43" actId="47"/>
        <pc:sldMkLst>
          <pc:docMk/>
          <pc:sldMk cId="2452820001" sldId="943"/>
        </pc:sldMkLst>
      </pc:sldChg>
      <pc:sldChg chg="del">
        <pc:chgData name="Andreas Koksrud" userId="9d9beba6-c052-407a-8599-c781a677a996" providerId="ADAL" clId="{3709BB77-63F6-4A9F-B8E2-244723369860}" dt="2024-08-11T09:50:15.576" v="43" actId="47"/>
        <pc:sldMkLst>
          <pc:docMk/>
          <pc:sldMk cId="831372640" sldId="944"/>
        </pc:sldMkLst>
      </pc:sldChg>
      <pc:sldChg chg="del">
        <pc:chgData name="Andreas Koksrud" userId="9d9beba6-c052-407a-8599-c781a677a996" providerId="ADAL" clId="{3709BB77-63F6-4A9F-B8E2-244723369860}" dt="2024-08-11T09:50:15.576" v="43" actId="47"/>
        <pc:sldMkLst>
          <pc:docMk/>
          <pc:sldMk cId="3301216787" sldId="945"/>
        </pc:sldMkLst>
      </pc:sldChg>
      <pc:sldChg chg="del">
        <pc:chgData name="Andreas Koksrud" userId="9d9beba6-c052-407a-8599-c781a677a996" providerId="ADAL" clId="{3709BB77-63F6-4A9F-B8E2-244723369860}" dt="2024-08-11T09:50:15.576" v="43" actId="47"/>
        <pc:sldMkLst>
          <pc:docMk/>
          <pc:sldMk cId="3558541316" sldId="946"/>
        </pc:sldMkLst>
      </pc:sldChg>
      <pc:sldChg chg="del">
        <pc:chgData name="Andreas Koksrud" userId="9d9beba6-c052-407a-8599-c781a677a996" providerId="ADAL" clId="{3709BB77-63F6-4A9F-B8E2-244723369860}" dt="2024-08-11T09:50:15.576" v="43" actId="47"/>
        <pc:sldMkLst>
          <pc:docMk/>
          <pc:sldMk cId="1488992746" sldId="947"/>
        </pc:sldMkLst>
      </pc:sldChg>
      <pc:sldChg chg="del">
        <pc:chgData name="Andreas Koksrud" userId="9d9beba6-c052-407a-8599-c781a677a996" providerId="ADAL" clId="{3709BB77-63F6-4A9F-B8E2-244723369860}" dt="2024-08-11T09:50:15.576" v="43" actId="47"/>
        <pc:sldMkLst>
          <pc:docMk/>
          <pc:sldMk cId="3691710986" sldId="948"/>
        </pc:sldMkLst>
      </pc:sldChg>
      <pc:sldChg chg="del">
        <pc:chgData name="Andreas Koksrud" userId="9d9beba6-c052-407a-8599-c781a677a996" providerId="ADAL" clId="{3709BB77-63F6-4A9F-B8E2-244723369860}" dt="2024-08-11T09:50:15.576" v="43" actId="47"/>
        <pc:sldMkLst>
          <pc:docMk/>
          <pc:sldMk cId="1547393795" sldId="949"/>
        </pc:sldMkLst>
      </pc:sldChg>
      <pc:sldChg chg="del">
        <pc:chgData name="Andreas Koksrud" userId="9d9beba6-c052-407a-8599-c781a677a996" providerId="ADAL" clId="{3709BB77-63F6-4A9F-B8E2-244723369860}" dt="2024-08-11T09:50:15.576" v="43" actId="47"/>
        <pc:sldMkLst>
          <pc:docMk/>
          <pc:sldMk cId="2750337227" sldId="950"/>
        </pc:sldMkLst>
      </pc:sldChg>
      <pc:sldChg chg="del">
        <pc:chgData name="Andreas Koksrud" userId="9d9beba6-c052-407a-8599-c781a677a996" providerId="ADAL" clId="{3709BB77-63F6-4A9F-B8E2-244723369860}" dt="2024-08-11T09:50:15.576" v="43" actId="47"/>
        <pc:sldMkLst>
          <pc:docMk/>
          <pc:sldMk cId="1760940084" sldId="951"/>
        </pc:sldMkLst>
      </pc:sldChg>
      <pc:sldChg chg="del">
        <pc:chgData name="Andreas Koksrud" userId="9d9beba6-c052-407a-8599-c781a677a996" providerId="ADAL" clId="{3709BB77-63F6-4A9F-B8E2-244723369860}" dt="2024-08-11T09:50:15.576" v="43" actId="47"/>
        <pc:sldMkLst>
          <pc:docMk/>
          <pc:sldMk cId="3149545615" sldId="952"/>
        </pc:sldMkLst>
      </pc:sldChg>
      <pc:sldChg chg="del">
        <pc:chgData name="Andreas Koksrud" userId="9d9beba6-c052-407a-8599-c781a677a996" providerId="ADAL" clId="{3709BB77-63F6-4A9F-B8E2-244723369860}" dt="2024-08-11T09:50:15.576" v="43" actId="47"/>
        <pc:sldMkLst>
          <pc:docMk/>
          <pc:sldMk cId="1639579349" sldId="953"/>
        </pc:sldMkLst>
      </pc:sldChg>
      <pc:sldChg chg="del">
        <pc:chgData name="Andreas Koksrud" userId="9d9beba6-c052-407a-8599-c781a677a996" providerId="ADAL" clId="{3709BB77-63F6-4A9F-B8E2-244723369860}" dt="2024-08-11T09:50:15.576" v="43" actId="47"/>
        <pc:sldMkLst>
          <pc:docMk/>
          <pc:sldMk cId="621067258" sldId="954"/>
        </pc:sldMkLst>
      </pc:sldChg>
      <pc:sldChg chg="del">
        <pc:chgData name="Andreas Koksrud" userId="9d9beba6-c052-407a-8599-c781a677a996" providerId="ADAL" clId="{3709BB77-63F6-4A9F-B8E2-244723369860}" dt="2024-08-11T09:50:15.576" v="43" actId="47"/>
        <pc:sldMkLst>
          <pc:docMk/>
          <pc:sldMk cId="900096217" sldId="955"/>
        </pc:sldMkLst>
      </pc:sldChg>
      <pc:sldChg chg="del">
        <pc:chgData name="Andreas Koksrud" userId="9d9beba6-c052-407a-8599-c781a677a996" providerId="ADAL" clId="{3709BB77-63F6-4A9F-B8E2-244723369860}" dt="2024-08-11T09:50:15.576" v="43" actId="47"/>
        <pc:sldMkLst>
          <pc:docMk/>
          <pc:sldMk cId="2919214617" sldId="972"/>
        </pc:sldMkLst>
      </pc:sldChg>
      <pc:sldChg chg="addSp delSp modSp add mod ord">
        <pc:chgData name="Andreas Koksrud" userId="9d9beba6-c052-407a-8599-c781a677a996" providerId="ADAL" clId="{3709BB77-63F6-4A9F-B8E2-244723369860}" dt="2024-08-20T08:34:27.848" v="3644" actId="1076"/>
        <pc:sldMkLst>
          <pc:docMk/>
          <pc:sldMk cId="2011127005" sldId="974"/>
        </pc:sldMkLst>
        <pc:spChg chg="mod">
          <ac:chgData name="Andreas Koksrud" userId="9d9beba6-c052-407a-8599-c781a677a996" providerId="ADAL" clId="{3709BB77-63F6-4A9F-B8E2-244723369860}" dt="2024-08-11T09:57:47.903" v="382" actId="20577"/>
          <ac:spMkLst>
            <pc:docMk/>
            <pc:sldMk cId="2011127005" sldId="974"/>
            <ac:spMk id="4" creationId="{DE0C575D-F875-9B15-8F31-C1C17BBB6875}"/>
          </ac:spMkLst>
        </pc:spChg>
        <pc:spChg chg="mod">
          <ac:chgData name="Andreas Koksrud" userId="9d9beba6-c052-407a-8599-c781a677a996" providerId="ADAL" clId="{3709BB77-63F6-4A9F-B8E2-244723369860}" dt="2024-08-11T09:56:22.695" v="306" actId="13926"/>
          <ac:spMkLst>
            <pc:docMk/>
            <pc:sldMk cId="2011127005" sldId="974"/>
            <ac:spMk id="5" creationId="{06C331F7-EF3E-5E7F-9901-C355F1A9896B}"/>
          </ac:spMkLst>
        </pc:spChg>
        <pc:spChg chg="mod">
          <ac:chgData name="Andreas Koksrud" userId="9d9beba6-c052-407a-8599-c781a677a996" providerId="ADAL" clId="{3709BB77-63F6-4A9F-B8E2-244723369860}" dt="2024-08-11T09:57:53.621" v="399" actId="20577"/>
          <ac:spMkLst>
            <pc:docMk/>
            <pc:sldMk cId="2011127005" sldId="974"/>
            <ac:spMk id="6" creationId="{8AD0F756-29C2-587E-484F-82A0EBA49B8C}"/>
          </ac:spMkLst>
        </pc:spChg>
        <pc:spChg chg="mod">
          <ac:chgData name="Andreas Koksrud" userId="9d9beba6-c052-407a-8599-c781a677a996" providerId="ADAL" clId="{3709BB77-63F6-4A9F-B8E2-244723369860}" dt="2024-08-11T09:53:38.988" v="63" actId="20577"/>
          <ac:spMkLst>
            <pc:docMk/>
            <pc:sldMk cId="2011127005" sldId="974"/>
            <ac:spMk id="180" creationId="{00000000-0000-0000-0000-000000000000}"/>
          </ac:spMkLst>
        </pc:spChg>
        <pc:picChg chg="add mod">
          <ac:chgData name="Andreas Koksrud" userId="9d9beba6-c052-407a-8599-c781a677a996" providerId="ADAL" clId="{3709BB77-63F6-4A9F-B8E2-244723369860}" dt="2024-08-20T08:34:26.348" v="3643" actId="1076"/>
          <ac:picMkLst>
            <pc:docMk/>
            <pc:sldMk cId="2011127005" sldId="974"/>
            <ac:picMk id="3" creationId="{40A05BD8-F3A7-B195-36CE-DD8B936FC14E}"/>
          </ac:picMkLst>
        </pc:picChg>
        <pc:picChg chg="del">
          <ac:chgData name="Andreas Koksrud" userId="9d9beba6-c052-407a-8599-c781a677a996" providerId="ADAL" clId="{3709BB77-63F6-4A9F-B8E2-244723369860}" dt="2024-08-11T09:54:19.588" v="81" actId="478"/>
          <ac:picMkLst>
            <pc:docMk/>
            <pc:sldMk cId="2011127005" sldId="974"/>
            <ac:picMk id="3" creationId="{57C6686E-7A90-FD07-E113-D6B4C0121822}"/>
          </ac:picMkLst>
        </pc:picChg>
        <pc:picChg chg="add mod">
          <ac:chgData name="Andreas Koksrud" userId="9d9beba6-c052-407a-8599-c781a677a996" providerId="ADAL" clId="{3709BB77-63F6-4A9F-B8E2-244723369860}" dt="2024-08-20T08:34:27.848" v="3644" actId="1076"/>
          <ac:picMkLst>
            <pc:docMk/>
            <pc:sldMk cId="2011127005" sldId="974"/>
            <ac:picMk id="1026" creationId="{41D01BC7-6384-6294-ED8B-A227B35003A6}"/>
          </ac:picMkLst>
        </pc:picChg>
      </pc:sldChg>
      <pc:sldChg chg="modSp add mod">
        <pc:chgData name="Andreas Koksrud" userId="9d9beba6-c052-407a-8599-c781a677a996" providerId="ADAL" clId="{3709BB77-63F6-4A9F-B8E2-244723369860}" dt="2024-08-11T09:57:38.274" v="369" actId="20577"/>
        <pc:sldMkLst>
          <pc:docMk/>
          <pc:sldMk cId="2436801190" sldId="975"/>
        </pc:sldMkLst>
        <pc:spChg chg="mod">
          <ac:chgData name="Andreas Koksrud" userId="9d9beba6-c052-407a-8599-c781a677a996" providerId="ADAL" clId="{3709BB77-63F6-4A9F-B8E2-244723369860}" dt="2024-08-11T09:57:20.115" v="320" actId="20577"/>
          <ac:spMkLst>
            <pc:docMk/>
            <pc:sldMk cId="2436801190" sldId="975"/>
            <ac:spMk id="4" creationId="{DE0C575D-F875-9B15-8F31-C1C17BBB6875}"/>
          </ac:spMkLst>
        </pc:spChg>
        <pc:spChg chg="mod">
          <ac:chgData name="Andreas Koksrud" userId="9d9beba6-c052-407a-8599-c781a677a996" providerId="ADAL" clId="{3709BB77-63F6-4A9F-B8E2-244723369860}" dt="2024-08-11T09:56:19.110" v="305" actId="13926"/>
          <ac:spMkLst>
            <pc:docMk/>
            <pc:sldMk cId="2436801190" sldId="975"/>
            <ac:spMk id="5" creationId="{06C331F7-EF3E-5E7F-9901-C355F1A9896B}"/>
          </ac:spMkLst>
        </pc:spChg>
        <pc:spChg chg="mod">
          <ac:chgData name="Andreas Koksrud" userId="9d9beba6-c052-407a-8599-c781a677a996" providerId="ADAL" clId="{3709BB77-63F6-4A9F-B8E2-244723369860}" dt="2024-08-11T09:57:38.274" v="369" actId="20577"/>
          <ac:spMkLst>
            <pc:docMk/>
            <pc:sldMk cId="2436801190" sldId="975"/>
            <ac:spMk id="6" creationId="{8AD0F756-29C2-587E-484F-82A0EBA49B8C}"/>
          </ac:spMkLst>
        </pc:spChg>
        <pc:spChg chg="mod">
          <ac:chgData name="Andreas Koksrud" userId="9d9beba6-c052-407a-8599-c781a677a996" providerId="ADAL" clId="{3709BB77-63F6-4A9F-B8E2-244723369860}" dt="2024-08-11T09:54:39.606" v="110" actId="20577"/>
          <ac:spMkLst>
            <pc:docMk/>
            <pc:sldMk cId="2436801190" sldId="975"/>
            <ac:spMk id="180" creationId="{00000000-0000-0000-0000-000000000000}"/>
          </ac:spMkLst>
        </pc:spChg>
      </pc:sldChg>
      <pc:sldChg chg="del">
        <pc:chgData name="Andreas Koksrud" userId="9d9beba6-c052-407a-8599-c781a677a996" providerId="ADAL" clId="{3709BB77-63F6-4A9F-B8E2-244723369860}" dt="2024-08-11T09:50:15.576" v="43" actId="47"/>
        <pc:sldMkLst>
          <pc:docMk/>
          <pc:sldMk cId="2327836157" sldId="976"/>
        </pc:sldMkLst>
      </pc:sldChg>
      <pc:sldChg chg="del">
        <pc:chgData name="Andreas Koksrud" userId="9d9beba6-c052-407a-8599-c781a677a996" providerId="ADAL" clId="{3709BB77-63F6-4A9F-B8E2-244723369860}" dt="2024-08-11T09:50:15.576" v="43" actId="47"/>
        <pc:sldMkLst>
          <pc:docMk/>
          <pc:sldMk cId="520098437" sldId="977"/>
        </pc:sldMkLst>
      </pc:sldChg>
      <pc:sldChg chg="del">
        <pc:chgData name="Andreas Koksrud" userId="9d9beba6-c052-407a-8599-c781a677a996" providerId="ADAL" clId="{3709BB77-63F6-4A9F-B8E2-244723369860}" dt="2024-08-11T09:50:15.576" v="43" actId="47"/>
        <pc:sldMkLst>
          <pc:docMk/>
          <pc:sldMk cId="3623507131" sldId="980"/>
        </pc:sldMkLst>
      </pc:sldChg>
      <pc:sldChg chg="del">
        <pc:chgData name="Andreas Koksrud" userId="9d9beba6-c052-407a-8599-c781a677a996" providerId="ADAL" clId="{3709BB77-63F6-4A9F-B8E2-244723369860}" dt="2024-08-11T09:50:15.576" v="43" actId="47"/>
        <pc:sldMkLst>
          <pc:docMk/>
          <pc:sldMk cId="201479614" sldId="981"/>
        </pc:sldMkLst>
      </pc:sldChg>
      <pc:sldChg chg="del">
        <pc:chgData name="Andreas Koksrud" userId="9d9beba6-c052-407a-8599-c781a677a996" providerId="ADAL" clId="{3709BB77-63F6-4A9F-B8E2-244723369860}" dt="2024-08-11T09:50:15.576" v="43" actId="47"/>
        <pc:sldMkLst>
          <pc:docMk/>
          <pc:sldMk cId="3258998827" sldId="982"/>
        </pc:sldMkLst>
      </pc:sldChg>
      <pc:sldChg chg="del">
        <pc:chgData name="Andreas Koksrud" userId="9d9beba6-c052-407a-8599-c781a677a996" providerId="ADAL" clId="{3709BB77-63F6-4A9F-B8E2-244723369860}" dt="2024-08-11T09:50:15.576" v="43" actId="47"/>
        <pc:sldMkLst>
          <pc:docMk/>
          <pc:sldMk cId="2763641771" sldId="983"/>
        </pc:sldMkLst>
      </pc:sldChg>
      <pc:sldChg chg="del">
        <pc:chgData name="Andreas Koksrud" userId="9d9beba6-c052-407a-8599-c781a677a996" providerId="ADAL" clId="{3709BB77-63F6-4A9F-B8E2-244723369860}" dt="2024-08-11T09:50:15.576" v="43" actId="47"/>
        <pc:sldMkLst>
          <pc:docMk/>
          <pc:sldMk cId="29582" sldId="984"/>
        </pc:sldMkLst>
      </pc:sldChg>
      <pc:sldChg chg="del">
        <pc:chgData name="Andreas Koksrud" userId="9d9beba6-c052-407a-8599-c781a677a996" providerId="ADAL" clId="{3709BB77-63F6-4A9F-B8E2-244723369860}" dt="2024-08-11T09:50:15.576" v="43" actId="47"/>
        <pc:sldMkLst>
          <pc:docMk/>
          <pc:sldMk cId="2373732333" sldId="985"/>
        </pc:sldMkLst>
      </pc:sldChg>
      <pc:sldChg chg="del">
        <pc:chgData name="Andreas Koksrud" userId="9d9beba6-c052-407a-8599-c781a677a996" providerId="ADAL" clId="{3709BB77-63F6-4A9F-B8E2-244723369860}" dt="2024-08-11T09:50:15.576" v="43" actId="47"/>
        <pc:sldMkLst>
          <pc:docMk/>
          <pc:sldMk cId="3094626849" sldId="986"/>
        </pc:sldMkLst>
      </pc:sldChg>
      <pc:sldChg chg="del">
        <pc:chgData name="Andreas Koksrud" userId="9d9beba6-c052-407a-8599-c781a677a996" providerId="ADAL" clId="{3709BB77-63F6-4A9F-B8E2-244723369860}" dt="2024-08-11T09:50:15.576" v="43" actId="47"/>
        <pc:sldMkLst>
          <pc:docMk/>
          <pc:sldMk cId="1120336581" sldId="987"/>
        </pc:sldMkLst>
      </pc:sldChg>
      <pc:sldChg chg="del">
        <pc:chgData name="Andreas Koksrud" userId="9d9beba6-c052-407a-8599-c781a677a996" providerId="ADAL" clId="{3709BB77-63F6-4A9F-B8E2-244723369860}" dt="2024-08-11T09:50:15.576" v="43" actId="47"/>
        <pc:sldMkLst>
          <pc:docMk/>
          <pc:sldMk cId="2633229105" sldId="988"/>
        </pc:sldMkLst>
      </pc:sldChg>
      <pc:sldChg chg="del">
        <pc:chgData name="Andreas Koksrud" userId="9d9beba6-c052-407a-8599-c781a677a996" providerId="ADAL" clId="{3709BB77-63F6-4A9F-B8E2-244723369860}" dt="2024-08-11T09:50:15.576" v="43" actId="47"/>
        <pc:sldMkLst>
          <pc:docMk/>
          <pc:sldMk cId="2858715144" sldId="989"/>
        </pc:sldMkLst>
      </pc:sldChg>
      <pc:sldChg chg="del">
        <pc:chgData name="Andreas Koksrud" userId="9d9beba6-c052-407a-8599-c781a677a996" providerId="ADAL" clId="{3709BB77-63F6-4A9F-B8E2-244723369860}" dt="2024-08-11T09:50:15.576" v="43" actId="47"/>
        <pc:sldMkLst>
          <pc:docMk/>
          <pc:sldMk cId="1472919352" sldId="990"/>
        </pc:sldMkLst>
      </pc:sldChg>
      <pc:sldChg chg="del">
        <pc:chgData name="Andreas Koksrud" userId="9d9beba6-c052-407a-8599-c781a677a996" providerId="ADAL" clId="{3709BB77-63F6-4A9F-B8E2-244723369860}" dt="2024-08-11T09:50:15.576" v="43" actId="47"/>
        <pc:sldMkLst>
          <pc:docMk/>
          <pc:sldMk cId="1776970496" sldId="991"/>
        </pc:sldMkLst>
      </pc:sldChg>
      <pc:sldChg chg="del">
        <pc:chgData name="Andreas Koksrud" userId="9d9beba6-c052-407a-8599-c781a677a996" providerId="ADAL" clId="{3709BB77-63F6-4A9F-B8E2-244723369860}" dt="2024-08-11T09:50:15.576" v="43" actId="47"/>
        <pc:sldMkLst>
          <pc:docMk/>
          <pc:sldMk cId="3392338419" sldId="992"/>
        </pc:sldMkLst>
      </pc:sldChg>
      <pc:sldChg chg="del">
        <pc:chgData name="Andreas Koksrud" userId="9d9beba6-c052-407a-8599-c781a677a996" providerId="ADAL" clId="{3709BB77-63F6-4A9F-B8E2-244723369860}" dt="2024-08-11T09:50:15.576" v="43" actId="47"/>
        <pc:sldMkLst>
          <pc:docMk/>
          <pc:sldMk cId="3849634961" sldId="993"/>
        </pc:sldMkLst>
      </pc:sldChg>
      <pc:sldChg chg="del">
        <pc:chgData name="Andreas Koksrud" userId="9d9beba6-c052-407a-8599-c781a677a996" providerId="ADAL" clId="{3709BB77-63F6-4A9F-B8E2-244723369860}" dt="2024-08-11T09:50:15.576" v="43" actId="47"/>
        <pc:sldMkLst>
          <pc:docMk/>
          <pc:sldMk cId="3249461836" sldId="994"/>
        </pc:sldMkLst>
      </pc:sldChg>
      <pc:sldChg chg="del">
        <pc:chgData name="Andreas Koksrud" userId="9d9beba6-c052-407a-8599-c781a677a996" providerId="ADAL" clId="{3709BB77-63F6-4A9F-B8E2-244723369860}" dt="2024-08-11T09:50:15.576" v="43" actId="47"/>
        <pc:sldMkLst>
          <pc:docMk/>
          <pc:sldMk cId="1236723272" sldId="995"/>
        </pc:sldMkLst>
      </pc:sldChg>
      <pc:sldChg chg="del">
        <pc:chgData name="Andreas Koksrud" userId="9d9beba6-c052-407a-8599-c781a677a996" providerId="ADAL" clId="{3709BB77-63F6-4A9F-B8E2-244723369860}" dt="2024-08-11T09:50:15.576" v="43" actId="47"/>
        <pc:sldMkLst>
          <pc:docMk/>
          <pc:sldMk cId="1617717875" sldId="996"/>
        </pc:sldMkLst>
      </pc:sldChg>
      <pc:sldChg chg="modSp add mod">
        <pc:chgData name="Andreas Koksrud" userId="9d9beba6-c052-407a-8599-c781a677a996" providerId="ADAL" clId="{3709BB77-63F6-4A9F-B8E2-244723369860}" dt="2024-08-11T10:16:05.110" v="2074" actId="20577"/>
        <pc:sldMkLst>
          <pc:docMk/>
          <pc:sldMk cId="69240320" sldId="1000"/>
        </pc:sldMkLst>
        <pc:spChg chg="mod">
          <ac:chgData name="Andreas Koksrud" userId="9d9beba6-c052-407a-8599-c781a677a996" providerId="ADAL" clId="{3709BB77-63F6-4A9F-B8E2-244723369860}" dt="2024-08-11T09:58:00.667" v="421" actId="20577"/>
          <ac:spMkLst>
            <pc:docMk/>
            <pc:sldMk cId="69240320" sldId="1000"/>
            <ac:spMk id="2" creationId="{684305E7-7601-D631-930D-163AF31053F1}"/>
          </ac:spMkLst>
        </pc:spChg>
        <pc:spChg chg="mod">
          <ac:chgData name="Andreas Koksrud" userId="9d9beba6-c052-407a-8599-c781a677a996" providerId="ADAL" clId="{3709BB77-63F6-4A9F-B8E2-244723369860}" dt="2024-08-11T10:15:54.262" v="2038" actId="20577"/>
          <ac:spMkLst>
            <pc:docMk/>
            <pc:sldMk cId="69240320" sldId="1000"/>
            <ac:spMk id="3" creationId="{D98D71AC-DD16-CF17-134E-470414B344F7}"/>
          </ac:spMkLst>
        </pc:spChg>
        <pc:spChg chg="mod">
          <ac:chgData name="Andreas Koksrud" userId="9d9beba6-c052-407a-8599-c781a677a996" providerId="ADAL" clId="{3709BB77-63F6-4A9F-B8E2-244723369860}" dt="2024-08-11T10:16:05.110" v="2074" actId="20577"/>
          <ac:spMkLst>
            <pc:docMk/>
            <pc:sldMk cId="69240320" sldId="1000"/>
            <ac:spMk id="180" creationId="{00000000-0000-0000-0000-000000000000}"/>
          </ac:spMkLst>
        </pc:spChg>
      </pc:sldChg>
      <pc:sldChg chg="addSp delSp modSp add mod">
        <pc:chgData name="Andreas Koksrud" userId="9d9beba6-c052-407a-8599-c781a677a996" providerId="ADAL" clId="{3709BB77-63F6-4A9F-B8E2-244723369860}" dt="2024-08-11T10:01:45.067" v="838" actId="20577"/>
        <pc:sldMkLst>
          <pc:docMk/>
          <pc:sldMk cId="3662907216" sldId="1001"/>
        </pc:sldMkLst>
        <pc:spChg chg="mod">
          <ac:chgData name="Andreas Koksrud" userId="9d9beba6-c052-407a-8599-c781a677a996" providerId="ADAL" clId="{3709BB77-63F6-4A9F-B8E2-244723369860}" dt="2024-08-11T09:59:18.022" v="561" actId="20577"/>
          <ac:spMkLst>
            <pc:docMk/>
            <pc:sldMk cId="3662907216" sldId="1001"/>
            <ac:spMk id="3" creationId="{D98D71AC-DD16-CF17-134E-470414B344F7}"/>
          </ac:spMkLst>
        </pc:spChg>
        <pc:spChg chg="add del mod">
          <ac:chgData name="Andreas Koksrud" userId="9d9beba6-c052-407a-8599-c781a677a996" providerId="ADAL" clId="{3709BB77-63F6-4A9F-B8E2-244723369860}" dt="2024-08-11T09:59:05.135" v="542" actId="478"/>
          <ac:spMkLst>
            <pc:docMk/>
            <pc:sldMk cId="3662907216" sldId="1001"/>
            <ac:spMk id="5" creationId="{6AC55273-6A9C-EAEF-1D26-DB01BB333A22}"/>
          </ac:spMkLst>
        </pc:spChg>
        <pc:spChg chg="add del mod">
          <ac:chgData name="Andreas Koksrud" userId="9d9beba6-c052-407a-8599-c781a677a996" providerId="ADAL" clId="{3709BB77-63F6-4A9F-B8E2-244723369860}" dt="2024-08-11T09:59:09.283" v="544" actId="478"/>
          <ac:spMkLst>
            <pc:docMk/>
            <pc:sldMk cId="3662907216" sldId="1001"/>
            <ac:spMk id="7" creationId="{F1D45207-53A7-CAE5-96CD-DC8016C9C048}"/>
          </ac:spMkLst>
        </pc:spChg>
        <pc:spChg chg="add mod">
          <ac:chgData name="Andreas Koksrud" userId="9d9beba6-c052-407a-8599-c781a677a996" providerId="ADAL" clId="{3709BB77-63F6-4A9F-B8E2-244723369860}" dt="2024-08-11T09:59:22.157" v="577" actId="20577"/>
          <ac:spMkLst>
            <pc:docMk/>
            <pc:sldMk cId="3662907216" sldId="1001"/>
            <ac:spMk id="8" creationId="{86D45E1A-CFA0-5F3D-A465-2842B2CC118D}"/>
          </ac:spMkLst>
        </pc:spChg>
        <pc:spChg chg="add mod">
          <ac:chgData name="Andreas Koksrud" userId="9d9beba6-c052-407a-8599-c781a677a996" providerId="ADAL" clId="{3709BB77-63F6-4A9F-B8E2-244723369860}" dt="2024-08-11T10:01:45.067" v="838" actId="20577"/>
          <ac:spMkLst>
            <pc:docMk/>
            <pc:sldMk cId="3662907216" sldId="1001"/>
            <ac:spMk id="9" creationId="{51983C6D-632C-2588-1485-B85E5134A5FC}"/>
          </ac:spMkLst>
        </pc:spChg>
        <pc:spChg chg="del">
          <ac:chgData name="Andreas Koksrud" userId="9d9beba6-c052-407a-8599-c781a677a996" providerId="ADAL" clId="{3709BB77-63F6-4A9F-B8E2-244723369860}" dt="2024-08-11T09:59:03.065" v="541" actId="478"/>
          <ac:spMkLst>
            <pc:docMk/>
            <pc:sldMk cId="3662907216" sldId="1001"/>
            <ac:spMk id="180" creationId="{00000000-0000-0000-0000-000000000000}"/>
          </ac:spMkLst>
        </pc:spChg>
        <pc:graphicFrameChg chg="del">
          <ac:chgData name="Andreas Koksrud" userId="9d9beba6-c052-407a-8599-c781a677a996" providerId="ADAL" clId="{3709BB77-63F6-4A9F-B8E2-244723369860}" dt="2024-08-11T09:59:07.193" v="543" actId="478"/>
          <ac:graphicFrameMkLst>
            <pc:docMk/>
            <pc:sldMk cId="3662907216" sldId="1001"/>
            <ac:graphicFrameMk id="182" creationId="{31C961BD-9981-8CD8-539D-AB011F3808BE}"/>
          </ac:graphicFrameMkLst>
        </pc:graphicFrameChg>
      </pc:sldChg>
      <pc:sldChg chg="modSp add mod">
        <pc:chgData name="Andreas Koksrud" userId="9d9beba6-c052-407a-8599-c781a677a996" providerId="ADAL" clId="{3709BB77-63F6-4A9F-B8E2-244723369860}" dt="2024-08-11T10:04:06.112" v="1195" actId="20577"/>
        <pc:sldMkLst>
          <pc:docMk/>
          <pc:sldMk cId="3232936423" sldId="1002"/>
        </pc:sldMkLst>
        <pc:spChg chg="mod">
          <ac:chgData name="Andreas Koksrud" userId="9d9beba6-c052-407a-8599-c781a677a996" providerId="ADAL" clId="{3709BB77-63F6-4A9F-B8E2-244723369860}" dt="2024-08-11T10:04:06.112" v="1195" actId="20577"/>
          <ac:spMkLst>
            <pc:docMk/>
            <pc:sldMk cId="3232936423" sldId="1002"/>
            <ac:spMk id="3" creationId="{D98D71AC-DD16-CF17-134E-470414B344F7}"/>
          </ac:spMkLst>
        </pc:spChg>
        <pc:spChg chg="mod">
          <ac:chgData name="Andreas Koksrud" userId="9d9beba6-c052-407a-8599-c781a677a996" providerId="ADAL" clId="{3709BB77-63F6-4A9F-B8E2-244723369860}" dt="2024-08-11T10:02:00.002" v="852" actId="20577"/>
          <ac:spMkLst>
            <pc:docMk/>
            <pc:sldMk cId="3232936423" sldId="1002"/>
            <ac:spMk id="8" creationId="{86D45E1A-CFA0-5F3D-A465-2842B2CC118D}"/>
          </ac:spMkLst>
        </pc:spChg>
        <pc:spChg chg="mod">
          <ac:chgData name="Andreas Koksrud" userId="9d9beba6-c052-407a-8599-c781a677a996" providerId="ADAL" clId="{3709BB77-63F6-4A9F-B8E2-244723369860}" dt="2024-08-11T10:03:31.811" v="1179" actId="20577"/>
          <ac:spMkLst>
            <pc:docMk/>
            <pc:sldMk cId="3232936423" sldId="1002"/>
            <ac:spMk id="9" creationId="{51983C6D-632C-2588-1485-B85E5134A5FC}"/>
          </ac:spMkLst>
        </pc:spChg>
      </pc:sldChg>
      <pc:sldChg chg="modSp add mod">
        <pc:chgData name="Andreas Koksrud" userId="9d9beba6-c052-407a-8599-c781a677a996" providerId="ADAL" clId="{3709BB77-63F6-4A9F-B8E2-244723369860}" dt="2024-08-11T10:06:14.348" v="1433" actId="20577"/>
        <pc:sldMkLst>
          <pc:docMk/>
          <pc:sldMk cId="3526688720" sldId="1003"/>
        </pc:sldMkLst>
        <pc:spChg chg="mod">
          <ac:chgData name="Andreas Koksrud" userId="9d9beba6-c052-407a-8599-c781a677a996" providerId="ADAL" clId="{3709BB77-63F6-4A9F-B8E2-244723369860}" dt="2024-08-11T10:04:11.042" v="1201" actId="20577"/>
          <ac:spMkLst>
            <pc:docMk/>
            <pc:sldMk cId="3526688720" sldId="1003"/>
            <ac:spMk id="3" creationId="{D98D71AC-DD16-CF17-134E-470414B344F7}"/>
          </ac:spMkLst>
        </pc:spChg>
        <pc:spChg chg="mod">
          <ac:chgData name="Andreas Koksrud" userId="9d9beba6-c052-407a-8599-c781a677a996" providerId="ADAL" clId="{3709BB77-63F6-4A9F-B8E2-244723369860}" dt="2024-08-11T10:04:13.986" v="1207" actId="20577"/>
          <ac:spMkLst>
            <pc:docMk/>
            <pc:sldMk cId="3526688720" sldId="1003"/>
            <ac:spMk id="8" creationId="{86D45E1A-CFA0-5F3D-A465-2842B2CC118D}"/>
          </ac:spMkLst>
        </pc:spChg>
        <pc:spChg chg="mod">
          <ac:chgData name="Andreas Koksrud" userId="9d9beba6-c052-407a-8599-c781a677a996" providerId="ADAL" clId="{3709BB77-63F6-4A9F-B8E2-244723369860}" dt="2024-08-11T10:06:14.348" v="1433" actId="20577"/>
          <ac:spMkLst>
            <pc:docMk/>
            <pc:sldMk cId="3526688720" sldId="1003"/>
            <ac:spMk id="9" creationId="{51983C6D-632C-2588-1485-B85E5134A5FC}"/>
          </ac:spMkLst>
        </pc:spChg>
      </pc:sldChg>
      <pc:sldChg chg="modSp add mod">
        <pc:chgData name="Andreas Koksrud" userId="9d9beba6-c052-407a-8599-c781a677a996" providerId="ADAL" clId="{3709BB77-63F6-4A9F-B8E2-244723369860}" dt="2024-08-11T10:12:01.874" v="1867" actId="20577"/>
        <pc:sldMkLst>
          <pc:docMk/>
          <pc:sldMk cId="409760540" sldId="1004"/>
        </pc:sldMkLst>
        <pc:spChg chg="mod">
          <ac:chgData name="Andreas Koksrud" userId="9d9beba6-c052-407a-8599-c781a677a996" providerId="ADAL" clId="{3709BB77-63F6-4A9F-B8E2-244723369860}" dt="2024-08-11T10:06:57.143" v="1449" actId="20577"/>
          <ac:spMkLst>
            <pc:docMk/>
            <pc:sldMk cId="409760540" sldId="1004"/>
            <ac:spMk id="3" creationId="{D98D71AC-DD16-CF17-134E-470414B344F7}"/>
          </ac:spMkLst>
        </pc:spChg>
        <pc:spChg chg="mod">
          <ac:chgData name="Andreas Koksrud" userId="9d9beba6-c052-407a-8599-c781a677a996" providerId="ADAL" clId="{3709BB77-63F6-4A9F-B8E2-244723369860}" dt="2024-08-11T10:06:51.051" v="1442" actId="20577"/>
          <ac:spMkLst>
            <pc:docMk/>
            <pc:sldMk cId="409760540" sldId="1004"/>
            <ac:spMk id="8" creationId="{86D45E1A-CFA0-5F3D-A465-2842B2CC118D}"/>
          </ac:spMkLst>
        </pc:spChg>
        <pc:spChg chg="mod">
          <ac:chgData name="Andreas Koksrud" userId="9d9beba6-c052-407a-8599-c781a677a996" providerId="ADAL" clId="{3709BB77-63F6-4A9F-B8E2-244723369860}" dt="2024-08-11T10:12:01.874" v="1867" actId="20577"/>
          <ac:spMkLst>
            <pc:docMk/>
            <pc:sldMk cId="409760540" sldId="1004"/>
            <ac:spMk id="9" creationId="{51983C6D-632C-2588-1485-B85E5134A5FC}"/>
          </ac:spMkLst>
        </pc:spChg>
      </pc:sldChg>
      <pc:sldChg chg="modSp add mod">
        <pc:chgData name="Andreas Koksrud" userId="9d9beba6-c052-407a-8599-c781a677a996" providerId="ADAL" clId="{3709BB77-63F6-4A9F-B8E2-244723369860}" dt="2024-08-11T10:09:31.573" v="1821" actId="20577"/>
        <pc:sldMkLst>
          <pc:docMk/>
          <pc:sldMk cId="1429003844" sldId="1005"/>
        </pc:sldMkLst>
        <pc:spChg chg="mod">
          <ac:chgData name="Andreas Koksrud" userId="9d9beba6-c052-407a-8599-c781a677a996" providerId="ADAL" clId="{3709BB77-63F6-4A9F-B8E2-244723369860}" dt="2024-08-11T10:07:03.845" v="1456" actId="20577"/>
          <ac:spMkLst>
            <pc:docMk/>
            <pc:sldMk cId="1429003844" sldId="1005"/>
            <ac:spMk id="3" creationId="{D98D71AC-DD16-CF17-134E-470414B344F7}"/>
          </ac:spMkLst>
        </pc:spChg>
        <pc:spChg chg="mod">
          <ac:chgData name="Andreas Koksrud" userId="9d9beba6-c052-407a-8599-c781a677a996" providerId="ADAL" clId="{3709BB77-63F6-4A9F-B8E2-244723369860}" dt="2024-08-11T10:07:08.239" v="1463" actId="20577"/>
          <ac:spMkLst>
            <pc:docMk/>
            <pc:sldMk cId="1429003844" sldId="1005"/>
            <ac:spMk id="8" creationId="{86D45E1A-CFA0-5F3D-A465-2842B2CC118D}"/>
          </ac:spMkLst>
        </pc:spChg>
        <pc:spChg chg="mod">
          <ac:chgData name="Andreas Koksrud" userId="9d9beba6-c052-407a-8599-c781a677a996" providerId="ADAL" clId="{3709BB77-63F6-4A9F-B8E2-244723369860}" dt="2024-08-11T10:09:31.573" v="1821" actId="20577"/>
          <ac:spMkLst>
            <pc:docMk/>
            <pc:sldMk cId="1429003844" sldId="1005"/>
            <ac:spMk id="9" creationId="{51983C6D-632C-2588-1485-B85E5134A5FC}"/>
          </ac:spMkLst>
        </pc:spChg>
      </pc:sldChg>
      <pc:sldChg chg="del">
        <pc:chgData name="Andreas Koksrud" userId="9d9beba6-c052-407a-8599-c781a677a996" providerId="ADAL" clId="{3709BB77-63F6-4A9F-B8E2-244723369860}" dt="2024-08-11T09:50:15.576" v="43" actId="47"/>
        <pc:sldMkLst>
          <pc:docMk/>
          <pc:sldMk cId="1973431329" sldId="1006"/>
        </pc:sldMkLst>
      </pc:sldChg>
      <pc:sldChg chg="addSp modSp add mod">
        <pc:chgData name="Andreas Koksrud" userId="9d9beba6-c052-407a-8599-c781a677a996" providerId="ADAL" clId="{3709BB77-63F6-4A9F-B8E2-244723369860}" dt="2024-08-11T10:11:22.374" v="1860" actId="14100"/>
        <pc:sldMkLst>
          <pc:docMk/>
          <pc:sldMk cId="4011544621" sldId="1006"/>
        </pc:sldMkLst>
        <pc:spChg chg="mod">
          <ac:chgData name="Andreas Koksrud" userId="9d9beba6-c052-407a-8599-c781a677a996" providerId="ADAL" clId="{3709BB77-63F6-4A9F-B8E2-244723369860}" dt="2024-08-11T10:10:34.331" v="1845" actId="20577"/>
          <ac:spMkLst>
            <pc:docMk/>
            <pc:sldMk cId="4011544621" sldId="1006"/>
            <ac:spMk id="3" creationId="{D98D71AC-DD16-CF17-134E-470414B344F7}"/>
          </ac:spMkLst>
        </pc:spChg>
        <pc:spChg chg="mod">
          <ac:chgData name="Andreas Koksrud" userId="9d9beba6-c052-407a-8599-c781a677a996" providerId="ADAL" clId="{3709BB77-63F6-4A9F-B8E2-244723369860}" dt="2024-08-11T10:10:28.890" v="1832" actId="20577"/>
          <ac:spMkLst>
            <pc:docMk/>
            <pc:sldMk cId="4011544621" sldId="1006"/>
            <ac:spMk id="8" creationId="{86D45E1A-CFA0-5F3D-A465-2842B2CC118D}"/>
          </ac:spMkLst>
        </pc:spChg>
        <pc:spChg chg="mod">
          <ac:chgData name="Andreas Koksrud" userId="9d9beba6-c052-407a-8599-c781a677a996" providerId="ADAL" clId="{3709BB77-63F6-4A9F-B8E2-244723369860}" dt="2024-08-11T10:11:22.374" v="1860" actId="14100"/>
          <ac:spMkLst>
            <pc:docMk/>
            <pc:sldMk cId="4011544621" sldId="1006"/>
            <ac:spMk id="9" creationId="{51983C6D-632C-2588-1485-B85E5134A5FC}"/>
          </ac:spMkLst>
        </pc:spChg>
        <pc:picChg chg="add mod">
          <ac:chgData name="Andreas Koksrud" userId="9d9beba6-c052-407a-8599-c781a677a996" providerId="ADAL" clId="{3709BB77-63F6-4A9F-B8E2-244723369860}" dt="2024-08-11T10:11:16.929" v="1859" actId="14100"/>
          <ac:picMkLst>
            <pc:docMk/>
            <pc:sldMk cId="4011544621" sldId="1006"/>
            <ac:picMk id="4" creationId="{9A1B1F48-C012-6DB4-09D1-824750061456}"/>
          </ac:picMkLst>
        </pc:picChg>
      </pc:sldChg>
      <pc:sldChg chg="del">
        <pc:chgData name="Andreas Koksrud" userId="9d9beba6-c052-407a-8599-c781a677a996" providerId="ADAL" clId="{3709BB77-63F6-4A9F-B8E2-244723369860}" dt="2024-08-11T09:50:15.576" v="43" actId="47"/>
        <pc:sldMkLst>
          <pc:docMk/>
          <pc:sldMk cId="393510099" sldId="1007"/>
        </pc:sldMkLst>
      </pc:sldChg>
      <pc:sldChg chg="addSp delSp modSp add mod">
        <pc:chgData name="Andreas Koksrud" userId="9d9beba6-c052-407a-8599-c781a677a996" providerId="ADAL" clId="{3709BB77-63F6-4A9F-B8E2-244723369860}" dt="2024-08-11T10:15:11.836" v="2027" actId="20577"/>
        <pc:sldMkLst>
          <pc:docMk/>
          <pc:sldMk cId="2455441855" sldId="1007"/>
        </pc:sldMkLst>
        <pc:spChg chg="mod">
          <ac:chgData name="Andreas Koksrud" userId="9d9beba6-c052-407a-8599-c781a677a996" providerId="ADAL" clId="{3709BB77-63F6-4A9F-B8E2-244723369860}" dt="2024-08-11T10:15:11.836" v="2027" actId="20577"/>
          <ac:spMkLst>
            <pc:docMk/>
            <pc:sldMk cId="2455441855" sldId="1007"/>
            <ac:spMk id="3" creationId="{D98D71AC-DD16-CF17-134E-470414B344F7}"/>
          </ac:spMkLst>
        </pc:spChg>
        <pc:spChg chg="mod">
          <ac:chgData name="Andreas Koksrud" userId="9d9beba6-c052-407a-8599-c781a677a996" providerId="ADAL" clId="{3709BB77-63F6-4A9F-B8E2-244723369860}" dt="2024-08-11T10:12:34.465" v="1877" actId="20577"/>
          <ac:spMkLst>
            <pc:docMk/>
            <pc:sldMk cId="2455441855" sldId="1007"/>
            <ac:spMk id="8" creationId="{86D45E1A-CFA0-5F3D-A465-2842B2CC118D}"/>
          </ac:spMkLst>
        </pc:spChg>
        <pc:spChg chg="mod">
          <ac:chgData name="Andreas Koksrud" userId="9d9beba6-c052-407a-8599-c781a677a996" providerId="ADAL" clId="{3709BB77-63F6-4A9F-B8E2-244723369860}" dt="2024-08-11T10:12:43.763" v="1924" actId="20577"/>
          <ac:spMkLst>
            <pc:docMk/>
            <pc:sldMk cId="2455441855" sldId="1007"/>
            <ac:spMk id="9" creationId="{51983C6D-632C-2588-1485-B85E5134A5FC}"/>
          </ac:spMkLst>
        </pc:spChg>
        <pc:spChg chg="add mod">
          <ac:chgData name="Andreas Koksrud" userId="9d9beba6-c052-407a-8599-c781a677a996" providerId="ADAL" clId="{3709BB77-63F6-4A9F-B8E2-244723369860}" dt="2024-08-11T10:13:14.006" v="1930" actId="1076"/>
          <ac:spMkLst>
            <pc:docMk/>
            <pc:sldMk cId="2455441855" sldId="1007"/>
            <ac:spMk id="14" creationId="{B1DE3214-9DAA-6CF3-C47A-06A0A43528FC}"/>
          </ac:spMkLst>
        </pc:spChg>
        <pc:spChg chg="add mod">
          <ac:chgData name="Andreas Koksrud" userId="9d9beba6-c052-407a-8599-c781a677a996" providerId="ADAL" clId="{3709BB77-63F6-4A9F-B8E2-244723369860}" dt="2024-08-11T10:13:14.006" v="1930" actId="1076"/>
          <ac:spMkLst>
            <pc:docMk/>
            <pc:sldMk cId="2455441855" sldId="1007"/>
            <ac:spMk id="15" creationId="{93860A05-BD8A-0981-4F6B-97513DA982B8}"/>
          </ac:spMkLst>
        </pc:spChg>
        <pc:spChg chg="add mod">
          <ac:chgData name="Andreas Koksrud" userId="9d9beba6-c052-407a-8599-c781a677a996" providerId="ADAL" clId="{3709BB77-63F6-4A9F-B8E2-244723369860}" dt="2024-08-11T10:13:14.006" v="1930" actId="1076"/>
          <ac:spMkLst>
            <pc:docMk/>
            <pc:sldMk cId="2455441855" sldId="1007"/>
            <ac:spMk id="16" creationId="{1CB0A1EE-F5FD-C791-CE26-12BF9C4D9755}"/>
          </ac:spMkLst>
        </pc:spChg>
        <pc:spChg chg="add mod">
          <ac:chgData name="Andreas Koksrud" userId="9d9beba6-c052-407a-8599-c781a677a996" providerId="ADAL" clId="{3709BB77-63F6-4A9F-B8E2-244723369860}" dt="2024-08-11T10:13:14.006" v="1930" actId="1076"/>
          <ac:spMkLst>
            <pc:docMk/>
            <pc:sldMk cId="2455441855" sldId="1007"/>
            <ac:spMk id="18" creationId="{F754CD5D-54F6-4C0E-4E72-2A2C4F648A5B}"/>
          </ac:spMkLst>
        </pc:spChg>
        <pc:spChg chg="add mod">
          <ac:chgData name="Andreas Koksrud" userId="9d9beba6-c052-407a-8599-c781a677a996" providerId="ADAL" clId="{3709BB77-63F6-4A9F-B8E2-244723369860}" dt="2024-08-11T10:13:14.006" v="1930" actId="1076"/>
          <ac:spMkLst>
            <pc:docMk/>
            <pc:sldMk cId="2455441855" sldId="1007"/>
            <ac:spMk id="19" creationId="{0F0B0CAB-40E3-9A94-1BFB-2AB921ADDE52}"/>
          </ac:spMkLst>
        </pc:spChg>
        <pc:spChg chg="add mod">
          <ac:chgData name="Andreas Koksrud" userId="9d9beba6-c052-407a-8599-c781a677a996" providerId="ADAL" clId="{3709BB77-63F6-4A9F-B8E2-244723369860}" dt="2024-08-11T10:13:14.006" v="1930" actId="1076"/>
          <ac:spMkLst>
            <pc:docMk/>
            <pc:sldMk cId="2455441855" sldId="1007"/>
            <ac:spMk id="20" creationId="{8CFB5AD9-EFE7-6D65-C14A-192822C031CC}"/>
          </ac:spMkLst>
        </pc:spChg>
        <pc:spChg chg="add mod">
          <ac:chgData name="Andreas Koksrud" userId="9d9beba6-c052-407a-8599-c781a677a996" providerId="ADAL" clId="{3709BB77-63F6-4A9F-B8E2-244723369860}" dt="2024-08-11T10:13:14.006" v="1930" actId="1076"/>
          <ac:spMkLst>
            <pc:docMk/>
            <pc:sldMk cId="2455441855" sldId="1007"/>
            <ac:spMk id="21" creationId="{8E6E7575-F544-8C5D-AFFE-E7F5DE564A88}"/>
          </ac:spMkLst>
        </pc:spChg>
        <pc:spChg chg="add mod">
          <ac:chgData name="Andreas Koksrud" userId="9d9beba6-c052-407a-8599-c781a677a996" providerId="ADAL" clId="{3709BB77-63F6-4A9F-B8E2-244723369860}" dt="2024-08-11T10:13:14.006" v="1930" actId="1076"/>
          <ac:spMkLst>
            <pc:docMk/>
            <pc:sldMk cId="2455441855" sldId="1007"/>
            <ac:spMk id="26" creationId="{5182A614-3C62-72B7-3D41-8415F08F32AF}"/>
          </ac:spMkLst>
        </pc:spChg>
        <pc:spChg chg="add mod">
          <ac:chgData name="Andreas Koksrud" userId="9d9beba6-c052-407a-8599-c781a677a996" providerId="ADAL" clId="{3709BB77-63F6-4A9F-B8E2-244723369860}" dt="2024-08-11T10:13:14.006" v="1930" actId="1076"/>
          <ac:spMkLst>
            <pc:docMk/>
            <pc:sldMk cId="2455441855" sldId="1007"/>
            <ac:spMk id="27" creationId="{5D3D777D-FCA8-AEFD-7EDF-A4D4D66C319C}"/>
          </ac:spMkLst>
        </pc:spChg>
        <pc:picChg chg="del">
          <ac:chgData name="Andreas Koksrud" userId="9d9beba6-c052-407a-8599-c781a677a996" providerId="ADAL" clId="{3709BB77-63F6-4A9F-B8E2-244723369860}" dt="2024-08-11T10:12:45.611" v="1925" actId="478"/>
          <ac:picMkLst>
            <pc:docMk/>
            <pc:sldMk cId="2455441855" sldId="1007"/>
            <ac:picMk id="4" creationId="{9A1B1F48-C012-6DB4-09D1-824750061456}"/>
          </ac:picMkLst>
        </pc:picChg>
        <pc:picChg chg="add mod">
          <ac:chgData name="Andreas Koksrud" userId="9d9beba6-c052-407a-8599-c781a677a996" providerId="ADAL" clId="{3709BB77-63F6-4A9F-B8E2-244723369860}" dt="2024-08-11T10:13:14.006" v="1930" actId="1076"/>
          <ac:picMkLst>
            <pc:docMk/>
            <pc:sldMk cId="2455441855" sldId="1007"/>
            <ac:picMk id="5" creationId="{C9EB1EFF-3AEB-D37E-E63D-152DCEE7CE15}"/>
          </ac:picMkLst>
        </pc:picChg>
        <pc:picChg chg="add mod">
          <ac:chgData name="Andreas Koksrud" userId="9d9beba6-c052-407a-8599-c781a677a996" providerId="ADAL" clId="{3709BB77-63F6-4A9F-B8E2-244723369860}" dt="2024-08-11T10:13:14.006" v="1930" actId="1076"/>
          <ac:picMkLst>
            <pc:docMk/>
            <pc:sldMk cId="2455441855" sldId="1007"/>
            <ac:picMk id="10" creationId="{435379EF-4D17-9CDF-626B-C1236648CD41}"/>
          </ac:picMkLst>
        </pc:picChg>
        <pc:picChg chg="add mod">
          <ac:chgData name="Andreas Koksrud" userId="9d9beba6-c052-407a-8599-c781a677a996" providerId="ADAL" clId="{3709BB77-63F6-4A9F-B8E2-244723369860}" dt="2024-08-11T10:13:14.006" v="1930" actId="1076"/>
          <ac:picMkLst>
            <pc:docMk/>
            <pc:sldMk cId="2455441855" sldId="1007"/>
            <ac:picMk id="11" creationId="{10723956-74B1-DFB4-04A6-85CE273C58A0}"/>
          </ac:picMkLst>
        </pc:picChg>
        <pc:picChg chg="add mod">
          <ac:chgData name="Andreas Koksrud" userId="9d9beba6-c052-407a-8599-c781a677a996" providerId="ADAL" clId="{3709BB77-63F6-4A9F-B8E2-244723369860}" dt="2024-08-11T10:13:14.006" v="1930" actId="1076"/>
          <ac:picMkLst>
            <pc:docMk/>
            <pc:sldMk cId="2455441855" sldId="1007"/>
            <ac:picMk id="12" creationId="{D755C2AE-CF2E-F42D-F7C6-9586B0F30A79}"/>
          </ac:picMkLst>
        </pc:picChg>
        <pc:picChg chg="add mod">
          <ac:chgData name="Andreas Koksrud" userId="9d9beba6-c052-407a-8599-c781a677a996" providerId="ADAL" clId="{3709BB77-63F6-4A9F-B8E2-244723369860}" dt="2024-08-11T10:13:14.006" v="1930" actId="1076"/>
          <ac:picMkLst>
            <pc:docMk/>
            <pc:sldMk cId="2455441855" sldId="1007"/>
            <ac:picMk id="13" creationId="{B1B3056A-4A70-7BB3-3556-9ADBBF5D29FA}"/>
          </ac:picMkLst>
        </pc:picChg>
        <pc:picChg chg="add mod">
          <ac:chgData name="Andreas Koksrud" userId="9d9beba6-c052-407a-8599-c781a677a996" providerId="ADAL" clId="{3709BB77-63F6-4A9F-B8E2-244723369860}" dt="2024-08-11T10:13:14.006" v="1930" actId="1076"/>
          <ac:picMkLst>
            <pc:docMk/>
            <pc:sldMk cId="2455441855" sldId="1007"/>
            <ac:picMk id="22" creationId="{3142EC36-907F-4B2E-FB03-8904E0EBFECA}"/>
          </ac:picMkLst>
        </pc:picChg>
        <pc:picChg chg="add mod">
          <ac:chgData name="Andreas Koksrud" userId="9d9beba6-c052-407a-8599-c781a677a996" providerId="ADAL" clId="{3709BB77-63F6-4A9F-B8E2-244723369860}" dt="2024-08-11T10:13:14.006" v="1930" actId="1076"/>
          <ac:picMkLst>
            <pc:docMk/>
            <pc:sldMk cId="2455441855" sldId="1007"/>
            <ac:picMk id="23" creationId="{DC528D60-8C4F-CDEB-8CE5-75A2F11C3E3B}"/>
          </ac:picMkLst>
        </pc:picChg>
        <pc:picChg chg="add mod">
          <ac:chgData name="Andreas Koksrud" userId="9d9beba6-c052-407a-8599-c781a677a996" providerId="ADAL" clId="{3709BB77-63F6-4A9F-B8E2-244723369860}" dt="2024-08-11T10:13:14.006" v="1930" actId="1076"/>
          <ac:picMkLst>
            <pc:docMk/>
            <pc:sldMk cId="2455441855" sldId="1007"/>
            <ac:picMk id="24" creationId="{95032200-7A71-9449-8181-F969896E01C8}"/>
          </ac:picMkLst>
        </pc:picChg>
        <pc:picChg chg="add mod">
          <ac:chgData name="Andreas Koksrud" userId="9d9beba6-c052-407a-8599-c781a677a996" providerId="ADAL" clId="{3709BB77-63F6-4A9F-B8E2-244723369860}" dt="2024-08-11T10:13:14.006" v="1930" actId="1076"/>
          <ac:picMkLst>
            <pc:docMk/>
            <pc:sldMk cId="2455441855" sldId="1007"/>
            <ac:picMk id="28" creationId="{41855C38-1831-5512-CD6F-E16C5650AA08}"/>
          </ac:picMkLst>
        </pc:picChg>
        <pc:picChg chg="add mod">
          <ac:chgData name="Andreas Koksrud" userId="9d9beba6-c052-407a-8599-c781a677a996" providerId="ADAL" clId="{3709BB77-63F6-4A9F-B8E2-244723369860}" dt="2024-08-11T10:13:37.695" v="1933" actId="14100"/>
          <ac:picMkLst>
            <pc:docMk/>
            <pc:sldMk cId="2455441855" sldId="1007"/>
            <ac:picMk id="32" creationId="{E3268CD9-F914-F6E3-409E-6B9B4F391EB6}"/>
          </ac:picMkLst>
        </pc:picChg>
        <pc:cxnChg chg="add mod">
          <ac:chgData name="Andreas Koksrud" userId="9d9beba6-c052-407a-8599-c781a677a996" providerId="ADAL" clId="{3709BB77-63F6-4A9F-B8E2-244723369860}" dt="2024-08-11T10:13:14.006" v="1930" actId="1076"/>
          <ac:cxnSpMkLst>
            <pc:docMk/>
            <pc:sldMk cId="2455441855" sldId="1007"/>
            <ac:cxnSpMk id="6" creationId="{A6613379-BF42-117C-8D3C-D4193FC8A931}"/>
          </ac:cxnSpMkLst>
        </pc:cxnChg>
        <pc:cxnChg chg="add mod">
          <ac:chgData name="Andreas Koksrud" userId="9d9beba6-c052-407a-8599-c781a677a996" providerId="ADAL" clId="{3709BB77-63F6-4A9F-B8E2-244723369860}" dt="2024-08-11T10:13:14.006" v="1930" actId="1076"/>
          <ac:cxnSpMkLst>
            <pc:docMk/>
            <pc:sldMk cId="2455441855" sldId="1007"/>
            <ac:cxnSpMk id="7" creationId="{8C3EE96A-AD90-F2DE-1D09-B17CD504ADC9}"/>
          </ac:cxnSpMkLst>
        </pc:cxnChg>
        <pc:cxnChg chg="add mod">
          <ac:chgData name="Andreas Koksrud" userId="9d9beba6-c052-407a-8599-c781a677a996" providerId="ADAL" clId="{3709BB77-63F6-4A9F-B8E2-244723369860}" dt="2024-08-11T10:13:14.006" v="1930" actId="1076"/>
          <ac:cxnSpMkLst>
            <pc:docMk/>
            <pc:sldMk cId="2455441855" sldId="1007"/>
            <ac:cxnSpMk id="17" creationId="{62E10220-4C2F-0D0D-9697-AA3CC19D9239}"/>
          </ac:cxnSpMkLst>
        </pc:cxnChg>
        <pc:cxnChg chg="add mod">
          <ac:chgData name="Andreas Koksrud" userId="9d9beba6-c052-407a-8599-c781a677a996" providerId="ADAL" clId="{3709BB77-63F6-4A9F-B8E2-244723369860}" dt="2024-08-11T10:13:14.006" v="1930" actId="1076"/>
          <ac:cxnSpMkLst>
            <pc:docMk/>
            <pc:sldMk cId="2455441855" sldId="1007"/>
            <ac:cxnSpMk id="25" creationId="{DE38E8C3-8B48-1BA0-F4F8-3EBD3D93AF07}"/>
          </ac:cxnSpMkLst>
        </pc:cxnChg>
      </pc:sldChg>
      <pc:sldChg chg="delSp modSp add mod">
        <pc:chgData name="Andreas Koksrud" userId="9d9beba6-c052-407a-8599-c781a677a996" providerId="ADAL" clId="{3709BB77-63F6-4A9F-B8E2-244723369860}" dt="2024-08-11T10:16:42.494" v="2117" actId="20577"/>
        <pc:sldMkLst>
          <pc:docMk/>
          <pc:sldMk cId="27567207" sldId="1008"/>
        </pc:sldMkLst>
        <pc:spChg chg="mod">
          <ac:chgData name="Andreas Koksrud" userId="9d9beba6-c052-407a-8599-c781a677a996" providerId="ADAL" clId="{3709BB77-63F6-4A9F-B8E2-244723369860}" dt="2024-08-11T10:16:27.934" v="2081" actId="20577"/>
          <ac:spMkLst>
            <pc:docMk/>
            <pc:sldMk cId="27567207" sldId="1008"/>
            <ac:spMk id="180" creationId="{00000000-0000-0000-0000-000000000000}"/>
          </ac:spMkLst>
        </pc:spChg>
        <pc:spChg chg="mod">
          <ac:chgData name="Andreas Koksrud" userId="9d9beba6-c052-407a-8599-c781a677a996" providerId="ADAL" clId="{3709BB77-63F6-4A9F-B8E2-244723369860}" dt="2024-08-11T10:16:42.494" v="2117" actId="20577"/>
          <ac:spMkLst>
            <pc:docMk/>
            <pc:sldMk cId="27567207" sldId="1008"/>
            <ac:spMk id="181" creationId="{00000000-0000-0000-0000-000000000000}"/>
          </ac:spMkLst>
        </pc:spChg>
        <pc:picChg chg="del">
          <ac:chgData name="Andreas Koksrud" userId="9d9beba6-c052-407a-8599-c781a677a996" providerId="ADAL" clId="{3709BB77-63F6-4A9F-B8E2-244723369860}" dt="2024-08-11T10:16:30.298" v="2082" actId="478"/>
          <ac:picMkLst>
            <pc:docMk/>
            <pc:sldMk cId="27567207" sldId="1008"/>
            <ac:picMk id="5" creationId="{82DD04DF-520F-28F7-2148-51D7BB4981B2}"/>
          </ac:picMkLst>
        </pc:picChg>
      </pc:sldChg>
      <pc:sldChg chg="delSp modSp add del mod">
        <pc:chgData name="Andreas Koksrud" userId="9d9beba6-c052-407a-8599-c781a677a996" providerId="ADAL" clId="{3709BB77-63F6-4A9F-B8E2-244723369860}" dt="2024-08-11T10:14:45.103" v="1991" actId="47"/>
        <pc:sldMkLst>
          <pc:docMk/>
          <pc:sldMk cId="466313024" sldId="1008"/>
        </pc:sldMkLst>
        <pc:spChg chg="mod">
          <ac:chgData name="Andreas Koksrud" userId="9d9beba6-c052-407a-8599-c781a677a996" providerId="ADAL" clId="{3709BB77-63F6-4A9F-B8E2-244723369860}" dt="2024-08-11T10:14:08.827" v="1945" actId="20577"/>
          <ac:spMkLst>
            <pc:docMk/>
            <pc:sldMk cId="466313024" sldId="1008"/>
            <ac:spMk id="8" creationId="{86D45E1A-CFA0-5F3D-A465-2842B2CC118D}"/>
          </ac:spMkLst>
        </pc:spChg>
        <pc:spChg chg="mod">
          <ac:chgData name="Andreas Koksrud" userId="9d9beba6-c052-407a-8599-c781a677a996" providerId="ADAL" clId="{3709BB77-63F6-4A9F-B8E2-244723369860}" dt="2024-08-11T10:14:19.673" v="1989" actId="20577"/>
          <ac:spMkLst>
            <pc:docMk/>
            <pc:sldMk cId="466313024" sldId="1008"/>
            <ac:spMk id="9" creationId="{51983C6D-632C-2588-1485-B85E5134A5FC}"/>
          </ac:spMkLst>
        </pc:spChg>
        <pc:picChg chg="del">
          <ac:chgData name="Andreas Koksrud" userId="9d9beba6-c052-407a-8599-c781a677a996" providerId="ADAL" clId="{3709BB77-63F6-4A9F-B8E2-244723369860}" dt="2024-08-11T10:14:10.532" v="1946" actId="478"/>
          <ac:picMkLst>
            <pc:docMk/>
            <pc:sldMk cId="466313024" sldId="1008"/>
            <ac:picMk id="4" creationId="{9A1B1F48-C012-6DB4-09D1-824750061456}"/>
          </ac:picMkLst>
        </pc:picChg>
      </pc:sldChg>
      <pc:sldChg chg="del">
        <pc:chgData name="Andreas Koksrud" userId="9d9beba6-c052-407a-8599-c781a677a996" providerId="ADAL" clId="{3709BB77-63F6-4A9F-B8E2-244723369860}" dt="2024-08-11T09:50:15.576" v="43" actId="47"/>
        <pc:sldMkLst>
          <pc:docMk/>
          <pc:sldMk cId="204293732" sldId="1009"/>
        </pc:sldMkLst>
      </pc:sldChg>
      <pc:sldChg chg="modSp add mod ord">
        <pc:chgData name="Andreas Koksrud" userId="9d9beba6-c052-407a-8599-c781a677a996" providerId="ADAL" clId="{3709BB77-63F6-4A9F-B8E2-244723369860}" dt="2024-08-11T10:28:16.745" v="3590" actId="20577"/>
        <pc:sldMkLst>
          <pc:docMk/>
          <pc:sldMk cId="1101909220" sldId="1009"/>
        </pc:sldMkLst>
        <pc:spChg chg="mod">
          <ac:chgData name="Andreas Koksrud" userId="9d9beba6-c052-407a-8599-c781a677a996" providerId="ADAL" clId="{3709BB77-63F6-4A9F-B8E2-244723369860}" dt="2024-08-11T10:18:16.857" v="2353" actId="20577"/>
          <ac:spMkLst>
            <pc:docMk/>
            <pc:sldMk cId="1101909220" sldId="1009"/>
            <ac:spMk id="3" creationId="{1E25DF2D-D2A1-6026-2A45-5B48A09582E5}"/>
          </ac:spMkLst>
        </pc:spChg>
        <pc:spChg chg="mod">
          <ac:chgData name="Andreas Koksrud" userId="9d9beba6-c052-407a-8599-c781a677a996" providerId="ADAL" clId="{3709BB77-63F6-4A9F-B8E2-244723369860}" dt="2024-08-11T10:18:19.657" v="2359" actId="20577"/>
          <ac:spMkLst>
            <pc:docMk/>
            <pc:sldMk cId="1101909220" sldId="1009"/>
            <ac:spMk id="180" creationId="{00000000-0000-0000-0000-000000000000}"/>
          </ac:spMkLst>
        </pc:spChg>
        <pc:spChg chg="mod">
          <ac:chgData name="Andreas Koksrud" userId="9d9beba6-c052-407a-8599-c781a677a996" providerId="ADAL" clId="{3709BB77-63F6-4A9F-B8E2-244723369860}" dt="2024-08-11T10:28:16.745" v="3590" actId="20577"/>
          <ac:spMkLst>
            <pc:docMk/>
            <pc:sldMk cId="1101909220" sldId="1009"/>
            <ac:spMk id="181" creationId="{00000000-0000-0000-0000-000000000000}"/>
          </ac:spMkLst>
        </pc:spChg>
      </pc:sldChg>
      <pc:sldChg chg="modSp add mod">
        <pc:chgData name="Andreas Koksrud" userId="9d9beba6-c052-407a-8599-c781a677a996" providerId="ADAL" clId="{3709BB77-63F6-4A9F-B8E2-244723369860}" dt="2024-08-22T05:54:52.918" v="3709" actId="20577"/>
        <pc:sldMkLst>
          <pc:docMk/>
          <pc:sldMk cId="1214755120" sldId="1010"/>
        </pc:sldMkLst>
        <pc:spChg chg="mod">
          <ac:chgData name="Andreas Koksrud" userId="9d9beba6-c052-407a-8599-c781a677a996" providerId="ADAL" clId="{3709BB77-63F6-4A9F-B8E2-244723369860}" dt="2024-08-22T05:54:33.074" v="3662" actId="20577"/>
          <ac:spMkLst>
            <pc:docMk/>
            <pc:sldMk cId="1214755120" sldId="1010"/>
            <ac:spMk id="180" creationId="{00000000-0000-0000-0000-000000000000}"/>
          </ac:spMkLst>
        </pc:spChg>
        <pc:spChg chg="mod">
          <ac:chgData name="Andreas Koksrud" userId="9d9beba6-c052-407a-8599-c781a677a996" providerId="ADAL" clId="{3709BB77-63F6-4A9F-B8E2-244723369860}" dt="2024-08-22T05:54:52.918" v="3709" actId="20577"/>
          <ac:spMkLst>
            <pc:docMk/>
            <pc:sldMk cId="1214755120" sldId="1010"/>
            <ac:spMk id="181" creationId="{00000000-0000-0000-0000-000000000000}"/>
          </ac:spMkLst>
        </pc:spChg>
      </pc:sldChg>
      <pc:sldChg chg="del">
        <pc:chgData name="Andreas Koksrud" userId="9d9beba6-c052-407a-8599-c781a677a996" providerId="ADAL" clId="{3709BB77-63F6-4A9F-B8E2-244723369860}" dt="2024-08-11T09:50:15.576" v="43" actId="47"/>
        <pc:sldMkLst>
          <pc:docMk/>
          <pc:sldMk cId="1721478970" sldId="1010"/>
        </pc:sldMkLst>
      </pc:sldChg>
      <pc:sldChg chg="del">
        <pc:chgData name="Andreas Koksrud" userId="9d9beba6-c052-407a-8599-c781a677a996" providerId="ADAL" clId="{3709BB77-63F6-4A9F-B8E2-244723369860}" dt="2024-08-11T09:50:15.576" v="43" actId="47"/>
        <pc:sldMkLst>
          <pc:docMk/>
          <pc:sldMk cId="653559357" sldId="1011"/>
        </pc:sldMkLst>
      </pc:sldChg>
    </pc:docChg>
  </pc:docChgLst>
  <pc:docChgLst>
    <pc:chgData name="Koksrud Andreas" userId="9d9beba6-c052-407a-8599-c781a677a996" providerId="ADAL" clId="{4C03B8BE-ED6C-47DA-A194-101B46B7832B}"/>
    <pc:docChg chg="undo redo custSel addSld delSld modSld sldOrd modSection">
      <pc:chgData name="Koksrud Andreas" userId="9d9beba6-c052-407a-8599-c781a677a996" providerId="ADAL" clId="{4C03B8BE-ED6C-47DA-A194-101B46B7832B}" dt="2024-02-02T10:18:46.071" v="6818" actId="20577"/>
      <pc:docMkLst>
        <pc:docMk/>
      </pc:docMkLst>
      <pc:sldChg chg="add">
        <pc:chgData name="Koksrud Andreas" userId="9d9beba6-c052-407a-8599-c781a677a996" providerId="ADAL" clId="{4C03B8BE-ED6C-47DA-A194-101B46B7832B}" dt="2024-01-29T12:33:14.270" v="4246"/>
        <pc:sldMkLst>
          <pc:docMk/>
          <pc:sldMk cId="0" sldId="269"/>
        </pc:sldMkLst>
      </pc:sldChg>
      <pc:sldChg chg="modSp mod">
        <pc:chgData name="Koksrud Andreas" userId="9d9beba6-c052-407a-8599-c781a677a996" providerId="ADAL" clId="{4C03B8BE-ED6C-47DA-A194-101B46B7832B}" dt="2024-01-29T13:13:14.874" v="4640" actId="6549"/>
        <pc:sldMkLst>
          <pc:docMk/>
          <pc:sldMk cId="2087783305" sldId="730"/>
        </pc:sldMkLst>
        <pc:spChg chg="mod">
          <ac:chgData name="Koksrud Andreas" userId="9d9beba6-c052-407a-8599-c781a677a996" providerId="ADAL" clId="{4C03B8BE-ED6C-47DA-A194-101B46B7832B}" dt="2024-01-29T13:13:14.874" v="4640" actId="6549"/>
          <ac:spMkLst>
            <pc:docMk/>
            <pc:sldMk cId="2087783305" sldId="730"/>
            <ac:spMk id="2" creationId="{E83F8947-299D-4698-B80E-56B8E23125F0}"/>
          </ac:spMkLst>
        </pc:spChg>
      </pc:sldChg>
      <pc:sldChg chg="modSp mod">
        <pc:chgData name="Koksrud Andreas" userId="9d9beba6-c052-407a-8599-c781a677a996" providerId="ADAL" clId="{4C03B8BE-ED6C-47DA-A194-101B46B7832B}" dt="2024-02-02T08:16:43.721" v="6652" actId="20577"/>
        <pc:sldMkLst>
          <pc:docMk/>
          <pc:sldMk cId="4184721091" sldId="775"/>
        </pc:sldMkLst>
        <pc:spChg chg="mod">
          <ac:chgData name="Koksrud Andreas" userId="9d9beba6-c052-407a-8599-c781a677a996" providerId="ADAL" clId="{4C03B8BE-ED6C-47DA-A194-101B46B7832B}" dt="2024-02-02T08:16:43.721" v="6652" actId="20577"/>
          <ac:spMkLst>
            <pc:docMk/>
            <pc:sldMk cId="4184721091" sldId="775"/>
            <ac:spMk id="181" creationId="{00000000-0000-0000-0000-000000000000}"/>
          </ac:spMkLst>
        </pc:spChg>
      </pc:sldChg>
      <pc:sldChg chg="addSp delSp modSp mod">
        <pc:chgData name="Koksrud Andreas" userId="9d9beba6-c052-407a-8599-c781a677a996" providerId="ADAL" clId="{4C03B8BE-ED6C-47DA-A194-101B46B7832B}" dt="2024-02-02T08:56:05.287" v="6703" actId="478"/>
        <pc:sldMkLst>
          <pc:docMk/>
          <pc:sldMk cId="590634226" sldId="798"/>
        </pc:sldMkLst>
        <pc:spChg chg="add mod">
          <ac:chgData name="Koksrud Andreas" userId="9d9beba6-c052-407a-8599-c781a677a996" providerId="ADAL" clId="{4C03B8BE-ED6C-47DA-A194-101B46B7832B}" dt="2024-01-29T16:47:07.066" v="5144" actId="571"/>
          <ac:spMkLst>
            <pc:docMk/>
            <pc:sldMk cId="590634226" sldId="798"/>
            <ac:spMk id="4" creationId="{76EC6CAD-A0FB-F729-EAF3-09620E5AB75A}"/>
          </ac:spMkLst>
        </pc:spChg>
        <pc:spChg chg="add mod">
          <ac:chgData name="Koksrud Andreas" userId="9d9beba6-c052-407a-8599-c781a677a996" providerId="ADAL" clId="{4C03B8BE-ED6C-47DA-A194-101B46B7832B}" dt="2024-01-29T16:47:07.066" v="5144" actId="571"/>
          <ac:spMkLst>
            <pc:docMk/>
            <pc:sldMk cId="590634226" sldId="798"/>
            <ac:spMk id="5" creationId="{AA806066-AFA4-308F-A5CD-D298357CF30B}"/>
          </ac:spMkLst>
        </pc:spChg>
        <pc:spChg chg="add mod">
          <ac:chgData name="Koksrud Andreas" userId="9d9beba6-c052-407a-8599-c781a677a996" providerId="ADAL" clId="{4C03B8BE-ED6C-47DA-A194-101B46B7832B}" dt="2024-01-29T16:47:07.066" v="5144" actId="571"/>
          <ac:spMkLst>
            <pc:docMk/>
            <pc:sldMk cId="590634226" sldId="798"/>
            <ac:spMk id="6" creationId="{32E75601-F9A7-2CE6-7D2A-010800678BB3}"/>
          </ac:spMkLst>
        </pc:spChg>
        <pc:spChg chg="add mod">
          <ac:chgData name="Koksrud Andreas" userId="9d9beba6-c052-407a-8599-c781a677a996" providerId="ADAL" clId="{4C03B8BE-ED6C-47DA-A194-101B46B7832B}" dt="2024-01-29T16:47:07.066" v="5144" actId="571"/>
          <ac:spMkLst>
            <pc:docMk/>
            <pc:sldMk cId="590634226" sldId="798"/>
            <ac:spMk id="7" creationId="{173EE576-C978-5132-9A6C-9DC75C01B3DE}"/>
          </ac:spMkLst>
        </pc:spChg>
        <pc:spChg chg="add mod">
          <ac:chgData name="Koksrud Andreas" userId="9d9beba6-c052-407a-8599-c781a677a996" providerId="ADAL" clId="{4C03B8BE-ED6C-47DA-A194-101B46B7832B}" dt="2024-01-29T16:47:07.066" v="5144" actId="571"/>
          <ac:spMkLst>
            <pc:docMk/>
            <pc:sldMk cId="590634226" sldId="798"/>
            <ac:spMk id="8" creationId="{B81F1712-D0DA-65B6-21DE-24D1B4758BCF}"/>
          </ac:spMkLst>
        </pc:spChg>
        <pc:spChg chg="add mod">
          <ac:chgData name="Koksrud Andreas" userId="9d9beba6-c052-407a-8599-c781a677a996" providerId="ADAL" clId="{4C03B8BE-ED6C-47DA-A194-101B46B7832B}" dt="2024-01-29T16:47:07.066" v="5144" actId="571"/>
          <ac:spMkLst>
            <pc:docMk/>
            <pc:sldMk cId="590634226" sldId="798"/>
            <ac:spMk id="9" creationId="{143C0B08-8197-70C4-890A-DC75AE10E772}"/>
          </ac:spMkLst>
        </pc:spChg>
        <pc:spChg chg="add mod">
          <ac:chgData name="Koksrud Andreas" userId="9d9beba6-c052-407a-8599-c781a677a996" providerId="ADAL" clId="{4C03B8BE-ED6C-47DA-A194-101B46B7832B}" dt="2024-01-29T16:47:07.066" v="5144" actId="571"/>
          <ac:spMkLst>
            <pc:docMk/>
            <pc:sldMk cId="590634226" sldId="798"/>
            <ac:spMk id="10" creationId="{795A1E0B-DA2B-8E96-EABD-D01A1D5C7892}"/>
          </ac:spMkLst>
        </pc:spChg>
        <pc:spChg chg="add mod">
          <ac:chgData name="Koksrud Andreas" userId="9d9beba6-c052-407a-8599-c781a677a996" providerId="ADAL" clId="{4C03B8BE-ED6C-47DA-A194-101B46B7832B}" dt="2024-01-29T16:47:07.066" v="5144" actId="571"/>
          <ac:spMkLst>
            <pc:docMk/>
            <pc:sldMk cId="590634226" sldId="798"/>
            <ac:spMk id="11" creationId="{3EDD7DDA-4D30-BB94-4ED0-D3CF1A0E57BC}"/>
          </ac:spMkLst>
        </pc:spChg>
        <pc:spChg chg="add mod">
          <ac:chgData name="Koksrud Andreas" userId="9d9beba6-c052-407a-8599-c781a677a996" providerId="ADAL" clId="{4C03B8BE-ED6C-47DA-A194-101B46B7832B}" dt="2024-01-29T16:47:07.066" v="5144" actId="571"/>
          <ac:spMkLst>
            <pc:docMk/>
            <pc:sldMk cId="590634226" sldId="798"/>
            <ac:spMk id="12" creationId="{C8A9678F-A1E4-B8C4-08B4-A05C9178EAA7}"/>
          </ac:spMkLst>
        </pc:spChg>
        <pc:spChg chg="add mod">
          <ac:chgData name="Koksrud Andreas" userId="9d9beba6-c052-407a-8599-c781a677a996" providerId="ADAL" clId="{4C03B8BE-ED6C-47DA-A194-101B46B7832B}" dt="2024-01-29T16:47:07.066" v="5144" actId="571"/>
          <ac:spMkLst>
            <pc:docMk/>
            <pc:sldMk cId="590634226" sldId="798"/>
            <ac:spMk id="13" creationId="{D9DC8C95-7B23-D269-7A13-CDD3C2D98128}"/>
          </ac:spMkLst>
        </pc:spChg>
        <pc:spChg chg="add del mod">
          <ac:chgData name="Koksrud Andreas" userId="9d9beba6-c052-407a-8599-c781a677a996" providerId="ADAL" clId="{4C03B8BE-ED6C-47DA-A194-101B46B7832B}" dt="2024-01-29T16:39:08.513" v="4942" actId="478"/>
          <ac:spMkLst>
            <pc:docMk/>
            <pc:sldMk cId="590634226" sldId="798"/>
            <ac:spMk id="14" creationId="{8D9920B0-1D32-D02A-6921-ABE9ACD0AE33}"/>
          </ac:spMkLst>
        </pc:spChg>
        <pc:spChg chg="add del mod">
          <ac:chgData name="Koksrud Andreas" userId="9d9beba6-c052-407a-8599-c781a677a996" providerId="ADAL" clId="{4C03B8BE-ED6C-47DA-A194-101B46B7832B}" dt="2024-01-29T16:39:10.233" v="4943" actId="478"/>
          <ac:spMkLst>
            <pc:docMk/>
            <pc:sldMk cId="590634226" sldId="798"/>
            <ac:spMk id="15" creationId="{9FFFDC5E-95D4-4856-AC3E-4973BB1F2023}"/>
          </ac:spMkLst>
        </pc:spChg>
        <pc:spChg chg="add mod">
          <ac:chgData name="Koksrud Andreas" userId="9d9beba6-c052-407a-8599-c781a677a996" providerId="ADAL" clId="{4C03B8BE-ED6C-47DA-A194-101B46B7832B}" dt="2024-01-29T16:47:07.066" v="5144" actId="571"/>
          <ac:spMkLst>
            <pc:docMk/>
            <pc:sldMk cId="590634226" sldId="798"/>
            <ac:spMk id="16" creationId="{F5AC8282-AC0C-4362-FD4B-A2E2D13D1A1F}"/>
          </ac:spMkLst>
        </pc:spChg>
        <pc:spChg chg="add mod">
          <ac:chgData name="Koksrud Andreas" userId="9d9beba6-c052-407a-8599-c781a677a996" providerId="ADAL" clId="{4C03B8BE-ED6C-47DA-A194-101B46B7832B}" dt="2024-01-29T16:47:07.066" v="5144" actId="571"/>
          <ac:spMkLst>
            <pc:docMk/>
            <pc:sldMk cId="590634226" sldId="798"/>
            <ac:spMk id="17" creationId="{0CA6654D-39BE-7B80-3FFB-2141CE670F1C}"/>
          </ac:spMkLst>
        </pc:spChg>
        <pc:spChg chg="add mod">
          <ac:chgData name="Koksrud Andreas" userId="9d9beba6-c052-407a-8599-c781a677a996" providerId="ADAL" clId="{4C03B8BE-ED6C-47DA-A194-101B46B7832B}" dt="2024-01-29T16:47:07.066" v="5144" actId="571"/>
          <ac:spMkLst>
            <pc:docMk/>
            <pc:sldMk cId="590634226" sldId="798"/>
            <ac:spMk id="18" creationId="{E92C9186-C396-CC74-44EB-039D5312BA35}"/>
          </ac:spMkLst>
        </pc:spChg>
        <pc:spChg chg="add mod">
          <ac:chgData name="Koksrud Andreas" userId="9d9beba6-c052-407a-8599-c781a677a996" providerId="ADAL" clId="{4C03B8BE-ED6C-47DA-A194-101B46B7832B}" dt="2024-01-29T16:47:07.066" v="5144" actId="571"/>
          <ac:spMkLst>
            <pc:docMk/>
            <pc:sldMk cId="590634226" sldId="798"/>
            <ac:spMk id="19" creationId="{DA741487-A195-874A-955B-70528E9B3AAB}"/>
          </ac:spMkLst>
        </pc:spChg>
        <pc:spChg chg="add mod">
          <ac:chgData name="Koksrud Andreas" userId="9d9beba6-c052-407a-8599-c781a677a996" providerId="ADAL" clId="{4C03B8BE-ED6C-47DA-A194-101B46B7832B}" dt="2024-01-29T16:47:07.066" v="5144" actId="571"/>
          <ac:spMkLst>
            <pc:docMk/>
            <pc:sldMk cId="590634226" sldId="798"/>
            <ac:spMk id="20" creationId="{BDB90CA0-D496-47E4-97F6-BEA1BB812FDC}"/>
          </ac:spMkLst>
        </pc:spChg>
        <pc:spChg chg="add del mod">
          <ac:chgData name="Koksrud Andreas" userId="9d9beba6-c052-407a-8599-c781a677a996" providerId="ADAL" clId="{4C03B8BE-ED6C-47DA-A194-101B46B7832B}" dt="2024-01-29T16:40:37.869" v="4977" actId="478"/>
          <ac:spMkLst>
            <pc:docMk/>
            <pc:sldMk cId="590634226" sldId="798"/>
            <ac:spMk id="22" creationId="{B697C43F-A305-2805-2B1F-74EFFD75E572}"/>
          </ac:spMkLst>
        </pc:spChg>
        <pc:spChg chg="add mod ord">
          <ac:chgData name="Koksrud Andreas" userId="9d9beba6-c052-407a-8599-c781a677a996" providerId="ADAL" clId="{4C03B8BE-ED6C-47DA-A194-101B46B7832B}" dt="2024-01-29T16:43:04.604" v="5061" actId="1076"/>
          <ac:spMkLst>
            <pc:docMk/>
            <pc:sldMk cId="590634226" sldId="798"/>
            <ac:spMk id="24" creationId="{D6A143A2-6DC8-EE0A-CCB1-B424797B0848}"/>
          </ac:spMkLst>
        </pc:spChg>
        <pc:spChg chg="add mod">
          <ac:chgData name="Koksrud Andreas" userId="9d9beba6-c052-407a-8599-c781a677a996" providerId="ADAL" clId="{4C03B8BE-ED6C-47DA-A194-101B46B7832B}" dt="2024-01-29T16:43:04.604" v="5061" actId="1076"/>
          <ac:spMkLst>
            <pc:docMk/>
            <pc:sldMk cId="590634226" sldId="798"/>
            <ac:spMk id="25" creationId="{45DA5927-31D6-A6F7-3DA5-36780F427DE0}"/>
          </ac:spMkLst>
        </pc:spChg>
        <pc:spChg chg="add del mod">
          <ac:chgData name="Koksrud Andreas" userId="9d9beba6-c052-407a-8599-c781a677a996" providerId="ADAL" clId="{4C03B8BE-ED6C-47DA-A194-101B46B7832B}" dt="2024-01-29T16:42:30.303" v="5053" actId="478"/>
          <ac:spMkLst>
            <pc:docMk/>
            <pc:sldMk cId="590634226" sldId="798"/>
            <ac:spMk id="26" creationId="{56089A57-DDBE-ECBF-286F-3D409469B608}"/>
          </ac:spMkLst>
        </pc:spChg>
        <pc:spChg chg="add del mod">
          <ac:chgData name="Koksrud Andreas" userId="9d9beba6-c052-407a-8599-c781a677a996" providerId="ADAL" clId="{4C03B8BE-ED6C-47DA-A194-101B46B7832B}" dt="2024-01-29T16:42:30.303" v="5053" actId="478"/>
          <ac:spMkLst>
            <pc:docMk/>
            <pc:sldMk cId="590634226" sldId="798"/>
            <ac:spMk id="27" creationId="{A9BA73F8-6B68-5293-5DB0-B79895257530}"/>
          </ac:spMkLst>
        </pc:spChg>
        <pc:spChg chg="add mod">
          <ac:chgData name="Koksrud Andreas" userId="9d9beba6-c052-407a-8599-c781a677a996" providerId="ADAL" clId="{4C03B8BE-ED6C-47DA-A194-101B46B7832B}" dt="2024-01-29T16:43:04.604" v="5061" actId="1076"/>
          <ac:spMkLst>
            <pc:docMk/>
            <pc:sldMk cId="590634226" sldId="798"/>
            <ac:spMk id="28" creationId="{AF5CE770-A549-B9DB-E6CF-AC2EE64049DB}"/>
          </ac:spMkLst>
        </pc:spChg>
        <pc:spChg chg="add mod">
          <ac:chgData name="Koksrud Andreas" userId="9d9beba6-c052-407a-8599-c781a677a996" providerId="ADAL" clId="{4C03B8BE-ED6C-47DA-A194-101B46B7832B}" dt="2024-01-29T16:44:22.689" v="5066" actId="20577"/>
          <ac:spMkLst>
            <pc:docMk/>
            <pc:sldMk cId="590634226" sldId="798"/>
            <ac:spMk id="29" creationId="{FD8B6B09-0BAA-72A3-5069-03FB3A6F1FD3}"/>
          </ac:spMkLst>
        </pc:spChg>
        <pc:spChg chg="add mod">
          <ac:chgData name="Koksrud Andreas" userId="9d9beba6-c052-407a-8599-c781a677a996" providerId="ADAL" clId="{4C03B8BE-ED6C-47DA-A194-101B46B7832B}" dt="2024-01-29T16:43:04.604" v="5061" actId="1076"/>
          <ac:spMkLst>
            <pc:docMk/>
            <pc:sldMk cId="590634226" sldId="798"/>
            <ac:spMk id="30" creationId="{23887655-624B-D06C-224F-3506B1E8556B}"/>
          </ac:spMkLst>
        </pc:spChg>
        <pc:spChg chg="add mod">
          <ac:chgData name="Koksrud Andreas" userId="9d9beba6-c052-407a-8599-c781a677a996" providerId="ADAL" clId="{4C03B8BE-ED6C-47DA-A194-101B46B7832B}" dt="2024-01-29T16:44:30.497" v="5083" actId="20577"/>
          <ac:spMkLst>
            <pc:docMk/>
            <pc:sldMk cId="590634226" sldId="798"/>
            <ac:spMk id="31" creationId="{25298CD9-32CC-ACCF-BB55-FF61205764D4}"/>
          </ac:spMkLst>
        </pc:spChg>
        <pc:spChg chg="add mod">
          <ac:chgData name="Koksrud Andreas" userId="9d9beba6-c052-407a-8599-c781a677a996" providerId="ADAL" clId="{4C03B8BE-ED6C-47DA-A194-101B46B7832B}" dt="2024-01-29T16:43:04.604" v="5061" actId="1076"/>
          <ac:spMkLst>
            <pc:docMk/>
            <pc:sldMk cId="590634226" sldId="798"/>
            <ac:spMk id="32" creationId="{A4D8B920-98A2-F77B-D3AE-16A265F6474B}"/>
          </ac:spMkLst>
        </pc:spChg>
        <pc:spChg chg="add mod">
          <ac:chgData name="Koksrud Andreas" userId="9d9beba6-c052-407a-8599-c781a677a996" providerId="ADAL" clId="{4C03B8BE-ED6C-47DA-A194-101B46B7832B}" dt="2024-01-29T16:47:43.128" v="5209" actId="20577"/>
          <ac:spMkLst>
            <pc:docMk/>
            <pc:sldMk cId="590634226" sldId="798"/>
            <ac:spMk id="33" creationId="{F0DE4DEE-C43D-8E47-F334-0C8821CE1F9C}"/>
          </ac:spMkLst>
        </pc:spChg>
        <pc:spChg chg="add mod">
          <ac:chgData name="Koksrud Andreas" userId="9d9beba6-c052-407a-8599-c781a677a996" providerId="ADAL" clId="{4C03B8BE-ED6C-47DA-A194-101B46B7832B}" dt="2024-01-29T16:47:37.251" v="5200" actId="1076"/>
          <ac:spMkLst>
            <pc:docMk/>
            <pc:sldMk cId="590634226" sldId="798"/>
            <ac:spMk id="72" creationId="{C90AABEB-82E3-05B0-A468-8E6FC57D6DF4}"/>
          </ac:spMkLst>
        </pc:spChg>
        <pc:spChg chg="add mod">
          <ac:chgData name="Koksrud Andreas" userId="9d9beba6-c052-407a-8599-c781a677a996" providerId="ADAL" clId="{4C03B8BE-ED6C-47DA-A194-101B46B7832B}" dt="2024-01-29T16:47:17.597" v="5172" actId="14100"/>
          <ac:spMkLst>
            <pc:docMk/>
            <pc:sldMk cId="590634226" sldId="798"/>
            <ac:spMk id="73" creationId="{62EE9815-8AC9-0E40-C19D-3B634AB9D747}"/>
          </ac:spMkLst>
        </pc:spChg>
        <pc:spChg chg="mod">
          <ac:chgData name="Koksrud Andreas" userId="9d9beba6-c052-407a-8599-c781a677a996" providerId="ADAL" clId="{4C03B8BE-ED6C-47DA-A194-101B46B7832B}" dt="2024-02-02T08:52:41.679" v="6702" actId="20577"/>
          <ac:spMkLst>
            <pc:docMk/>
            <pc:sldMk cId="590634226" sldId="798"/>
            <ac:spMk id="181" creationId="{00000000-0000-0000-0000-000000000000}"/>
          </ac:spMkLst>
        </pc:spChg>
        <pc:grpChg chg="add mod">
          <ac:chgData name="Koksrud Andreas" userId="9d9beba6-c052-407a-8599-c781a677a996" providerId="ADAL" clId="{4C03B8BE-ED6C-47DA-A194-101B46B7832B}" dt="2024-01-29T16:47:07.066" v="5144" actId="571"/>
          <ac:grpSpMkLst>
            <pc:docMk/>
            <pc:sldMk cId="590634226" sldId="798"/>
            <ac:grpSpMk id="21" creationId="{C78476C5-6658-C6CA-78C4-EDCE2DF22B7A}"/>
          </ac:grpSpMkLst>
        </pc:grpChg>
        <pc:picChg chg="add mod">
          <ac:chgData name="Koksrud Andreas" userId="9d9beba6-c052-407a-8599-c781a677a996" providerId="ADAL" clId="{4C03B8BE-ED6C-47DA-A194-101B46B7832B}" dt="2024-01-29T16:40:45.576" v="4981" actId="1076"/>
          <ac:picMkLst>
            <pc:docMk/>
            <pc:sldMk cId="590634226" sldId="798"/>
            <ac:picMk id="3" creationId="{7BD3BC71-3BEA-530A-21CA-D182EFC79559}"/>
          </ac:picMkLst>
        </pc:picChg>
        <pc:picChg chg="add mod">
          <ac:chgData name="Koksrud Andreas" userId="9d9beba6-c052-407a-8599-c781a677a996" providerId="ADAL" clId="{4C03B8BE-ED6C-47DA-A194-101B46B7832B}" dt="2024-01-29T16:44:12.336" v="5063" actId="1076"/>
          <ac:picMkLst>
            <pc:docMk/>
            <pc:sldMk cId="590634226" sldId="798"/>
            <ac:picMk id="35" creationId="{3BF28389-0F1E-578C-BFF7-1482582B3988}"/>
          </ac:picMkLst>
        </pc:picChg>
        <pc:picChg chg="add mod">
          <ac:chgData name="Koksrud Andreas" userId="9d9beba6-c052-407a-8599-c781a677a996" providerId="ADAL" clId="{4C03B8BE-ED6C-47DA-A194-101B46B7832B}" dt="2024-01-29T16:44:14.876" v="5064" actId="1076"/>
          <ac:picMkLst>
            <pc:docMk/>
            <pc:sldMk cId="590634226" sldId="798"/>
            <ac:picMk id="37" creationId="{8E445EF0-DC34-C251-C08D-FB2C41C38AFF}"/>
          </ac:picMkLst>
        </pc:picChg>
        <pc:cxnChg chg="add mod">
          <ac:chgData name="Koksrud Andreas" userId="9d9beba6-c052-407a-8599-c781a677a996" providerId="ADAL" clId="{4C03B8BE-ED6C-47DA-A194-101B46B7832B}" dt="2024-01-29T16:44:53.982" v="5107" actId="13822"/>
          <ac:cxnSpMkLst>
            <pc:docMk/>
            <pc:sldMk cId="590634226" sldId="798"/>
            <ac:cxnSpMk id="39" creationId="{2CC717A9-1599-8DC4-6F65-CFC6B9B0F588}"/>
          </ac:cxnSpMkLst>
        </pc:cxnChg>
        <pc:cxnChg chg="add del mod">
          <ac:chgData name="Koksrud Andreas" userId="9d9beba6-c052-407a-8599-c781a677a996" providerId="ADAL" clId="{4C03B8BE-ED6C-47DA-A194-101B46B7832B}" dt="2024-01-29T16:45:05.399" v="5110" actId="478"/>
          <ac:cxnSpMkLst>
            <pc:docMk/>
            <pc:sldMk cId="590634226" sldId="798"/>
            <ac:cxnSpMk id="40" creationId="{D0E24163-CA8F-624C-C365-B6A57C6421BC}"/>
          </ac:cxnSpMkLst>
        </pc:cxnChg>
        <pc:cxnChg chg="add mod">
          <ac:chgData name="Koksrud Andreas" userId="9d9beba6-c052-407a-8599-c781a677a996" providerId="ADAL" clId="{4C03B8BE-ED6C-47DA-A194-101B46B7832B}" dt="2024-01-29T16:45:18.801" v="5112" actId="13822"/>
          <ac:cxnSpMkLst>
            <pc:docMk/>
            <pc:sldMk cId="590634226" sldId="798"/>
            <ac:cxnSpMk id="43" creationId="{1D40F89F-E142-BD6A-7B56-127A0B7F0D41}"/>
          </ac:cxnSpMkLst>
        </pc:cxnChg>
        <pc:cxnChg chg="add mod">
          <ac:chgData name="Koksrud Andreas" userId="9d9beba6-c052-407a-8599-c781a677a996" providerId="ADAL" clId="{4C03B8BE-ED6C-47DA-A194-101B46B7832B}" dt="2024-01-29T16:45:29.277" v="5115" actId="14100"/>
          <ac:cxnSpMkLst>
            <pc:docMk/>
            <pc:sldMk cId="590634226" sldId="798"/>
            <ac:cxnSpMk id="44" creationId="{F5E7D3CF-EE20-FBE8-5736-3CD8860A91D0}"/>
          </ac:cxnSpMkLst>
        </pc:cxnChg>
        <pc:cxnChg chg="add mod">
          <ac:chgData name="Koksrud Andreas" userId="9d9beba6-c052-407a-8599-c781a677a996" providerId="ADAL" clId="{4C03B8BE-ED6C-47DA-A194-101B46B7832B}" dt="2024-01-29T16:45:43.382" v="5122" actId="14100"/>
          <ac:cxnSpMkLst>
            <pc:docMk/>
            <pc:sldMk cId="590634226" sldId="798"/>
            <ac:cxnSpMk id="47" creationId="{5E785A8F-944D-6D70-ECB1-F5E458589A00}"/>
          </ac:cxnSpMkLst>
        </pc:cxnChg>
        <pc:cxnChg chg="add mod">
          <ac:chgData name="Koksrud Andreas" userId="9d9beba6-c052-407a-8599-c781a677a996" providerId="ADAL" clId="{4C03B8BE-ED6C-47DA-A194-101B46B7832B}" dt="2024-01-29T16:45:40.353" v="5121" actId="14100"/>
          <ac:cxnSpMkLst>
            <pc:docMk/>
            <pc:sldMk cId="590634226" sldId="798"/>
            <ac:cxnSpMk id="49" creationId="{D7165246-2A13-10B8-0614-866976B2A3EB}"/>
          </ac:cxnSpMkLst>
        </pc:cxnChg>
        <pc:cxnChg chg="add mod">
          <ac:chgData name="Koksrud Andreas" userId="9d9beba6-c052-407a-8599-c781a677a996" providerId="ADAL" clId="{4C03B8BE-ED6C-47DA-A194-101B46B7832B}" dt="2024-01-29T16:45:59.728" v="5125" actId="14100"/>
          <ac:cxnSpMkLst>
            <pc:docMk/>
            <pc:sldMk cId="590634226" sldId="798"/>
            <ac:cxnSpMk id="53" creationId="{80A07859-BE6E-4E3A-E84C-A016FA926A81}"/>
          </ac:cxnSpMkLst>
        </pc:cxnChg>
        <pc:cxnChg chg="add del mod">
          <ac:chgData name="Koksrud Andreas" userId="9d9beba6-c052-407a-8599-c781a677a996" providerId="ADAL" clId="{4C03B8BE-ED6C-47DA-A194-101B46B7832B}" dt="2024-01-29T16:46:45.005" v="5142" actId="478"/>
          <ac:cxnSpMkLst>
            <pc:docMk/>
            <pc:sldMk cId="590634226" sldId="798"/>
            <ac:cxnSpMk id="56" creationId="{AB2A5FB1-48C0-02C5-4169-9C4BB3D5F19C}"/>
          </ac:cxnSpMkLst>
        </pc:cxnChg>
        <pc:cxnChg chg="add del mod">
          <ac:chgData name="Koksrud Andreas" userId="9d9beba6-c052-407a-8599-c781a677a996" providerId="ADAL" clId="{4C03B8BE-ED6C-47DA-A194-101B46B7832B}" dt="2024-02-02T08:56:05.287" v="6703" actId="478"/>
          <ac:cxnSpMkLst>
            <pc:docMk/>
            <pc:sldMk cId="590634226" sldId="798"/>
            <ac:cxnSpMk id="59" creationId="{65745E8E-C968-BFC6-3E1B-EFBC6C45D35B}"/>
          </ac:cxnSpMkLst>
        </pc:cxnChg>
        <pc:cxnChg chg="add mod">
          <ac:chgData name="Koksrud Andreas" userId="9d9beba6-c052-407a-8599-c781a677a996" providerId="ADAL" clId="{4C03B8BE-ED6C-47DA-A194-101B46B7832B}" dt="2024-01-29T16:46:23.122" v="5134" actId="14100"/>
          <ac:cxnSpMkLst>
            <pc:docMk/>
            <pc:sldMk cId="590634226" sldId="798"/>
            <ac:cxnSpMk id="62" creationId="{0FEFA21F-8DC1-4CBA-6059-D1AB3E3BDDCD}"/>
          </ac:cxnSpMkLst>
        </pc:cxnChg>
        <pc:cxnChg chg="add mod">
          <ac:chgData name="Koksrud Andreas" userId="9d9beba6-c052-407a-8599-c781a677a996" providerId="ADAL" clId="{4C03B8BE-ED6C-47DA-A194-101B46B7832B}" dt="2024-01-29T16:46:29.223" v="5137" actId="14100"/>
          <ac:cxnSpMkLst>
            <pc:docMk/>
            <pc:sldMk cId="590634226" sldId="798"/>
            <ac:cxnSpMk id="65" creationId="{66F79FAD-868B-7830-27AC-411EE8EEEEBF}"/>
          </ac:cxnSpMkLst>
        </pc:cxnChg>
        <pc:cxnChg chg="add mod">
          <ac:chgData name="Koksrud Andreas" userId="9d9beba6-c052-407a-8599-c781a677a996" providerId="ADAL" clId="{4C03B8BE-ED6C-47DA-A194-101B46B7832B}" dt="2024-01-29T16:46:36.687" v="5140" actId="14100"/>
          <ac:cxnSpMkLst>
            <pc:docMk/>
            <pc:sldMk cId="590634226" sldId="798"/>
            <ac:cxnSpMk id="68" creationId="{4FA43706-4263-7CE9-ADAE-56DC0D8759FE}"/>
          </ac:cxnSpMkLst>
        </pc:cxnChg>
      </pc:sldChg>
      <pc:sldChg chg="modSp mod">
        <pc:chgData name="Koksrud Andreas" userId="9d9beba6-c052-407a-8599-c781a677a996" providerId="ADAL" clId="{4C03B8BE-ED6C-47DA-A194-101B46B7832B}" dt="2024-02-01T13:30:05.618" v="6304" actId="20577"/>
        <pc:sldMkLst>
          <pc:docMk/>
          <pc:sldMk cId="2075912972" sldId="800"/>
        </pc:sldMkLst>
        <pc:spChg chg="mod">
          <ac:chgData name="Koksrud Andreas" userId="9d9beba6-c052-407a-8599-c781a677a996" providerId="ADAL" clId="{4C03B8BE-ED6C-47DA-A194-101B46B7832B}" dt="2024-01-29T13:10:43.831" v="4513" actId="20577"/>
          <ac:spMkLst>
            <pc:docMk/>
            <pc:sldMk cId="2075912972" sldId="800"/>
            <ac:spMk id="4" creationId="{1F0030D3-C16D-0458-39A0-65E4C91CE228}"/>
          </ac:spMkLst>
        </pc:spChg>
        <pc:graphicFrameChg chg="mod modGraphic">
          <ac:chgData name="Koksrud Andreas" userId="9d9beba6-c052-407a-8599-c781a677a996" providerId="ADAL" clId="{4C03B8BE-ED6C-47DA-A194-101B46B7832B}" dt="2024-02-01T13:30:05.618" v="6304" actId="20577"/>
          <ac:graphicFrameMkLst>
            <pc:docMk/>
            <pc:sldMk cId="2075912972" sldId="800"/>
            <ac:graphicFrameMk id="3" creationId="{9988BFF9-164F-39C7-5576-A1BE9BB1B8AA}"/>
          </ac:graphicFrameMkLst>
        </pc:graphicFrameChg>
      </pc:sldChg>
      <pc:sldChg chg="addSp delSp modSp mod">
        <pc:chgData name="Koksrud Andreas" userId="9d9beba6-c052-407a-8599-c781a677a996" providerId="ADAL" clId="{4C03B8BE-ED6C-47DA-A194-101B46B7832B}" dt="2024-02-01T13:31:05.641" v="6337" actId="20577"/>
        <pc:sldMkLst>
          <pc:docMk/>
          <pc:sldMk cId="1335476865" sldId="813"/>
        </pc:sldMkLst>
        <pc:spChg chg="add del mod">
          <ac:chgData name="Koksrud Andreas" userId="9d9beba6-c052-407a-8599-c781a677a996" providerId="ADAL" clId="{4C03B8BE-ED6C-47DA-A194-101B46B7832B}" dt="2024-01-23T12:00:41.005" v="64" actId="478"/>
          <ac:spMkLst>
            <pc:docMk/>
            <pc:sldMk cId="1335476865" sldId="813"/>
            <ac:spMk id="4" creationId="{61A6469C-BA45-1270-DE62-9849E8AD6296}"/>
          </ac:spMkLst>
        </pc:spChg>
        <pc:spChg chg="mod">
          <ac:chgData name="Koksrud Andreas" userId="9d9beba6-c052-407a-8599-c781a677a996" providerId="ADAL" clId="{4C03B8BE-ED6C-47DA-A194-101B46B7832B}" dt="2024-02-01T13:31:05.641" v="6337" actId="20577"/>
          <ac:spMkLst>
            <pc:docMk/>
            <pc:sldMk cId="1335476865" sldId="813"/>
            <ac:spMk id="5" creationId="{4544DAF9-645F-44E3-08C5-45A5700AF33A}"/>
          </ac:spMkLst>
        </pc:spChg>
        <pc:spChg chg="mod">
          <ac:chgData name="Koksrud Andreas" userId="9d9beba6-c052-407a-8599-c781a677a996" providerId="ADAL" clId="{4C03B8BE-ED6C-47DA-A194-101B46B7832B}" dt="2024-01-23T12:10:58.377" v="131" actId="207"/>
          <ac:spMkLst>
            <pc:docMk/>
            <pc:sldMk cId="1335476865" sldId="813"/>
            <ac:spMk id="6" creationId="{8CB466B1-5D8D-577F-167C-F0D8E426E805}"/>
          </ac:spMkLst>
        </pc:spChg>
        <pc:spChg chg="mod">
          <ac:chgData name="Koksrud Andreas" userId="9d9beba6-c052-407a-8599-c781a677a996" providerId="ADAL" clId="{4C03B8BE-ED6C-47DA-A194-101B46B7832B}" dt="2024-01-23T12:10:58.377" v="131" actId="207"/>
          <ac:spMkLst>
            <pc:docMk/>
            <pc:sldMk cId="1335476865" sldId="813"/>
            <ac:spMk id="7" creationId="{0A2971D7-73A6-15C4-DF47-BE19C2977C19}"/>
          </ac:spMkLst>
        </pc:spChg>
        <pc:spChg chg="mod">
          <ac:chgData name="Koksrud Andreas" userId="9d9beba6-c052-407a-8599-c781a677a996" providerId="ADAL" clId="{4C03B8BE-ED6C-47DA-A194-101B46B7832B}" dt="2024-01-23T12:10:47.622" v="130" actId="207"/>
          <ac:spMkLst>
            <pc:docMk/>
            <pc:sldMk cId="1335476865" sldId="813"/>
            <ac:spMk id="8" creationId="{BC37532E-4FDD-8095-35D0-D09AA5F7FFD9}"/>
          </ac:spMkLst>
        </pc:spChg>
        <pc:spChg chg="add del">
          <ac:chgData name="Koksrud Andreas" userId="9d9beba6-c052-407a-8599-c781a677a996" providerId="ADAL" clId="{4C03B8BE-ED6C-47DA-A194-101B46B7832B}" dt="2024-01-23T11:57:39.052" v="7"/>
          <ac:spMkLst>
            <pc:docMk/>
            <pc:sldMk cId="1335476865" sldId="813"/>
            <ac:spMk id="9" creationId="{36012156-81F4-95F9-4738-17034626B2B5}"/>
          </ac:spMkLst>
        </pc:spChg>
        <pc:spChg chg="add del">
          <ac:chgData name="Koksrud Andreas" userId="9d9beba6-c052-407a-8599-c781a677a996" providerId="ADAL" clId="{4C03B8BE-ED6C-47DA-A194-101B46B7832B}" dt="2024-01-23T11:57:55.177" v="15" actId="478"/>
          <ac:spMkLst>
            <pc:docMk/>
            <pc:sldMk cId="1335476865" sldId="813"/>
            <ac:spMk id="11" creationId="{A5D5D2E7-DC08-6725-1F7D-50C36B906597}"/>
          </ac:spMkLst>
        </pc:spChg>
        <pc:picChg chg="add mod">
          <ac:chgData name="Koksrud Andreas" userId="9d9beba6-c052-407a-8599-c781a677a996" providerId="ADAL" clId="{4C03B8BE-ED6C-47DA-A194-101B46B7832B}" dt="2024-01-23T12:00:53.880" v="67" actId="1076"/>
          <ac:picMkLst>
            <pc:docMk/>
            <pc:sldMk cId="1335476865" sldId="813"/>
            <ac:picMk id="3" creationId="{6970F742-0D09-58BF-DB2F-BDFB50BD601B}"/>
          </ac:picMkLst>
        </pc:picChg>
        <pc:picChg chg="del">
          <ac:chgData name="Koksrud Andreas" userId="9d9beba6-c052-407a-8599-c781a677a996" providerId="ADAL" clId="{4C03B8BE-ED6C-47DA-A194-101B46B7832B}" dt="2024-01-23T12:00:49.340" v="65" actId="478"/>
          <ac:picMkLst>
            <pc:docMk/>
            <pc:sldMk cId="1335476865" sldId="813"/>
            <ac:picMk id="10" creationId="{AA68FF74-1E71-8AC5-422F-D994FA0F2BEE}"/>
          </ac:picMkLst>
        </pc:picChg>
        <pc:picChg chg="add mod">
          <ac:chgData name="Koksrud Andreas" userId="9d9beba6-c052-407a-8599-c781a677a996" providerId="ADAL" clId="{4C03B8BE-ED6C-47DA-A194-101B46B7832B}" dt="2024-01-23T12:00:51.484" v="66" actId="1076"/>
          <ac:picMkLst>
            <pc:docMk/>
            <pc:sldMk cId="1335476865" sldId="813"/>
            <ac:picMk id="14" creationId="{0B4E3063-1A03-9F60-A030-4A43E4F49DD2}"/>
          </ac:picMkLst>
        </pc:picChg>
        <pc:cxnChg chg="mod">
          <ac:chgData name="Koksrud Andreas" userId="9d9beba6-c052-407a-8599-c781a677a996" providerId="ADAL" clId="{4C03B8BE-ED6C-47DA-A194-101B46B7832B}" dt="2024-01-23T12:00:57.576" v="68" actId="14100"/>
          <ac:cxnSpMkLst>
            <pc:docMk/>
            <pc:sldMk cId="1335476865" sldId="813"/>
            <ac:cxnSpMk id="12" creationId="{571881FC-D844-8847-6B92-E6A6B16E93ED}"/>
          </ac:cxnSpMkLst>
        </pc:cxnChg>
      </pc:sldChg>
      <pc:sldChg chg="modSp mod ord">
        <pc:chgData name="Koksrud Andreas" userId="9d9beba6-c052-407a-8599-c781a677a996" providerId="ADAL" clId="{4C03B8BE-ED6C-47DA-A194-101B46B7832B}" dt="2024-02-02T10:18:46.071" v="6818" actId="20577"/>
        <pc:sldMkLst>
          <pc:docMk/>
          <pc:sldMk cId="798825500" sldId="844"/>
        </pc:sldMkLst>
        <pc:spChg chg="mod">
          <ac:chgData name="Koksrud Andreas" userId="9d9beba6-c052-407a-8599-c781a677a996" providerId="ADAL" clId="{4C03B8BE-ED6C-47DA-A194-101B46B7832B}" dt="2024-02-01T19:04:48.157" v="6384" actId="20577"/>
          <ac:spMkLst>
            <pc:docMk/>
            <pc:sldMk cId="798825500" sldId="844"/>
            <ac:spMk id="2" creationId="{244AF8B4-0676-DA57-A478-7C2D0FFFC8AA}"/>
          </ac:spMkLst>
        </pc:spChg>
        <pc:spChg chg="mod">
          <ac:chgData name="Koksrud Andreas" userId="9d9beba6-c052-407a-8599-c781a677a996" providerId="ADAL" clId="{4C03B8BE-ED6C-47DA-A194-101B46B7832B}" dt="2024-02-02T10:18:46.071" v="6818" actId="20577"/>
          <ac:spMkLst>
            <pc:docMk/>
            <pc:sldMk cId="798825500" sldId="844"/>
            <ac:spMk id="180" creationId="{00000000-0000-0000-0000-000000000000}"/>
          </ac:spMkLst>
        </pc:spChg>
      </pc:sldChg>
      <pc:sldChg chg="addSp modSp mod">
        <pc:chgData name="Koksrud Andreas" userId="9d9beba6-c052-407a-8599-c781a677a996" providerId="ADAL" clId="{4C03B8BE-ED6C-47DA-A194-101B46B7832B}" dt="2024-01-29T13:14:12.556" v="4646" actId="1076"/>
        <pc:sldMkLst>
          <pc:docMk/>
          <pc:sldMk cId="2885639092" sldId="848"/>
        </pc:sldMkLst>
        <pc:spChg chg="mod">
          <ac:chgData name="Koksrud Andreas" userId="9d9beba6-c052-407a-8599-c781a677a996" providerId="ADAL" clId="{4C03B8BE-ED6C-47DA-A194-101B46B7832B}" dt="2024-01-29T13:13:26.427" v="4644" actId="20577"/>
          <ac:spMkLst>
            <pc:docMk/>
            <pc:sldMk cId="2885639092" sldId="848"/>
            <ac:spMk id="181" creationId="{00000000-0000-0000-0000-000000000000}"/>
          </ac:spMkLst>
        </pc:spChg>
        <pc:picChg chg="add mod">
          <ac:chgData name="Koksrud Andreas" userId="9d9beba6-c052-407a-8599-c781a677a996" providerId="ADAL" clId="{4C03B8BE-ED6C-47DA-A194-101B46B7832B}" dt="2024-01-29T13:14:12.556" v="4646" actId="1076"/>
          <ac:picMkLst>
            <pc:docMk/>
            <pc:sldMk cId="2885639092" sldId="848"/>
            <ac:picMk id="3" creationId="{796F67CC-7E7B-58F2-8FAE-370A04D45567}"/>
          </ac:picMkLst>
        </pc:picChg>
      </pc:sldChg>
      <pc:sldChg chg="addSp delSp modSp mod">
        <pc:chgData name="Koksrud Andreas" userId="9d9beba6-c052-407a-8599-c781a677a996" providerId="ADAL" clId="{4C03B8BE-ED6C-47DA-A194-101B46B7832B}" dt="2024-01-31T18:50:46.555" v="5243" actId="478"/>
        <pc:sldMkLst>
          <pc:docMk/>
          <pc:sldMk cId="1110680622" sldId="849"/>
        </pc:sldMkLst>
        <pc:picChg chg="add mod">
          <ac:chgData name="Koksrud Andreas" userId="9d9beba6-c052-407a-8599-c781a677a996" providerId="ADAL" clId="{4C03B8BE-ED6C-47DA-A194-101B46B7832B}" dt="2024-01-23T12:15:09.629" v="134" actId="1076"/>
          <ac:picMkLst>
            <pc:docMk/>
            <pc:sldMk cId="1110680622" sldId="849"/>
            <ac:picMk id="3" creationId="{CABFC9CE-F4C5-4BA7-ED0C-B4AD97EF120F}"/>
          </ac:picMkLst>
        </pc:picChg>
        <pc:picChg chg="add del mod">
          <ac:chgData name="Koksrud Andreas" userId="9d9beba6-c052-407a-8599-c781a677a996" providerId="ADAL" clId="{4C03B8BE-ED6C-47DA-A194-101B46B7832B}" dt="2024-01-31T18:50:43.179" v="5241" actId="478"/>
          <ac:picMkLst>
            <pc:docMk/>
            <pc:sldMk cId="1110680622" sldId="849"/>
            <ac:picMk id="4" creationId="{B7EE2004-24E3-3E3B-5B4D-F5635B6AD06D}"/>
          </ac:picMkLst>
        </pc:picChg>
        <pc:picChg chg="add del mod">
          <ac:chgData name="Koksrud Andreas" userId="9d9beba6-c052-407a-8599-c781a677a996" providerId="ADAL" clId="{4C03B8BE-ED6C-47DA-A194-101B46B7832B}" dt="2024-01-31T18:50:44.971" v="5242" actId="478"/>
          <ac:picMkLst>
            <pc:docMk/>
            <pc:sldMk cId="1110680622" sldId="849"/>
            <ac:picMk id="6" creationId="{4B11CBC5-6722-E94E-6FB3-EDE32F457D22}"/>
          </ac:picMkLst>
        </pc:picChg>
        <pc:picChg chg="add del mod">
          <ac:chgData name="Koksrud Andreas" userId="9d9beba6-c052-407a-8599-c781a677a996" providerId="ADAL" clId="{4C03B8BE-ED6C-47DA-A194-101B46B7832B}" dt="2024-01-31T18:50:46.555" v="5243" actId="478"/>
          <ac:picMkLst>
            <pc:docMk/>
            <pc:sldMk cId="1110680622" sldId="849"/>
            <ac:picMk id="8" creationId="{6069B364-7EA3-19A5-E552-AE9B68CFE4F8}"/>
          </ac:picMkLst>
        </pc:picChg>
        <pc:picChg chg="del">
          <ac:chgData name="Koksrud Andreas" userId="9d9beba6-c052-407a-8599-c781a677a996" providerId="ADAL" clId="{4C03B8BE-ED6C-47DA-A194-101B46B7832B}" dt="2024-01-23T12:14:58.831" v="132" actId="478"/>
          <ac:picMkLst>
            <pc:docMk/>
            <pc:sldMk cId="1110680622" sldId="849"/>
            <ac:picMk id="9" creationId="{A1B7BC37-9C76-1716-BADE-08A1125AAD07}"/>
          </ac:picMkLst>
        </pc:picChg>
      </pc:sldChg>
      <pc:sldChg chg="modSp mod">
        <pc:chgData name="Koksrud Andreas" userId="9d9beba6-c052-407a-8599-c781a677a996" providerId="ADAL" clId="{4C03B8BE-ED6C-47DA-A194-101B46B7832B}" dt="2024-02-01T12:20:56.290" v="6084" actId="20577"/>
        <pc:sldMkLst>
          <pc:docMk/>
          <pc:sldMk cId="468106742" sldId="850"/>
        </pc:sldMkLst>
        <pc:spChg chg="mod">
          <ac:chgData name="Koksrud Andreas" userId="9d9beba6-c052-407a-8599-c781a677a996" providerId="ADAL" clId="{4C03B8BE-ED6C-47DA-A194-101B46B7832B}" dt="2024-02-01T12:20:56.290" v="6084" actId="20577"/>
          <ac:spMkLst>
            <pc:docMk/>
            <pc:sldMk cId="468106742" sldId="850"/>
            <ac:spMk id="180" creationId="{00000000-0000-0000-0000-000000000000}"/>
          </ac:spMkLst>
        </pc:spChg>
      </pc:sldChg>
      <pc:sldChg chg="addSp delSp modSp mod">
        <pc:chgData name="Koksrud Andreas" userId="9d9beba6-c052-407a-8599-c781a677a996" providerId="ADAL" clId="{4C03B8BE-ED6C-47DA-A194-101B46B7832B}" dt="2024-02-02T10:00:27.709" v="6781" actId="6549"/>
        <pc:sldMkLst>
          <pc:docMk/>
          <pc:sldMk cId="82959561" sldId="852"/>
        </pc:sldMkLst>
        <pc:spChg chg="mod">
          <ac:chgData name="Koksrud Andreas" userId="9d9beba6-c052-407a-8599-c781a677a996" providerId="ADAL" clId="{4C03B8BE-ED6C-47DA-A194-101B46B7832B}" dt="2024-02-02T10:00:27.709" v="6781" actId="6549"/>
          <ac:spMkLst>
            <pc:docMk/>
            <pc:sldMk cId="82959561" sldId="852"/>
            <ac:spMk id="2" creationId="{9796E8C1-5924-9DB3-B51B-75296717F89F}"/>
          </ac:spMkLst>
        </pc:spChg>
        <pc:picChg chg="add del mod">
          <ac:chgData name="Koksrud Andreas" userId="9d9beba6-c052-407a-8599-c781a677a996" providerId="ADAL" clId="{4C03B8BE-ED6C-47DA-A194-101B46B7832B}" dt="2024-01-31T18:43:58.100" v="5236" actId="478"/>
          <ac:picMkLst>
            <pc:docMk/>
            <pc:sldMk cId="82959561" sldId="852"/>
            <ac:picMk id="6" creationId="{48188449-2200-9FE6-CADB-DAF18D574FA6}"/>
          </ac:picMkLst>
        </pc:picChg>
      </pc:sldChg>
      <pc:sldChg chg="ord">
        <pc:chgData name="Koksrud Andreas" userId="9d9beba6-c052-407a-8599-c781a677a996" providerId="ADAL" clId="{4C03B8BE-ED6C-47DA-A194-101B46B7832B}" dt="2024-01-23T12:38:36.892" v="554"/>
        <pc:sldMkLst>
          <pc:docMk/>
          <pc:sldMk cId="3385289181" sldId="854"/>
        </pc:sldMkLst>
      </pc:sldChg>
      <pc:sldChg chg="modSp mod">
        <pc:chgData name="Koksrud Andreas" userId="9d9beba6-c052-407a-8599-c781a677a996" providerId="ADAL" clId="{4C03B8BE-ED6C-47DA-A194-101B46B7832B}" dt="2024-02-01T12:21:03.471" v="6085"/>
        <pc:sldMkLst>
          <pc:docMk/>
          <pc:sldMk cId="1250772557" sldId="855"/>
        </pc:sldMkLst>
        <pc:spChg chg="mod">
          <ac:chgData name="Koksrud Andreas" userId="9d9beba6-c052-407a-8599-c781a677a996" providerId="ADAL" clId="{4C03B8BE-ED6C-47DA-A194-101B46B7832B}" dt="2024-02-01T12:21:03.471" v="6085"/>
          <ac:spMkLst>
            <pc:docMk/>
            <pc:sldMk cId="1250772557" sldId="855"/>
            <ac:spMk id="180" creationId="{00000000-0000-0000-0000-000000000000}"/>
          </ac:spMkLst>
        </pc:spChg>
      </pc:sldChg>
      <pc:sldChg chg="modSp mod ord">
        <pc:chgData name="Koksrud Andreas" userId="9d9beba6-c052-407a-8599-c781a677a996" providerId="ADAL" clId="{4C03B8BE-ED6C-47DA-A194-101B46B7832B}" dt="2024-02-02T09:02:10.942" v="6735"/>
        <pc:sldMkLst>
          <pc:docMk/>
          <pc:sldMk cId="879097217" sldId="856"/>
        </pc:sldMkLst>
        <pc:spChg chg="mod">
          <ac:chgData name="Koksrud Andreas" userId="9d9beba6-c052-407a-8599-c781a677a996" providerId="ADAL" clId="{4C03B8BE-ED6C-47DA-A194-101B46B7832B}" dt="2024-02-01T12:21:14.827" v="6104" actId="20577"/>
          <ac:spMkLst>
            <pc:docMk/>
            <pc:sldMk cId="879097217" sldId="856"/>
            <ac:spMk id="180" creationId="{00000000-0000-0000-0000-000000000000}"/>
          </ac:spMkLst>
        </pc:spChg>
      </pc:sldChg>
      <pc:sldChg chg="delSp modSp mod">
        <pc:chgData name="Koksrud Andreas" userId="9d9beba6-c052-407a-8599-c781a677a996" providerId="ADAL" clId="{4C03B8BE-ED6C-47DA-A194-101B46B7832B}" dt="2024-01-23T12:31:33.586" v="485" actId="1035"/>
        <pc:sldMkLst>
          <pc:docMk/>
          <pc:sldMk cId="1987049343" sldId="858"/>
        </pc:sldMkLst>
        <pc:spChg chg="mod">
          <ac:chgData name="Koksrud Andreas" userId="9d9beba6-c052-407a-8599-c781a677a996" providerId="ADAL" clId="{4C03B8BE-ED6C-47DA-A194-101B46B7832B}" dt="2024-01-23T12:31:25.428" v="440" actId="6549"/>
          <ac:spMkLst>
            <pc:docMk/>
            <pc:sldMk cId="1987049343" sldId="858"/>
            <ac:spMk id="2" creationId="{9796E8C1-5924-9DB3-B51B-75296717F89F}"/>
          </ac:spMkLst>
        </pc:spChg>
        <pc:picChg chg="del">
          <ac:chgData name="Koksrud Andreas" userId="9d9beba6-c052-407a-8599-c781a677a996" providerId="ADAL" clId="{4C03B8BE-ED6C-47DA-A194-101B46B7832B}" dt="2024-01-23T12:31:21.948" v="437" actId="478"/>
          <ac:picMkLst>
            <pc:docMk/>
            <pc:sldMk cId="1987049343" sldId="858"/>
            <ac:picMk id="6" creationId="{78645D45-8769-81CB-2821-560F3CFF9CBE}"/>
          </ac:picMkLst>
        </pc:picChg>
        <pc:picChg chg="mod">
          <ac:chgData name="Koksrud Andreas" userId="9d9beba6-c052-407a-8599-c781a677a996" providerId="ADAL" clId="{4C03B8BE-ED6C-47DA-A194-101B46B7832B}" dt="2024-01-23T12:31:33.586" v="485" actId="1035"/>
          <ac:picMkLst>
            <pc:docMk/>
            <pc:sldMk cId="1987049343" sldId="858"/>
            <ac:picMk id="9" creationId="{C3019131-6227-C544-E712-F688CDF664B9}"/>
          </ac:picMkLst>
        </pc:picChg>
        <pc:picChg chg="mod">
          <ac:chgData name="Koksrud Andreas" userId="9d9beba6-c052-407a-8599-c781a677a996" providerId="ADAL" clId="{4C03B8BE-ED6C-47DA-A194-101B46B7832B}" dt="2024-01-23T12:31:33.586" v="485" actId="1035"/>
          <ac:picMkLst>
            <pc:docMk/>
            <pc:sldMk cId="1987049343" sldId="858"/>
            <ac:picMk id="12" creationId="{DEE12C32-E793-5A48-C960-3987827D3176}"/>
          </ac:picMkLst>
        </pc:picChg>
        <pc:picChg chg="mod">
          <ac:chgData name="Koksrud Andreas" userId="9d9beba6-c052-407a-8599-c781a677a996" providerId="ADAL" clId="{4C03B8BE-ED6C-47DA-A194-101B46B7832B}" dt="2024-01-23T12:31:33.586" v="485" actId="1035"/>
          <ac:picMkLst>
            <pc:docMk/>
            <pc:sldMk cId="1987049343" sldId="858"/>
            <ac:picMk id="15" creationId="{DD1F7884-9A7C-5891-012A-EE057168166C}"/>
          </ac:picMkLst>
        </pc:picChg>
      </pc:sldChg>
      <pc:sldChg chg="addSp delSp modSp mod">
        <pc:chgData name="Koksrud Andreas" userId="9d9beba6-c052-407a-8599-c781a677a996" providerId="ADAL" clId="{4C03B8BE-ED6C-47DA-A194-101B46B7832B}" dt="2024-01-23T12:29:26.979" v="260" actId="1076"/>
        <pc:sldMkLst>
          <pc:docMk/>
          <pc:sldMk cId="2034020006" sldId="859"/>
        </pc:sldMkLst>
        <pc:spChg chg="mod">
          <ac:chgData name="Koksrud Andreas" userId="9d9beba6-c052-407a-8599-c781a677a996" providerId="ADAL" clId="{4C03B8BE-ED6C-47DA-A194-101B46B7832B}" dt="2024-01-23T12:28:33.793" v="191" actId="6549"/>
          <ac:spMkLst>
            <pc:docMk/>
            <pc:sldMk cId="2034020006" sldId="859"/>
            <ac:spMk id="2" creationId="{9796E8C1-5924-9DB3-B51B-75296717F89F}"/>
          </ac:spMkLst>
        </pc:spChg>
        <pc:spChg chg="add mod">
          <ac:chgData name="Koksrud Andreas" userId="9d9beba6-c052-407a-8599-c781a677a996" providerId="ADAL" clId="{4C03B8BE-ED6C-47DA-A194-101B46B7832B}" dt="2024-01-23T12:29:26.979" v="260" actId="1076"/>
          <ac:spMkLst>
            <pc:docMk/>
            <pc:sldMk cId="2034020006" sldId="859"/>
            <ac:spMk id="9" creationId="{62E8A573-8FBB-4AE1-0AC8-E8D9B1DE86CE}"/>
          </ac:spMkLst>
        </pc:spChg>
        <pc:picChg chg="add del mod">
          <ac:chgData name="Koksrud Andreas" userId="9d9beba6-c052-407a-8599-c781a677a996" providerId="ADAL" clId="{4C03B8BE-ED6C-47DA-A194-101B46B7832B}" dt="2024-01-23T12:28:03.619" v="187" actId="478"/>
          <ac:picMkLst>
            <pc:docMk/>
            <pc:sldMk cId="2034020006" sldId="859"/>
            <ac:picMk id="5" creationId="{EC7C387C-757C-9338-B561-807EF2958A30}"/>
          </ac:picMkLst>
        </pc:picChg>
        <pc:picChg chg="add mod">
          <ac:chgData name="Koksrud Andreas" userId="9d9beba6-c052-407a-8599-c781a677a996" providerId="ADAL" clId="{4C03B8BE-ED6C-47DA-A194-101B46B7832B}" dt="2024-01-23T12:28:38.427" v="195" actId="1076"/>
          <ac:picMkLst>
            <pc:docMk/>
            <pc:sldMk cId="2034020006" sldId="859"/>
            <ac:picMk id="7" creationId="{B577DB5D-7727-344B-C721-E4F076F07A2D}"/>
          </ac:picMkLst>
        </pc:picChg>
        <pc:picChg chg="del mod">
          <ac:chgData name="Koksrud Andreas" userId="9d9beba6-c052-407a-8599-c781a677a996" providerId="ADAL" clId="{4C03B8BE-ED6C-47DA-A194-101B46B7832B}" dt="2024-01-23T12:28:34.690" v="192" actId="478"/>
          <ac:picMkLst>
            <pc:docMk/>
            <pc:sldMk cId="2034020006" sldId="859"/>
            <ac:picMk id="10" creationId="{89AD7208-33E1-786F-68C4-B07CE69D9B90}"/>
          </ac:picMkLst>
        </pc:picChg>
        <pc:picChg chg="del mod">
          <ac:chgData name="Koksrud Andreas" userId="9d9beba6-c052-407a-8599-c781a677a996" providerId="ADAL" clId="{4C03B8BE-ED6C-47DA-A194-101B46B7832B}" dt="2024-01-23T12:28:35.842" v="194" actId="478"/>
          <ac:picMkLst>
            <pc:docMk/>
            <pc:sldMk cId="2034020006" sldId="859"/>
            <ac:picMk id="13" creationId="{64C063CB-5F33-4B77-965C-B90C6AE27B39}"/>
          </ac:picMkLst>
        </pc:picChg>
        <pc:picChg chg="del mod">
          <ac:chgData name="Koksrud Andreas" userId="9d9beba6-c052-407a-8599-c781a677a996" providerId="ADAL" clId="{4C03B8BE-ED6C-47DA-A194-101B46B7832B}" dt="2024-01-23T12:28:35.264" v="193" actId="478"/>
          <ac:picMkLst>
            <pc:docMk/>
            <pc:sldMk cId="2034020006" sldId="859"/>
            <ac:picMk id="19" creationId="{16102E3D-30A8-E8EE-D800-B326185287B8}"/>
          </ac:picMkLst>
        </pc:picChg>
        <pc:picChg chg="del">
          <ac:chgData name="Koksrud Andreas" userId="9d9beba6-c052-407a-8599-c781a677a996" providerId="ADAL" clId="{4C03B8BE-ED6C-47DA-A194-101B46B7832B}" dt="2024-01-23T12:22:21.854" v="135" actId="478"/>
          <ac:picMkLst>
            <pc:docMk/>
            <pc:sldMk cId="2034020006" sldId="859"/>
            <ac:picMk id="21" creationId="{F22CFF74-063D-C7C7-71BA-43C9544244B5}"/>
          </ac:picMkLst>
        </pc:picChg>
        <pc:cxnChg chg="mod ord">
          <ac:chgData name="Koksrud Andreas" userId="9d9beba6-c052-407a-8599-c781a677a996" providerId="ADAL" clId="{4C03B8BE-ED6C-47DA-A194-101B46B7832B}" dt="2024-01-23T12:28:48.459" v="199" actId="1076"/>
          <ac:cxnSpMkLst>
            <pc:docMk/>
            <pc:sldMk cId="2034020006" sldId="859"/>
            <ac:cxnSpMk id="14" creationId="{EBD79003-BA5F-9EC4-AB1E-B169474A75BA}"/>
          </ac:cxnSpMkLst>
        </pc:cxnChg>
        <pc:cxnChg chg="del mod">
          <ac:chgData name="Koksrud Andreas" userId="9d9beba6-c052-407a-8599-c781a677a996" providerId="ADAL" clId="{4C03B8BE-ED6C-47DA-A194-101B46B7832B}" dt="2024-01-23T12:28:51.447" v="200" actId="478"/>
          <ac:cxnSpMkLst>
            <pc:docMk/>
            <pc:sldMk cId="2034020006" sldId="859"/>
            <ac:cxnSpMk id="22" creationId="{21009E25-D8DE-E975-55FA-12227386461E}"/>
          </ac:cxnSpMkLst>
        </pc:cxnChg>
        <pc:cxnChg chg="del">
          <ac:chgData name="Koksrud Andreas" userId="9d9beba6-c052-407a-8599-c781a677a996" providerId="ADAL" clId="{4C03B8BE-ED6C-47DA-A194-101B46B7832B}" dt="2024-01-23T12:22:22.873" v="136" actId="478"/>
          <ac:cxnSpMkLst>
            <pc:docMk/>
            <pc:sldMk cId="2034020006" sldId="859"/>
            <ac:cxnSpMk id="25" creationId="{F5E02325-17FA-2F47-48A7-150B22E29FA9}"/>
          </ac:cxnSpMkLst>
        </pc:cxnChg>
      </pc:sldChg>
      <pc:sldChg chg="addSp delSp modSp del mod">
        <pc:chgData name="Koksrud Andreas" userId="9d9beba6-c052-407a-8599-c781a677a996" providerId="ADAL" clId="{4C03B8BE-ED6C-47DA-A194-101B46B7832B}" dt="2024-02-01T12:20:20.506" v="6064" actId="47"/>
        <pc:sldMkLst>
          <pc:docMk/>
          <pc:sldMk cId="1439612205" sldId="860"/>
        </pc:sldMkLst>
        <pc:spChg chg="mod">
          <ac:chgData name="Koksrud Andreas" userId="9d9beba6-c052-407a-8599-c781a677a996" providerId="ADAL" clId="{4C03B8BE-ED6C-47DA-A194-101B46B7832B}" dt="2024-01-23T12:33:51.379" v="536" actId="20577"/>
          <ac:spMkLst>
            <pc:docMk/>
            <pc:sldMk cId="1439612205" sldId="860"/>
            <ac:spMk id="16" creationId="{0BF20D48-2782-8A09-2215-91CD21C56EFC}"/>
          </ac:spMkLst>
        </pc:spChg>
        <pc:picChg chg="add mod">
          <ac:chgData name="Koksrud Andreas" userId="9d9beba6-c052-407a-8599-c781a677a996" providerId="ADAL" clId="{4C03B8BE-ED6C-47DA-A194-101B46B7832B}" dt="2024-01-23T12:34:41.099" v="552" actId="14100"/>
          <ac:picMkLst>
            <pc:docMk/>
            <pc:sldMk cId="1439612205" sldId="860"/>
            <ac:picMk id="4" creationId="{45A4FD79-9975-1FDF-E136-F306B853AFD0}"/>
          </ac:picMkLst>
        </pc:picChg>
        <pc:picChg chg="del">
          <ac:chgData name="Koksrud Andreas" userId="9d9beba6-c052-407a-8599-c781a677a996" providerId="ADAL" clId="{4C03B8BE-ED6C-47DA-A194-101B46B7832B}" dt="2024-01-23T12:33:58.027" v="537" actId="478"/>
          <ac:picMkLst>
            <pc:docMk/>
            <pc:sldMk cId="1439612205" sldId="860"/>
            <ac:picMk id="23" creationId="{A92DC332-3E85-1F8C-ED9A-B06A412AF841}"/>
          </ac:picMkLst>
        </pc:picChg>
        <pc:cxnChg chg="ord">
          <ac:chgData name="Koksrud Andreas" userId="9d9beba6-c052-407a-8599-c781a677a996" providerId="ADAL" clId="{4C03B8BE-ED6C-47DA-A194-101B46B7832B}" dt="2024-01-23T12:34:23.888" v="542" actId="170"/>
          <ac:cxnSpMkLst>
            <pc:docMk/>
            <pc:sldMk cId="1439612205" sldId="860"/>
            <ac:cxnSpMk id="8" creationId="{87407839-F583-F4F8-6870-7596EB34EDF4}"/>
          </ac:cxnSpMkLst>
        </pc:cxnChg>
      </pc:sldChg>
      <pc:sldChg chg="addSp delSp modSp mod ord">
        <pc:chgData name="Koksrud Andreas" userId="9d9beba6-c052-407a-8599-c781a677a996" providerId="ADAL" clId="{4C03B8BE-ED6C-47DA-A194-101B46B7832B}" dt="2024-02-02T09:03:26.554" v="6739"/>
        <pc:sldMkLst>
          <pc:docMk/>
          <pc:sldMk cId="2554802186" sldId="861"/>
        </pc:sldMkLst>
        <pc:spChg chg="mod">
          <ac:chgData name="Koksrud Andreas" userId="9d9beba6-c052-407a-8599-c781a677a996" providerId="ADAL" clId="{4C03B8BE-ED6C-47DA-A194-101B46B7832B}" dt="2024-01-29T08:28:32.034" v="2969" actId="20577"/>
          <ac:spMkLst>
            <pc:docMk/>
            <pc:sldMk cId="2554802186" sldId="861"/>
            <ac:spMk id="2" creationId="{9796E8C1-5924-9DB3-B51B-75296717F89F}"/>
          </ac:spMkLst>
        </pc:spChg>
        <pc:spChg chg="mod">
          <ac:chgData name="Koksrud Andreas" userId="9d9beba6-c052-407a-8599-c781a677a996" providerId="ADAL" clId="{4C03B8BE-ED6C-47DA-A194-101B46B7832B}" dt="2024-02-02T09:01:04.389" v="6733" actId="20577"/>
          <ac:spMkLst>
            <pc:docMk/>
            <pc:sldMk cId="2554802186" sldId="861"/>
            <ac:spMk id="180" creationId="{00000000-0000-0000-0000-000000000000}"/>
          </ac:spMkLst>
        </pc:spChg>
        <pc:picChg chg="mod">
          <ac:chgData name="Koksrud Andreas" userId="9d9beba6-c052-407a-8599-c781a677a996" providerId="ADAL" clId="{4C03B8BE-ED6C-47DA-A194-101B46B7832B}" dt="2024-01-29T08:28:21.261" v="2937" actId="1076"/>
          <ac:picMkLst>
            <pc:docMk/>
            <pc:sldMk cId="2554802186" sldId="861"/>
            <ac:picMk id="5" creationId="{BA0F6610-8D6A-ACFB-0475-F273EB8CF5F9}"/>
          </ac:picMkLst>
        </pc:picChg>
        <pc:picChg chg="add mod">
          <ac:chgData name="Koksrud Andreas" userId="9d9beba6-c052-407a-8599-c781a677a996" providerId="ADAL" clId="{4C03B8BE-ED6C-47DA-A194-101B46B7832B}" dt="2024-01-29T08:28:13.547" v="2931" actId="1076"/>
          <ac:picMkLst>
            <pc:docMk/>
            <pc:sldMk cId="2554802186" sldId="861"/>
            <ac:picMk id="6" creationId="{9E113B21-20FD-72C4-7760-43E1A6BC93F4}"/>
          </ac:picMkLst>
        </pc:picChg>
        <pc:picChg chg="del mod">
          <ac:chgData name="Koksrud Andreas" userId="9d9beba6-c052-407a-8599-c781a677a996" providerId="ADAL" clId="{4C03B8BE-ED6C-47DA-A194-101B46B7832B}" dt="2024-01-29T08:30:46.954" v="2981" actId="478"/>
          <ac:picMkLst>
            <pc:docMk/>
            <pc:sldMk cId="2554802186" sldId="861"/>
            <ac:picMk id="7" creationId="{FF286106-3A39-9208-0739-1F2684C004C5}"/>
          </ac:picMkLst>
        </pc:picChg>
        <pc:picChg chg="add del mod">
          <ac:chgData name="Koksrud Andreas" userId="9d9beba6-c052-407a-8599-c781a677a996" providerId="ADAL" clId="{4C03B8BE-ED6C-47DA-A194-101B46B7832B}" dt="2024-01-29T08:30:47.731" v="2982" actId="478"/>
          <ac:picMkLst>
            <pc:docMk/>
            <pc:sldMk cId="2554802186" sldId="861"/>
            <ac:picMk id="13" creationId="{5BA62FD9-DB5C-3DA2-4CA6-0819449ABA49}"/>
          </ac:picMkLst>
        </pc:picChg>
        <pc:picChg chg="add del mod">
          <ac:chgData name="Koksrud Andreas" userId="9d9beba6-c052-407a-8599-c781a677a996" providerId="ADAL" clId="{4C03B8BE-ED6C-47DA-A194-101B46B7832B}" dt="2024-01-29T08:30:48.622" v="2983" actId="478"/>
          <ac:picMkLst>
            <pc:docMk/>
            <pc:sldMk cId="2554802186" sldId="861"/>
            <ac:picMk id="15" creationId="{65A91A88-A2B8-A386-B7CD-797868696192}"/>
          </ac:picMkLst>
        </pc:picChg>
        <pc:picChg chg="add mod">
          <ac:chgData name="Koksrud Andreas" userId="9d9beba6-c052-407a-8599-c781a677a996" providerId="ADAL" clId="{4C03B8BE-ED6C-47DA-A194-101B46B7832B}" dt="2024-01-29T08:30:55.708" v="2986" actId="14100"/>
          <ac:picMkLst>
            <pc:docMk/>
            <pc:sldMk cId="2554802186" sldId="861"/>
            <ac:picMk id="18" creationId="{4909D0B2-92A8-C4D4-AA92-F48B2FB211AC}"/>
          </ac:picMkLst>
        </pc:picChg>
        <pc:cxnChg chg="mod">
          <ac:chgData name="Koksrud Andreas" userId="9d9beba6-c052-407a-8599-c781a677a996" providerId="ADAL" clId="{4C03B8BE-ED6C-47DA-A194-101B46B7832B}" dt="2024-01-29T08:31:11.250" v="2990" actId="14100"/>
          <ac:cxnSpMkLst>
            <pc:docMk/>
            <pc:sldMk cId="2554802186" sldId="861"/>
            <ac:cxnSpMk id="8" creationId="{87407839-F583-F4F8-6870-7596EB34EDF4}"/>
          </ac:cxnSpMkLst>
        </pc:cxnChg>
        <pc:cxnChg chg="add mod ord">
          <ac:chgData name="Koksrud Andreas" userId="9d9beba6-c052-407a-8599-c781a677a996" providerId="ADAL" clId="{4C03B8BE-ED6C-47DA-A194-101B46B7832B}" dt="2024-01-29T08:31:05.556" v="2989" actId="170"/>
          <ac:cxnSpMkLst>
            <pc:docMk/>
            <pc:sldMk cId="2554802186" sldId="861"/>
            <ac:cxnSpMk id="10" creationId="{114731E6-C0B6-42E8-0546-511317D59522}"/>
          </ac:cxnSpMkLst>
        </pc:cxnChg>
      </pc:sldChg>
      <pc:sldChg chg="addSp delSp modSp mod">
        <pc:chgData name="Koksrud Andreas" userId="9d9beba6-c052-407a-8599-c781a677a996" providerId="ADAL" clId="{4C03B8BE-ED6C-47DA-A194-101B46B7832B}" dt="2024-01-31T20:35:28.422" v="5381" actId="207"/>
        <pc:sldMkLst>
          <pc:docMk/>
          <pc:sldMk cId="575130139" sldId="862"/>
        </pc:sldMkLst>
        <pc:spChg chg="mod">
          <ac:chgData name="Koksrud Andreas" userId="9d9beba6-c052-407a-8599-c781a677a996" providerId="ADAL" clId="{4C03B8BE-ED6C-47DA-A194-101B46B7832B}" dt="2024-01-31T20:35:28.422" v="5381" actId="207"/>
          <ac:spMkLst>
            <pc:docMk/>
            <pc:sldMk cId="575130139" sldId="862"/>
            <ac:spMk id="4" creationId="{FEFDFE44-611E-8625-FC2E-FCBBCCD3961B}"/>
          </ac:spMkLst>
        </pc:spChg>
        <pc:spChg chg="add del mod">
          <ac:chgData name="Koksrud Andreas" userId="9d9beba6-c052-407a-8599-c781a677a996" providerId="ADAL" clId="{4C03B8BE-ED6C-47DA-A194-101B46B7832B}" dt="2024-01-23T12:42:29.085" v="559" actId="478"/>
          <ac:spMkLst>
            <pc:docMk/>
            <pc:sldMk cId="575130139" sldId="862"/>
            <ac:spMk id="5" creationId="{460CE102-52B8-E991-3994-B0754FC7F223}"/>
          </ac:spMkLst>
        </pc:spChg>
        <pc:spChg chg="add mod">
          <ac:chgData name="Koksrud Andreas" userId="9d9beba6-c052-407a-8599-c781a677a996" providerId="ADAL" clId="{4C03B8BE-ED6C-47DA-A194-101B46B7832B}" dt="2024-01-31T20:32:21.160" v="5334" actId="20577"/>
          <ac:spMkLst>
            <pc:docMk/>
            <pc:sldMk cId="575130139" sldId="862"/>
            <ac:spMk id="5" creationId="{72A763FC-DC10-4832-8C21-6FA3B51F3B55}"/>
          </ac:spMkLst>
        </pc:spChg>
        <pc:spChg chg="add del mod">
          <ac:chgData name="Koksrud Andreas" userId="9d9beba6-c052-407a-8599-c781a677a996" providerId="ADAL" clId="{4C03B8BE-ED6C-47DA-A194-101B46B7832B}" dt="2024-01-23T12:45:15.434" v="694" actId="20577"/>
          <ac:spMkLst>
            <pc:docMk/>
            <pc:sldMk cId="575130139" sldId="862"/>
            <ac:spMk id="6" creationId="{D33A7F7C-0CFF-12D8-D3F9-55EA11817DA1}"/>
          </ac:spMkLst>
        </pc:spChg>
        <pc:spChg chg="add del mod">
          <ac:chgData name="Koksrud Andreas" userId="9d9beba6-c052-407a-8599-c781a677a996" providerId="ADAL" clId="{4C03B8BE-ED6C-47DA-A194-101B46B7832B}" dt="2024-01-23T12:44:01.544" v="645" actId="478"/>
          <ac:spMkLst>
            <pc:docMk/>
            <pc:sldMk cId="575130139" sldId="862"/>
            <ac:spMk id="8" creationId="{106E427E-0DF5-E114-898B-749A673C63E5}"/>
          </ac:spMkLst>
        </pc:spChg>
        <pc:spChg chg="add del mod">
          <ac:chgData name="Koksrud Andreas" userId="9d9beba6-c052-407a-8599-c781a677a996" providerId="ADAL" clId="{4C03B8BE-ED6C-47DA-A194-101B46B7832B}" dt="2024-01-23T12:51:26.223" v="708" actId="478"/>
          <ac:spMkLst>
            <pc:docMk/>
            <pc:sldMk cId="575130139" sldId="862"/>
            <ac:spMk id="20" creationId="{33705953-2E5D-8C41-17ED-79BFF166E945}"/>
          </ac:spMkLst>
        </pc:spChg>
        <pc:picChg chg="add del mod">
          <ac:chgData name="Koksrud Andreas" userId="9d9beba6-c052-407a-8599-c781a677a996" providerId="ADAL" clId="{4C03B8BE-ED6C-47DA-A194-101B46B7832B}" dt="2024-01-23T12:44:08.109" v="647" actId="478"/>
          <ac:picMkLst>
            <pc:docMk/>
            <pc:sldMk cId="575130139" sldId="862"/>
            <ac:picMk id="3" creationId="{69D77B8A-4FA7-4964-7495-CAD87DC9C7F5}"/>
          </ac:picMkLst>
        </pc:picChg>
        <pc:picChg chg="add mod">
          <ac:chgData name="Koksrud Andreas" userId="9d9beba6-c052-407a-8599-c781a677a996" providerId="ADAL" clId="{4C03B8BE-ED6C-47DA-A194-101B46B7832B}" dt="2024-01-31T18:56:51.802" v="5246" actId="1076"/>
          <ac:picMkLst>
            <pc:docMk/>
            <pc:sldMk cId="575130139" sldId="862"/>
            <ac:picMk id="3" creationId="{CEA94C2A-7124-90B5-BD0D-FE7DFCC6748C}"/>
          </ac:picMkLst>
        </pc:picChg>
        <pc:picChg chg="add mod">
          <ac:chgData name="Koksrud Andreas" userId="9d9beba6-c052-407a-8599-c781a677a996" providerId="ADAL" clId="{4C03B8BE-ED6C-47DA-A194-101B46B7832B}" dt="2024-01-23T12:44:14.964" v="649" actId="1076"/>
          <ac:picMkLst>
            <pc:docMk/>
            <pc:sldMk cId="575130139" sldId="862"/>
            <ac:picMk id="10" creationId="{34DA4BD7-43C8-285E-A933-AFFCFCCD0C8D}"/>
          </ac:picMkLst>
        </pc:picChg>
        <pc:picChg chg="add mod modCrop">
          <ac:chgData name="Koksrud Andreas" userId="9d9beba6-c052-407a-8599-c781a677a996" providerId="ADAL" clId="{4C03B8BE-ED6C-47DA-A194-101B46B7832B}" dt="2024-01-23T12:45:08.404" v="665" actId="732"/>
          <ac:picMkLst>
            <pc:docMk/>
            <pc:sldMk cId="575130139" sldId="862"/>
            <ac:picMk id="12" creationId="{82C26A6F-F9E2-CFED-E2BC-87AC1923226C}"/>
          </ac:picMkLst>
        </pc:picChg>
        <pc:picChg chg="add mod">
          <ac:chgData name="Koksrud Andreas" userId="9d9beba6-c052-407a-8599-c781a677a996" providerId="ADAL" clId="{4C03B8BE-ED6C-47DA-A194-101B46B7832B}" dt="2024-01-23T12:45:33.900" v="696" actId="1076"/>
          <ac:picMkLst>
            <pc:docMk/>
            <pc:sldMk cId="575130139" sldId="862"/>
            <ac:picMk id="14" creationId="{CD2EAEF4-7CED-79FD-7BDE-3E6B250D91FB}"/>
          </ac:picMkLst>
        </pc:picChg>
        <pc:picChg chg="add del mod">
          <ac:chgData name="Koksrud Andreas" userId="9d9beba6-c052-407a-8599-c781a677a996" providerId="ADAL" clId="{4C03B8BE-ED6C-47DA-A194-101B46B7832B}" dt="2024-01-23T12:46:18.093" v="699" actId="478"/>
          <ac:picMkLst>
            <pc:docMk/>
            <pc:sldMk cId="575130139" sldId="862"/>
            <ac:picMk id="16" creationId="{AC3C32E7-E954-4868-2AC4-0E85CC97D3D1}"/>
          </ac:picMkLst>
        </pc:picChg>
        <pc:picChg chg="add del mod">
          <ac:chgData name="Koksrud Andreas" userId="9d9beba6-c052-407a-8599-c781a677a996" providerId="ADAL" clId="{4C03B8BE-ED6C-47DA-A194-101B46B7832B}" dt="2024-01-31T18:56:21.625" v="5244" actId="478"/>
          <ac:picMkLst>
            <pc:docMk/>
            <pc:sldMk cId="575130139" sldId="862"/>
            <ac:picMk id="18" creationId="{9E91CC1E-2113-0C28-D2B5-695D6996BC5A}"/>
          </ac:picMkLst>
        </pc:picChg>
      </pc:sldChg>
      <pc:sldChg chg="modSp mod">
        <pc:chgData name="Koksrud Andreas" userId="9d9beba6-c052-407a-8599-c781a677a996" providerId="ADAL" clId="{4C03B8BE-ED6C-47DA-A194-101B46B7832B}" dt="2024-01-23T13:11:22.966" v="873" actId="1035"/>
        <pc:sldMkLst>
          <pc:docMk/>
          <pc:sldMk cId="3027998341" sldId="863"/>
        </pc:sldMkLst>
        <pc:picChg chg="mod">
          <ac:chgData name="Koksrud Andreas" userId="9d9beba6-c052-407a-8599-c781a677a996" providerId="ADAL" clId="{4C03B8BE-ED6C-47DA-A194-101B46B7832B}" dt="2024-01-23T13:11:22.966" v="873" actId="1035"/>
          <ac:picMkLst>
            <pc:docMk/>
            <pc:sldMk cId="3027998341" sldId="863"/>
            <ac:picMk id="9" creationId="{B39AEE37-E5E1-FD33-5317-53FB4A2C1415}"/>
          </ac:picMkLst>
        </pc:picChg>
        <pc:picChg chg="mod">
          <ac:chgData name="Koksrud Andreas" userId="9d9beba6-c052-407a-8599-c781a677a996" providerId="ADAL" clId="{4C03B8BE-ED6C-47DA-A194-101B46B7832B}" dt="2024-01-23T13:08:28.603" v="851" actId="1036"/>
          <ac:picMkLst>
            <pc:docMk/>
            <pc:sldMk cId="3027998341" sldId="863"/>
            <ac:picMk id="10" creationId="{D53ABFBC-DDEE-E0B1-EBD7-A03E15A1AD96}"/>
          </ac:picMkLst>
        </pc:picChg>
        <pc:picChg chg="mod">
          <ac:chgData name="Koksrud Andreas" userId="9d9beba6-c052-407a-8599-c781a677a996" providerId="ADAL" clId="{4C03B8BE-ED6C-47DA-A194-101B46B7832B}" dt="2024-01-23T13:11:08.228" v="855" actId="14100"/>
          <ac:picMkLst>
            <pc:docMk/>
            <pc:sldMk cId="3027998341" sldId="863"/>
            <ac:picMk id="12" creationId="{36E36D84-4DF4-898C-B0E4-F15DFC15B501}"/>
          </ac:picMkLst>
        </pc:picChg>
      </pc:sldChg>
      <pc:sldChg chg="addSp delSp modSp mod">
        <pc:chgData name="Koksrud Andreas" userId="9d9beba6-c052-407a-8599-c781a677a996" providerId="ADAL" clId="{4C03B8BE-ED6C-47DA-A194-101B46B7832B}" dt="2024-02-01T19:18:19.548" v="6590" actId="1076"/>
        <pc:sldMkLst>
          <pc:docMk/>
          <pc:sldMk cId="2970237999" sldId="864"/>
        </pc:sldMkLst>
        <pc:spChg chg="add mod">
          <ac:chgData name="Koksrud Andreas" userId="9d9beba6-c052-407a-8599-c781a677a996" providerId="ADAL" clId="{4C03B8BE-ED6C-47DA-A194-101B46B7832B}" dt="2024-02-01T19:18:19.548" v="6590" actId="1076"/>
          <ac:spMkLst>
            <pc:docMk/>
            <pc:sldMk cId="2970237999" sldId="864"/>
            <ac:spMk id="4" creationId="{573949ED-BBE9-BE91-D23E-060B19D06828}"/>
          </ac:spMkLst>
        </pc:spChg>
        <pc:spChg chg="add mod">
          <ac:chgData name="Koksrud Andreas" userId="9d9beba6-c052-407a-8599-c781a677a996" providerId="ADAL" clId="{4C03B8BE-ED6C-47DA-A194-101B46B7832B}" dt="2024-02-01T19:18:17.071" v="6589" actId="1076"/>
          <ac:spMkLst>
            <pc:docMk/>
            <pc:sldMk cId="2970237999" sldId="864"/>
            <ac:spMk id="6" creationId="{AFC032CF-68CF-022B-D3ED-67C34FCA9DA6}"/>
          </ac:spMkLst>
        </pc:spChg>
        <pc:spChg chg="add del mod">
          <ac:chgData name="Koksrud Andreas" userId="9d9beba6-c052-407a-8599-c781a677a996" providerId="ADAL" clId="{4C03B8BE-ED6C-47DA-A194-101B46B7832B}" dt="2024-02-01T19:15:40.554" v="6434" actId="478"/>
          <ac:spMkLst>
            <pc:docMk/>
            <pc:sldMk cId="2970237999" sldId="864"/>
            <ac:spMk id="7" creationId="{93146DE2-306B-342B-E020-F85EB8C104D5}"/>
          </ac:spMkLst>
        </pc:spChg>
        <pc:spChg chg="add del">
          <ac:chgData name="Koksrud Andreas" userId="9d9beba6-c052-407a-8599-c781a677a996" providerId="ADAL" clId="{4C03B8BE-ED6C-47DA-A194-101B46B7832B}" dt="2024-02-01T13:26:09.035" v="6212"/>
          <ac:spMkLst>
            <pc:docMk/>
            <pc:sldMk cId="2970237999" sldId="864"/>
            <ac:spMk id="9" creationId="{F1525D4A-A27D-903E-3B40-E54F7399CED3}"/>
          </ac:spMkLst>
        </pc:spChg>
        <pc:spChg chg="add mod">
          <ac:chgData name="Koksrud Andreas" userId="9d9beba6-c052-407a-8599-c781a677a996" providerId="ADAL" clId="{4C03B8BE-ED6C-47DA-A194-101B46B7832B}" dt="2024-02-01T19:18:13.357" v="6588" actId="1036"/>
          <ac:spMkLst>
            <pc:docMk/>
            <pc:sldMk cId="2970237999" sldId="864"/>
            <ac:spMk id="10" creationId="{2C5B1494-1D58-BF1C-FD1F-05B2284547CD}"/>
          </ac:spMkLst>
        </pc:spChg>
        <pc:spChg chg="add mod">
          <ac:chgData name="Koksrud Andreas" userId="9d9beba6-c052-407a-8599-c781a677a996" providerId="ADAL" clId="{4C03B8BE-ED6C-47DA-A194-101B46B7832B}" dt="2024-02-01T19:18:13.357" v="6588" actId="1036"/>
          <ac:spMkLst>
            <pc:docMk/>
            <pc:sldMk cId="2970237999" sldId="864"/>
            <ac:spMk id="11" creationId="{A033C1BF-07A1-0CE1-77A7-B916038F8BFB}"/>
          </ac:spMkLst>
        </pc:spChg>
        <pc:spChg chg="mod">
          <ac:chgData name="Koksrud Andreas" userId="9d9beba6-c052-407a-8599-c781a677a996" providerId="ADAL" clId="{4C03B8BE-ED6C-47DA-A194-101B46B7832B}" dt="2024-02-01T19:15:22.131" v="6400" actId="20577"/>
          <ac:spMkLst>
            <pc:docMk/>
            <pc:sldMk cId="2970237999" sldId="864"/>
            <ac:spMk id="14" creationId="{C85A9E99-AA4E-C194-FF2A-6C5AC5C1CF94}"/>
          </ac:spMkLst>
        </pc:spChg>
        <pc:picChg chg="del">
          <ac:chgData name="Koksrud Andreas" userId="9d9beba6-c052-407a-8599-c781a677a996" providerId="ADAL" clId="{4C03B8BE-ED6C-47DA-A194-101B46B7832B}" dt="2024-01-23T13:12:59.203" v="876" actId="478"/>
          <ac:picMkLst>
            <pc:docMk/>
            <pc:sldMk cId="2970237999" sldId="864"/>
            <ac:picMk id="3" creationId="{08CDF2F7-7F69-D3A5-6F46-C3549070755D}"/>
          </ac:picMkLst>
        </pc:picChg>
        <pc:picChg chg="add mod modCrop">
          <ac:chgData name="Koksrud Andreas" userId="9d9beba6-c052-407a-8599-c781a677a996" providerId="ADAL" clId="{4C03B8BE-ED6C-47DA-A194-101B46B7832B}" dt="2024-01-31T19:10:32.436" v="5280" actId="14100"/>
          <ac:picMkLst>
            <pc:docMk/>
            <pc:sldMk cId="2970237999" sldId="864"/>
            <ac:picMk id="3" creationId="{C73A5D59-A3A1-B1EB-7D4C-49EAFDDF8D35}"/>
          </ac:picMkLst>
        </pc:picChg>
        <pc:picChg chg="add del mod">
          <ac:chgData name="Koksrud Andreas" userId="9d9beba6-c052-407a-8599-c781a677a996" providerId="ADAL" clId="{4C03B8BE-ED6C-47DA-A194-101B46B7832B}" dt="2024-01-31T19:01:20.732" v="5249" actId="478"/>
          <ac:picMkLst>
            <pc:docMk/>
            <pc:sldMk cId="2970237999" sldId="864"/>
            <ac:picMk id="4" creationId="{3A799265-D65A-D424-ED4C-EA283AEFACFC}"/>
          </ac:picMkLst>
        </pc:picChg>
        <pc:picChg chg="add del mod">
          <ac:chgData name="Koksrud Andreas" userId="9d9beba6-c052-407a-8599-c781a677a996" providerId="ADAL" clId="{4C03B8BE-ED6C-47DA-A194-101B46B7832B}" dt="2024-01-23T13:13:31.968" v="882" actId="478"/>
          <ac:picMkLst>
            <pc:docMk/>
            <pc:sldMk cId="2970237999" sldId="864"/>
            <ac:picMk id="6" creationId="{9C1B6C72-C3CE-E135-2C7A-7AAA8B7A9A22}"/>
          </ac:picMkLst>
        </pc:picChg>
        <pc:picChg chg="add del mod modCrop">
          <ac:chgData name="Koksrud Andreas" userId="9d9beba6-c052-407a-8599-c781a677a996" providerId="ADAL" clId="{4C03B8BE-ED6C-47DA-A194-101B46B7832B}" dt="2024-02-01T13:24:37.619" v="6178" actId="478"/>
          <ac:picMkLst>
            <pc:docMk/>
            <pc:sldMk cId="2970237999" sldId="864"/>
            <ac:picMk id="8" creationId="{3923B4BF-8D0D-0409-742B-3ED9E2DCFF10}"/>
          </ac:picMkLst>
        </pc:picChg>
      </pc:sldChg>
      <pc:sldChg chg="addSp delSp modSp mod">
        <pc:chgData name="Koksrud Andreas" userId="9d9beba6-c052-407a-8599-c781a677a996" providerId="ADAL" clId="{4C03B8BE-ED6C-47DA-A194-101B46B7832B}" dt="2024-01-23T13:15:01.340" v="890" actId="1076"/>
        <pc:sldMkLst>
          <pc:docMk/>
          <pc:sldMk cId="1445178992" sldId="865"/>
        </pc:sldMkLst>
        <pc:picChg chg="add mod modCrop">
          <ac:chgData name="Koksrud Andreas" userId="9d9beba6-c052-407a-8599-c781a677a996" providerId="ADAL" clId="{4C03B8BE-ED6C-47DA-A194-101B46B7832B}" dt="2024-01-23T13:15:01.340" v="890" actId="1076"/>
          <ac:picMkLst>
            <pc:docMk/>
            <pc:sldMk cId="1445178992" sldId="865"/>
            <ac:picMk id="3" creationId="{5CDD4ADA-7AE8-6882-B49C-4834CA98ED6E}"/>
          </ac:picMkLst>
        </pc:picChg>
        <pc:picChg chg="del">
          <ac:chgData name="Koksrud Andreas" userId="9d9beba6-c052-407a-8599-c781a677a996" providerId="ADAL" clId="{4C03B8BE-ED6C-47DA-A194-101B46B7832B}" dt="2024-01-23T13:14:34.456" v="887" actId="478"/>
          <ac:picMkLst>
            <pc:docMk/>
            <pc:sldMk cId="1445178992" sldId="865"/>
            <ac:picMk id="4" creationId="{0EDB0BA9-55B4-EA3B-1D41-37B08DC75373}"/>
          </ac:picMkLst>
        </pc:picChg>
      </pc:sldChg>
      <pc:sldChg chg="addSp delSp modSp mod">
        <pc:chgData name="Koksrud Andreas" userId="9d9beba6-c052-407a-8599-c781a677a996" providerId="ADAL" clId="{4C03B8BE-ED6C-47DA-A194-101B46B7832B}" dt="2024-01-31T20:27:59.824" v="5308" actId="1076"/>
        <pc:sldMkLst>
          <pc:docMk/>
          <pc:sldMk cId="141793938" sldId="866"/>
        </pc:sldMkLst>
        <pc:spChg chg="add del mod">
          <ac:chgData name="Koksrud Andreas" userId="9d9beba6-c052-407a-8599-c781a677a996" providerId="ADAL" clId="{4C03B8BE-ED6C-47DA-A194-101B46B7832B}" dt="2024-01-23T13:50:31.536" v="967" actId="478"/>
          <ac:spMkLst>
            <pc:docMk/>
            <pc:sldMk cId="141793938" sldId="866"/>
            <ac:spMk id="2" creationId="{0C578A6C-5215-9DFE-51D6-8AA7A3E4A34A}"/>
          </ac:spMkLst>
        </pc:spChg>
        <pc:spChg chg="mod">
          <ac:chgData name="Koksrud Andreas" userId="9d9beba6-c052-407a-8599-c781a677a996" providerId="ADAL" clId="{4C03B8BE-ED6C-47DA-A194-101B46B7832B}" dt="2024-01-23T13:32:27.666" v="916" actId="20577"/>
          <ac:spMkLst>
            <pc:docMk/>
            <pc:sldMk cId="141793938" sldId="866"/>
            <ac:spMk id="14" creationId="{C85A9E99-AA4E-C194-FF2A-6C5AC5C1CF94}"/>
          </ac:spMkLst>
        </pc:spChg>
        <pc:picChg chg="add mod">
          <ac:chgData name="Koksrud Andreas" userId="9d9beba6-c052-407a-8599-c781a677a996" providerId="ADAL" clId="{4C03B8BE-ED6C-47DA-A194-101B46B7832B}" dt="2024-01-31T20:27:59.824" v="5308" actId="1076"/>
          <ac:picMkLst>
            <pc:docMk/>
            <pc:sldMk cId="141793938" sldId="866"/>
            <ac:picMk id="3" creationId="{8C84CAAC-0A77-69FB-8421-BF5474BDA8A2}"/>
          </ac:picMkLst>
        </pc:picChg>
        <pc:picChg chg="add mod">
          <ac:chgData name="Koksrud Andreas" userId="9d9beba6-c052-407a-8599-c781a677a996" providerId="ADAL" clId="{4C03B8BE-ED6C-47DA-A194-101B46B7832B}" dt="2024-01-23T13:33:14.709" v="956" actId="1076"/>
          <ac:picMkLst>
            <pc:docMk/>
            <pc:sldMk cId="141793938" sldId="866"/>
            <ac:picMk id="4" creationId="{776FF432-3812-8AE6-C259-0DD1DB35CB36}"/>
          </ac:picMkLst>
        </pc:picChg>
        <pc:picChg chg="add del mod">
          <ac:chgData name="Koksrud Andreas" userId="9d9beba6-c052-407a-8599-c781a677a996" providerId="ADAL" clId="{4C03B8BE-ED6C-47DA-A194-101B46B7832B}" dt="2024-01-23T13:50:32.506" v="968" actId="478"/>
          <ac:picMkLst>
            <pc:docMk/>
            <pc:sldMk cId="141793938" sldId="866"/>
            <ac:picMk id="6" creationId="{60B7BE4B-C380-F509-39B9-63F66FEDB884}"/>
          </ac:picMkLst>
        </pc:picChg>
        <pc:picChg chg="add del mod">
          <ac:chgData name="Koksrud Andreas" userId="9d9beba6-c052-407a-8599-c781a677a996" providerId="ADAL" clId="{4C03B8BE-ED6C-47DA-A194-101B46B7832B}" dt="2024-01-23T13:50:33.682" v="970" actId="478"/>
          <ac:picMkLst>
            <pc:docMk/>
            <pc:sldMk cId="141793938" sldId="866"/>
            <ac:picMk id="8" creationId="{999F2FC3-B287-DD9D-4558-AD353587E044}"/>
          </ac:picMkLst>
        </pc:picChg>
        <pc:picChg chg="add del mod">
          <ac:chgData name="Koksrud Andreas" userId="9d9beba6-c052-407a-8599-c781a677a996" providerId="ADAL" clId="{4C03B8BE-ED6C-47DA-A194-101B46B7832B}" dt="2024-01-23T13:50:33.073" v="969" actId="478"/>
          <ac:picMkLst>
            <pc:docMk/>
            <pc:sldMk cId="141793938" sldId="866"/>
            <ac:picMk id="10" creationId="{58879FEC-2172-0E32-F467-93CE73CE793A}"/>
          </ac:picMkLst>
        </pc:picChg>
        <pc:picChg chg="add del mod">
          <ac:chgData name="Koksrud Andreas" userId="9d9beba6-c052-407a-8599-c781a677a996" providerId="ADAL" clId="{4C03B8BE-ED6C-47DA-A194-101B46B7832B}" dt="2024-01-31T20:27:55.587" v="5306" actId="478"/>
          <ac:picMkLst>
            <pc:docMk/>
            <pc:sldMk cId="141793938" sldId="866"/>
            <ac:picMk id="12" creationId="{5AC6A98C-5506-7771-72D5-77959C3FA704}"/>
          </ac:picMkLst>
        </pc:picChg>
      </pc:sldChg>
      <pc:sldChg chg="addSp delSp modSp mod">
        <pc:chgData name="Koksrud Andreas" userId="9d9beba6-c052-407a-8599-c781a677a996" providerId="ADAL" clId="{4C03B8BE-ED6C-47DA-A194-101B46B7832B}" dt="2024-01-31T19:14:55.873" v="5305" actId="1076"/>
        <pc:sldMkLst>
          <pc:docMk/>
          <pc:sldMk cId="3994882627" sldId="867"/>
        </pc:sldMkLst>
        <pc:spChg chg="mod">
          <ac:chgData name="Koksrud Andreas" userId="9d9beba6-c052-407a-8599-c781a677a996" providerId="ADAL" clId="{4C03B8BE-ED6C-47DA-A194-101B46B7832B}" dt="2024-01-31T19:13:17.314" v="5299" actId="20577"/>
          <ac:spMkLst>
            <pc:docMk/>
            <pc:sldMk cId="3994882627" sldId="867"/>
            <ac:spMk id="14" creationId="{C85A9E99-AA4E-C194-FF2A-6C5AC5C1CF94}"/>
          </ac:spMkLst>
        </pc:spChg>
        <pc:picChg chg="add del mod">
          <ac:chgData name="Koksrud Andreas" userId="9d9beba6-c052-407a-8599-c781a677a996" providerId="ADAL" clId="{4C03B8BE-ED6C-47DA-A194-101B46B7832B}" dt="2024-01-31T19:14:21.043" v="5300" actId="478"/>
          <ac:picMkLst>
            <pc:docMk/>
            <pc:sldMk cId="3994882627" sldId="867"/>
            <ac:picMk id="3" creationId="{ED09C992-BA43-DDCC-DD03-16EEBB496174}"/>
          </ac:picMkLst>
        </pc:picChg>
        <pc:picChg chg="add mod">
          <ac:chgData name="Koksrud Andreas" userId="9d9beba6-c052-407a-8599-c781a677a996" providerId="ADAL" clId="{4C03B8BE-ED6C-47DA-A194-101B46B7832B}" dt="2024-01-31T19:14:25.591" v="5302" actId="1076"/>
          <ac:picMkLst>
            <pc:docMk/>
            <pc:sldMk cId="3994882627" sldId="867"/>
            <ac:picMk id="4" creationId="{8E3B416C-1AC1-0470-482B-62B74E32F3A7}"/>
          </ac:picMkLst>
        </pc:picChg>
        <pc:picChg chg="add del mod">
          <ac:chgData name="Koksrud Andreas" userId="9d9beba6-c052-407a-8599-c781a677a996" providerId="ADAL" clId="{4C03B8BE-ED6C-47DA-A194-101B46B7832B}" dt="2024-01-31T19:14:28.317" v="5303" actId="478"/>
          <ac:picMkLst>
            <pc:docMk/>
            <pc:sldMk cId="3994882627" sldId="867"/>
            <ac:picMk id="5" creationId="{992BF215-7938-D7CD-C56C-684AE5DE24CA}"/>
          </ac:picMkLst>
        </pc:picChg>
        <pc:picChg chg="add mod">
          <ac:chgData name="Koksrud Andreas" userId="9d9beba6-c052-407a-8599-c781a677a996" providerId="ADAL" clId="{4C03B8BE-ED6C-47DA-A194-101B46B7832B}" dt="2024-01-31T19:14:55.873" v="5305" actId="1076"/>
          <ac:picMkLst>
            <pc:docMk/>
            <pc:sldMk cId="3994882627" sldId="867"/>
            <ac:picMk id="7" creationId="{0C39E68A-7DF6-807B-0249-BADDB1320D18}"/>
          </ac:picMkLst>
        </pc:picChg>
      </pc:sldChg>
      <pc:sldChg chg="addSp delSp modSp mod">
        <pc:chgData name="Koksrud Andreas" userId="9d9beba6-c052-407a-8599-c781a677a996" providerId="ADAL" clId="{4C03B8BE-ED6C-47DA-A194-101B46B7832B}" dt="2024-02-01T10:52:07.851" v="5599" actId="20577"/>
        <pc:sldMkLst>
          <pc:docMk/>
          <pc:sldMk cId="612492956" sldId="869"/>
        </pc:sldMkLst>
        <pc:spChg chg="del mod">
          <ac:chgData name="Koksrud Andreas" userId="9d9beba6-c052-407a-8599-c781a677a996" providerId="ADAL" clId="{4C03B8BE-ED6C-47DA-A194-101B46B7832B}" dt="2024-01-29T05:46:15.950" v="2093" actId="478"/>
          <ac:spMkLst>
            <pc:docMk/>
            <pc:sldMk cId="612492956" sldId="869"/>
            <ac:spMk id="3" creationId="{F8C25FDC-57EE-1DDE-CCC5-273A2149FEAB}"/>
          </ac:spMkLst>
        </pc:spChg>
        <pc:spChg chg="mod">
          <ac:chgData name="Koksrud Andreas" userId="9d9beba6-c052-407a-8599-c781a677a996" providerId="ADAL" clId="{4C03B8BE-ED6C-47DA-A194-101B46B7832B}" dt="2024-02-01T10:52:07.851" v="5599" actId="20577"/>
          <ac:spMkLst>
            <pc:docMk/>
            <pc:sldMk cId="612492956" sldId="869"/>
            <ac:spMk id="14" creationId="{C85A9E99-AA4E-C194-FF2A-6C5AC5C1CF94}"/>
          </ac:spMkLst>
        </pc:spChg>
        <pc:picChg chg="add mod ord modCrop">
          <ac:chgData name="Koksrud Andreas" userId="9d9beba6-c052-407a-8599-c781a677a996" providerId="ADAL" clId="{4C03B8BE-ED6C-47DA-A194-101B46B7832B}" dt="2024-01-29T09:19:47.948" v="3230" actId="14100"/>
          <ac:picMkLst>
            <pc:docMk/>
            <pc:sldMk cId="612492956" sldId="869"/>
            <ac:picMk id="4" creationId="{1B512EEC-42AE-E3EC-812A-6A32A1C39970}"/>
          </ac:picMkLst>
        </pc:picChg>
      </pc:sldChg>
      <pc:sldChg chg="addSp delSp modSp mod">
        <pc:chgData name="Koksrud Andreas" userId="9d9beba6-c052-407a-8599-c781a677a996" providerId="ADAL" clId="{4C03B8BE-ED6C-47DA-A194-101B46B7832B}" dt="2024-01-31T20:37:44.811" v="5407" actId="20577"/>
        <pc:sldMkLst>
          <pc:docMk/>
          <pc:sldMk cId="118550550" sldId="870"/>
        </pc:sldMkLst>
        <pc:spChg chg="mod">
          <ac:chgData name="Koksrud Andreas" userId="9d9beba6-c052-407a-8599-c781a677a996" providerId="ADAL" clId="{4C03B8BE-ED6C-47DA-A194-101B46B7832B}" dt="2024-01-31T20:37:44.811" v="5407" actId="20577"/>
          <ac:spMkLst>
            <pc:docMk/>
            <pc:sldMk cId="118550550" sldId="870"/>
            <ac:spMk id="14" creationId="{C85A9E99-AA4E-C194-FF2A-6C5AC5C1CF94}"/>
          </ac:spMkLst>
        </pc:spChg>
        <pc:spChg chg="mod">
          <ac:chgData name="Koksrud Andreas" userId="9d9beba6-c052-407a-8599-c781a677a996" providerId="ADAL" clId="{4C03B8BE-ED6C-47DA-A194-101B46B7832B}" dt="2024-01-23T15:44:51.535" v="1130" actId="20577"/>
          <ac:spMkLst>
            <pc:docMk/>
            <pc:sldMk cId="118550550" sldId="870"/>
            <ac:spMk id="180" creationId="{00000000-0000-0000-0000-000000000000}"/>
          </ac:spMkLst>
        </pc:spChg>
        <pc:picChg chg="add del mod">
          <ac:chgData name="Koksrud Andreas" userId="9d9beba6-c052-407a-8599-c781a677a996" providerId="ADAL" clId="{4C03B8BE-ED6C-47DA-A194-101B46B7832B}" dt="2024-01-23T15:46:02.199" v="1145" actId="478"/>
          <ac:picMkLst>
            <pc:docMk/>
            <pc:sldMk cId="118550550" sldId="870"/>
            <ac:picMk id="3" creationId="{34BBE621-2035-237F-2AE9-42FF0D5BFC16}"/>
          </ac:picMkLst>
        </pc:picChg>
        <pc:picChg chg="add mod">
          <ac:chgData name="Koksrud Andreas" userId="9d9beba6-c052-407a-8599-c781a677a996" providerId="ADAL" clId="{4C03B8BE-ED6C-47DA-A194-101B46B7832B}" dt="2024-01-23T15:46:51.311" v="1232" actId="1076"/>
          <ac:picMkLst>
            <pc:docMk/>
            <pc:sldMk cId="118550550" sldId="870"/>
            <ac:picMk id="5" creationId="{42795A0C-1A69-F226-DBD1-C38DF280A14B}"/>
          </ac:picMkLst>
        </pc:picChg>
        <pc:picChg chg="add mod">
          <ac:chgData name="Koksrud Andreas" userId="9d9beba6-c052-407a-8599-c781a677a996" providerId="ADAL" clId="{4C03B8BE-ED6C-47DA-A194-101B46B7832B}" dt="2024-01-23T15:57:28.209" v="1298" actId="1076"/>
          <ac:picMkLst>
            <pc:docMk/>
            <pc:sldMk cId="118550550" sldId="870"/>
            <ac:picMk id="7" creationId="{820E6AE5-0022-7907-4F55-CCCDD127F1CB}"/>
          </ac:picMkLst>
        </pc:picChg>
      </pc:sldChg>
      <pc:sldChg chg="addSp delSp modSp mod ord">
        <pc:chgData name="Koksrud Andreas" userId="9d9beba6-c052-407a-8599-c781a677a996" providerId="ADAL" clId="{4C03B8BE-ED6C-47DA-A194-101B46B7832B}" dt="2024-02-01T12:11:23.631" v="5835" actId="1076"/>
        <pc:sldMkLst>
          <pc:docMk/>
          <pc:sldMk cId="548472017" sldId="871"/>
        </pc:sldMkLst>
        <pc:spChg chg="add mod">
          <ac:chgData name="Koksrud Andreas" userId="9d9beba6-c052-407a-8599-c781a677a996" providerId="ADAL" clId="{4C03B8BE-ED6C-47DA-A194-101B46B7832B}" dt="2024-02-01T12:06:24.871" v="5827"/>
          <ac:spMkLst>
            <pc:docMk/>
            <pc:sldMk cId="548472017" sldId="871"/>
            <ac:spMk id="2" creationId="{5E55E3D2-6C00-507E-E67D-B1585416A7DA}"/>
          </ac:spMkLst>
        </pc:spChg>
        <pc:spChg chg="add mod">
          <ac:chgData name="Koksrud Andreas" userId="9d9beba6-c052-407a-8599-c781a677a996" providerId="ADAL" clId="{4C03B8BE-ED6C-47DA-A194-101B46B7832B}" dt="2024-01-29T12:32:36.528" v="4245" actId="20577"/>
          <ac:spMkLst>
            <pc:docMk/>
            <pc:sldMk cId="548472017" sldId="871"/>
            <ac:spMk id="4" creationId="{C74185B4-55D0-B4EA-E65D-51F42B09D894}"/>
          </ac:spMkLst>
        </pc:spChg>
        <pc:spChg chg="mod">
          <ac:chgData name="Koksrud Andreas" userId="9d9beba6-c052-407a-8599-c781a677a996" providerId="ADAL" clId="{4C03B8BE-ED6C-47DA-A194-101B46B7832B}" dt="2024-01-29T12:31:30.599" v="4237" actId="6549"/>
          <ac:spMkLst>
            <pc:docMk/>
            <pc:sldMk cId="548472017" sldId="871"/>
            <ac:spMk id="14" creationId="{C85A9E99-AA4E-C194-FF2A-6C5AC5C1CF94}"/>
          </ac:spMkLst>
        </pc:spChg>
        <pc:spChg chg="mod">
          <ac:chgData name="Koksrud Andreas" userId="9d9beba6-c052-407a-8599-c781a677a996" providerId="ADAL" clId="{4C03B8BE-ED6C-47DA-A194-101B46B7832B}" dt="2024-01-29T07:01:55.581" v="2349" actId="20577"/>
          <ac:spMkLst>
            <pc:docMk/>
            <pc:sldMk cId="548472017" sldId="871"/>
            <ac:spMk id="180" creationId="{00000000-0000-0000-0000-000000000000}"/>
          </ac:spMkLst>
        </pc:spChg>
        <pc:picChg chg="add mod">
          <ac:chgData name="Koksrud Andreas" userId="9d9beba6-c052-407a-8599-c781a677a996" providerId="ADAL" clId="{4C03B8BE-ED6C-47DA-A194-101B46B7832B}" dt="2024-01-29T12:32:01.837" v="4239" actId="1076"/>
          <ac:picMkLst>
            <pc:docMk/>
            <pc:sldMk cId="548472017" sldId="871"/>
            <ac:picMk id="6" creationId="{998758FD-0182-1EDB-7B67-96A720A202C7}"/>
          </ac:picMkLst>
        </pc:picChg>
        <pc:picChg chg="add mod modCrop">
          <ac:chgData name="Koksrud Andreas" userId="9d9beba6-c052-407a-8599-c781a677a996" providerId="ADAL" clId="{4C03B8BE-ED6C-47DA-A194-101B46B7832B}" dt="2024-02-01T12:11:23.631" v="5835" actId="1076"/>
          <ac:picMkLst>
            <pc:docMk/>
            <pc:sldMk cId="548472017" sldId="871"/>
            <ac:picMk id="7" creationId="{11B4A4CD-E3CE-7938-0B4C-0B09EDAE8B13}"/>
          </ac:picMkLst>
        </pc:picChg>
        <pc:picChg chg="add del mod">
          <ac:chgData name="Koksrud Andreas" userId="9d9beba6-c052-407a-8599-c781a677a996" providerId="ADAL" clId="{4C03B8BE-ED6C-47DA-A194-101B46B7832B}" dt="2024-02-01T12:11:05.713" v="5828" actId="478"/>
          <ac:picMkLst>
            <pc:docMk/>
            <pc:sldMk cId="548472017" sldId="871"/>
            <ac:picMk id="8" creationId="{4A970A8E-6363-6D03-CAFA-62D67424806B}"/>
          </ac:picMkLst>
        </pc:picChg>
      </pc:sldChg>
      <pc:sldChg chg="delSp modSp add mod">
        <pc:chgData name="Koksrud Andreas" userId="9d9beba6-c052-407a-8599-c781a677a996" providerId="ADAL" clId="{4C03B8BE-ED6C-47DA-A194-101B46B7832B}" dt="2024-01-29T08:09:46.344" v="2925" actId="20577"/>
        <pc:sldMkLst>
          <pc:docMk/>
          <pc:sldMk cId="1118540174" sldId="872"/>
        </pc:sldMkLst>
        <pc:spChg chg="mod">
          <ac:chgData name="Koksrud Andreas" userId="9d9beba6-c052-407a-8599-c781a677a996" providerId="ADAL" clId="{4C03B8BE-ED6C-47DA-A194-101B46B7832B}" dt="2024-01-29T08:09:46.344" v="2925" actId="20577"/>
          <ac:spMkLst>
            <pc:docMk/>
            <pc:sldMk cId="1118540174" sldId="872"/>
            <ac:spMk id="2" creationId="{9796E8C1-5924-9DB3-B51B-75296717F89F}"/>
          </ac:spMkLst>
        </pc:spChg>
        <pc:picChg chg="del">
          <ac:chgData name="Koksrud Andreas" userId="9d9beba6-c052-407a-8599-c781a677a996" providerId="ADAL" clId="{4C03B8BE-ED6C-47DA-A194-101B46B7832B}" dt="2024-01-23T12:31:46.259" v="486" actId="478"/>
          <ac:picMkLst>
            <pc:docMk/>
            <pc:sldMk cId="1118540174" sldId="872"/>
            <ac:picMk id="4" creationId="{FDD42404-EF64-D2C3-11DA-3A932B4CFCB8}"/>
          </ac:picMkLst>
        </pc:picChg>
        <pc:picChg chg="del">
          <ac:chgData name="Koksrud Andreas" userId="9d9beba6-c052-407a-8599-c781a677a996" providerId="ADAL" clId="{4C03B8BE-ED6C-47DA-A194-101B46B7832B}" dt="2024-01-23T12:31:46.891" v="487" actId="478"/>
          <ac:picMkLst>
            <pc:docMk/>
            <pc:sldMk cId="1118540174" sldId="872"/>
            <ac:picMk id="7" creationId="{B577DB5D-7727-344B-C721-E4F076F07A2D}"/>
          </ac:picMkLst>
        </pc:picChg>
        <pc:picChg chg="mod">
          <ac:chgData name="Koksrud Andreas" userId="9d9beba6-c052-407a-8599-c781a677a996" providerId="ADAL" clId="{4C03B8BE-ED6C-47DA-A194-101B46B7832B}" dt="2024-01-23T12:32:02.882" v="504" actId="1076"/>
          <ac:picMkLst>
            <pc:docMk/>
            <pc:sldMk cId="1118540174" sldId="872"/>
            <ac:picMk id="10" creationId="{89AD7208-33E1-786F-68C4-B07CE69D9B90}"/>
          </ac:picMkLst>
        </pc:picChg>
        <pc:picChg chg="mod">
          <ac:chgData name="Koksrud Andreas" userId="9d9beba6-c052-407a-8599-c781a677a996" providerId="ADAL" clId="{4C03B8BE-ED6C-47DA-A194-101B46B7832B}" dt="2024-01-23T12:32:02.882" v="504" actId="1076"/>
          <ac:picMkLst>
            <pc:docMk/>
            <pc:sldMk cId="1118540174" sldId="872"/>
            <ac:picMk id="13" creationId="{64C063CB-5F33-4B77-965C-B90C6AE27B39}"/>
          </ac:picMkLst>
        </pc:picChg>
        <pc:picChg chg="mod">
          <ac:chgData name="Koksrud Andreas" userId="9d9beba6-c052-407a-8599-c781a677a996" providerId="ADAL" clId="{4C03B8BE-ED6C-47DA-A194-101B46B7832B}" dt="2024-01-23T12:32:02.882" v="504" actId="1076"/>
          <ac:picMkLst>
            <pc:docMk/>
            <pc:sldMk cId="1118540174" sldId="872"/>
            <ac:picMk id="19" creationId="{16102E3D-30A8-E8EE-D800-B326185287B8}"/>
          </ac:picMkLst>
        </pc:picChg>
        <pc:cxnChg chg="mod">
          <ac:chgData name="Koksrud Andreas" userId="9d9beba6-c052-407a-8599-c781a677a996" providerId="ADAL" clId="{4C03B8BE-ED6C-47DA-A194-101B46B7832B}" dt="2024-01-23T12:32:02.882" v="504" actId="1076"/>
          <ac:cxnSpMkLst>
            <pc:docMk/>
            <pc:sldMk cId="1118540174" sldId="872"/>
            <ac:cxnSpMk id="14" creationId="{EBD79003-BA5F-9EC4-AB1E-B169474A75BA}"/>
          </ac:cxnSpMkLst>
        </pc:cxnChg>
        <pc:cxnChg chg="mod">
          <ac:chgData name="Koksrud Andreas" userId="9d9beba6-c052-407a-8599-c781a677a996" providerId="ADAL" clId="{4C03B8BE-ED6C-47DA-A194-101B46B7832B}" dt="2024-01-23T12:32:02.882" v="504" actId="1076"/>
          <ac:cxnSpMkLst>
            <pc:docMk/>
            <pc:sldMk cId="1118540174" sldId="872"/>
            <ac:cxnSpMk id="22" creationId="{21009E25-D8DE-E975-55FA-12227386461E}"/>
          </ac:cxnSpMkLst>
        </pc:cxnChg>
      </pc:sldChg>
      <pc:sldChg chg="delSp modSp add mod ord">
        <pc:chgData name="Koksrud Andreas" userId="9d9beba6-c052-407a-8599-c781a677a996" providerId="ADAL" clId="{4C03B8BE-ED6C-47DA-A194-101B46B7832B}" dt="2024-01-23T12:31:15.808" v="436" actId="20577"/>
        <pc:sldMkLst>
          <pc:docMk/>
          <pc:sldMk cId="2716145312" sldId="873"/>
        </pc:sldMkLst>
        <pc:spChg chg="mod">
          <ac:chgData name="Koksrud Andreas" userId="9d9beba6-c052-407a-8599-c781a677a996" providerId="ADAL" clId="{4C03B8BE-ED6C-47DA-A194-101B46B7832B}" dt="2024-01-23T12:31:15.808" v="436" actId="20577"/>
          <ac:spMkLst>
            <pc:docMk/>
            <pc:sldMk cId="2716145312" sldId="873"/>
            <ac:spMk id="2" creationId="{9796E8C1-5924-9DB3-B51B-75296717F89F}"/>
          </ac:spMkLst>
        </pc:spChg>
        <pc:picChg chg="del">
          <ac:chgData name="Koksrud Andreas" userId="9d9beba6-c052-407a-8599-c781a677a996" providerId="ADAL" clId="{4C03B8BE-ED6C-47DA-A194-101B46B7832B}" dt="2024-01-23T12:30:08.519" v="264" actId="478"/>
          <ac:picMkLst>
            <pc:docMk/>
            <pc:sldMk cId="2716145312" sldId="873"/>
            <ac:picMk id="9" creationId="{C3019131-6227-C544-E712-F688CDF664B9}"/>
          </ac:picMkLst>
        </pc:picChg>
        <pc:picChg chg="del">
          <ac:chgData name="Koksrud Andreas" userId="9d9beba6-c052-407a-8599-c781a677a996" providerId="ADAL" clId="{4C03B8BE-ED6C-47DA-A194-101B46B7832B}" dt="2024-01-23T12:30:07.896" v="263" actId="478"/>
          <ac:picMkLst>
            <pc:docMk/>
            <pc:sldMk cId="2716145312" sldId="873"/>
            <ac:picMk id="12" creationId="{DEE12C32-E793-5A48-C960-3987827D3176}"/>
          </ac:picMkLst>
        </pc:picChg>
        <pc:picChg chg="del">
          <ac:chgData name="Koksrud Andreas" userId="9d9beba6-c052-407a-8599-c781a677a996" providerId="ADAL" clId="{4C03B8BE-ED6C-47DA-A194-101B46B7832B}" dt="2024-01-23T12:30:09.109" v="265" actId="478"/>
          <ac:picMkLst>
            <pc:docMk/>
            <pc:sldMk cId="2716145312" sldId="873"/>
            <ac:picMk id="15" creationId="{DD1F7884-9A7C-5891-012A-EE057168166C}"/>
          </ac:picMkLst>
        </pc:picChg>
      </pc:sldChg>
      <pc:sldChg chg="add del">
        <pc:chgData name="Koksrud Andreas" userId="9d9beba6-c052-407a-8599-c781a677a996" providerId="ADAL" clId="{4C03B8BE-ED6C-47DA-A194-101B46B7832B}" dt="2024-01-23T12:30:24.389" v="269"/>
        <pc:sldMkLst>
          <pc:docMk/>
          <pc:sldMk cId="2752198801" sldId="874"/>
        </pc:sldMkLst>
      </pc:sldChg>
      <pc:sldChg chg="addSp delSp modSp add mod">
        <pc:chgData name="Koksrud Andreas" userId="9d9beba6-c052-407a-8599-c781a677a996" providerId="ADAL" clId="{4C03B8BE-ED6C-47DA-A194-101B46B7832B}" dt="2024-02-01T19:15:48.027" v="6435" actId="20577"/>
        <pc:sldMkLst>
          <pc:docMk/>
          <pc:sldMk cId="3240008992" sldId="874"/>
        </pc:sldMkLst>
        <pc:spChg chg="add mod">
          <ac:chgData name="Koksrud Andreas" userId="9d9beba6-c052-407a-8599-c781a677a996" providerId="ADAL" clId="{4C03B8BE-ED6C-47DA-A194-101B46B7832B}" dt="2024-01-31T20:33:25.159" v="5370" actId="1038"/>
          <ac:spMkLst>
            <pc:docMk/>
            <pc:sldMk cId="3240008992" sldId="874"/>
            <ac:spMk id="2" creationId="{8D0A2D7E-A45D-7F55-64BC-5169991AD9FF}"/>
          </ac:spMkLst>
        </pc:spChg>
        <pc:spChg chg="del mod">
          <ac:chgData name="Koksrud Andreas" userId="9d9beba6-c052-407a-8599-c781a677a996" providerId="ADAL" clId="{4C03B8BE-ED6C-47DA-A194-101B46B7832B}" dt="2024-01-23T12:53:36.506" v="713" actId="478"/>
          <ac:spMkLst>
            <pc:docMk/>
            <pc:sldMk cId="3240008992" sldId="874"/>
            <ac:spMk id="4" creationId="{FEFDFE44-611E-8625-FC2E-FCBBCCD3961B}"/>
          </ac:spMkLst>
        </pc:spChg>
        <pc:spChg chg="add del mod">
          <ac:chgData name="Koksrud Andreas" userId="9d9beba6-c052-407a-8599-c781a677a996" providerId="ADAL" clId="{4C03B8BE-ED6C-47DA-A194-101B46B7832B}" dt="2024-01-31T20:34:56.018" v="5378" actId="478"/>
          <ac:spMkLst>
            <pc:docMk/>
            <pc:sldMk cId="3240008992" sldId="874"/>
            <ac:spMk id="5" creationId="{8DF3DB0A-023B-FFAE-FC69-B6BBA8BCF1B6}"/>
          </ac:spMkLst>
        </pc:spChg>
        <pc:spChg chg="mod">
          <ac:chgData name="Koksrud Andreas" userId="9d9beba6-c052-407a-8599-c781a677a996" providerId="ADAL" clId="{4C03B8BE-ED6C-47DA-A194-101B46B7832B}" dt="2024-01-23T12:53:52.751" v="745" actId="6549"/>
          <ac:spMkLst>
            <pc:docMk/>
            <pc:sldMk cId="3240008992" sldId="874"/>
            <ac:spMk id="6" creationId="{D33A7F7C-0CFF-12D8-D3F9-55EA11817DA1}"/>
          </ac:spMkLst>
        </pc:spChg>
        <pc:spChg chg="add mod">
          <ac:chgData name="Koksrud Andreas" userId="9d9beba6-c052-407a-8599-c781a677a996" providerId="ADAL" clId="{4C03B8BE-ED6C-47DA-A194-101B46B7832B}" dt="2024-02-01T19:15:48.027" v="6435" actId="20577"/>
          <ac:spMkLst>
            <pc:docMk/>
            <pc:sldMk cId="3240008992" sldId="874"/>
            <ac:spMk id="7" creationId="{3E2A9D77-722A-7DF2-641F-63C31ADA7283}"/>
          </ac:spMkLst>
        </pc:spChg>
        <pc:spChg chg="add mod">
          <ac:chgData name="Koksrud Andreas" userId="9d9beba6-c052-407a-8599-c781a677a996" providerId="ADAL" clId="{4C03B8BE-ED6C-47DA-A194-101B46B7832B}" dt="2024-01-29T08:05:10.336" v="2656" actId="14100"/>
          <ac:spMkLst>
            <pc:docMk/>
            <pc:sldMk cId="3240008992" sldId="874"/>
            <ac:spMk id="20" creationId="{EBA460F1-79A3-E8FA-8EEE-CE28CA6EBCC2}"/>
          </ac:spMkLst>
        </pc:spChg>
        <pc:picChg chg="add mod">
          <ac:chgData name="Koksrud Andreas" userId="9d9beba6-c052-407a-8599-c781a677a996" providerId="ADAL" clId="{4C03B8BE-ED6C-47DA-A194-101B46B7832B}" dt="2024-01-23T12:54:27.507" v="749" actId="1076"/>
          <ac:picMkLst>
            <pc:docMk/>
            <pc:sldMk cId="3240008992" sldId="874"/>
            <ac:picMk id="3" creationId="{464C77B1-57DA-B3A2-90F0-9BD177989E1A}"/>
          </ac:picMkLst>
        </pc:picChg>
        <pc:picChg chg="add del mod">
          <ac:chgData name="Koksrud Andreas" userId="9d9beba6-c052-407a-8599-c781a677a996" providerId="ADAL" clId="{4C03B8BE-ED6C-47DA-A194-101B46B7832B}" dt="2024-01-23T13:05:30.453" v="761" actId="478"/>
          <ac:picMkLst>
            <pc:docMk/>
            <pc:sldMk cId="3240008992" sldId="874"/>
            <ac:picMk id="9" creationId="{038121DE-EBBB-DCB4-B2DE-E08005A299E4}"/>
          </ac:picMkLst>
        </pc:picChg>
        <pc:picChg chg="del">
          <ac:chgData name="Koksrud Andreas" userId="9d9beba6-c052-407a-8599-c781a677a996" providerId="ADAL" clId="{4C03B8BE-ED6C-47DA-A194-101B46B7832B}" dt="2024-01-23T12:53:33.805" v="710" actId="478"/>
          <ac:picMkLst>
            <pc:docMk/>
            <pc:sldMk cId="3240008992" sldId="874"/>
            <ac:picMk id="10" creationId="{34DA4BD7-43C8-285E-A933-AFFCFCCD0C8D}"/>
          </ac:picMkLst>
        </pc:picChg>
        <pc:picChg chg="del">
          <ac:chgData name="Koksrud Andreas" userId="9d9beba6-c052-407a-8599-c781a677a996" providerId="ADAL" clId="{4C03B8BE-ED6C-47DA-A194-101B46B7832B}" dt="2024-01-23T12:53:34.342" v="711" actId="478"/>
          <ac:picMkLst>
            <pc:docMk/>
            <pc:sldMk cId="3240008992" sldId="874"/>
            <ac:picMk id="12" creationId="{82C26A6F-F9E2-CFED-E2BC-87AC1923226C}"/>
          </ac:picMkLst>
        </pc:picChg>
        <pc:picChg chg="add mod">
          <ac:chgData name="Koksrud Andreas" userId="9d9beba6-c052-407a-8599-c781a677a996" providerId="ADAL" clId="{4C03B8BE-ED6C-47DA-A194-101B46B7832B}" dt="2024-01-23T13:05:33.056" v="763" actId="1076"/>
          <ac:picMkLst>
            <pc:docMk/>
            <pc:sldMk cId="3240008992" sldId="874"/>
            <ac:picMk id="13" creationId="{A391CAD2-13C6-0DF9-61B2-EB6C186128C8}"/>
          </ac:picMkLst>
        </pc:picChg>
        <pc:picChg chg="del">
          <ac:chgData name="Koksrud Andreas" userId="9d9beba6-c052-407a-8599-c781a677a996" providerId="ADAL" clId="{4C03B8BE-ED6C-47DA-A194-101B46B7832B}" dt="2024-01-23T12:53:56.260" v="746" actId="478"/>
          <ac:picMkLst>
            <pc:docMk/>
            <pc:sldMk cId="3240008992" sldId="874"/>
            <ac:picMk id="14" creationId="{CD2EAEF4-7CED-79FD-7BDE-3E6B250D91FB}"/>
          </ac:picMkLst>
        </pc:picChg>
        <pc:picChg chg="del">
          <ac:chgData name="Koksrud Andreas" userId="9d9beba6-c052-407a-8599-c781a677a996" providerId="ADAL" clId="{4C03B8BE-ED6C-47DA-A194-101B46B7832B}" dt="2024-01-23T12:53:57.035" v="747" actId="478"/>
          <ac:picMkLst>
            <pc:docMk/>
            <pc:sldMk cId="3240008992" sldId="874"/>
            <ac:picMk id="18" creationId="{9E91CC1E-2113-0C28-D2B5-695D6996BC5A}"/>
          </ac:picMkLst>
        </pc:picChg>
        <pc:cxnChg chg="add mod">
          <ac:chgData name="Koksrud Andreas" userId="9d9beba6-c052-407a-8599-c781a677a996" providerId="ADAL" clId="{4C03B8BE-ED6C-47DA-A194-101B46B7832B}" dt="2024-01-23T13:06:51.167" v="846" actId="14100"/>
          <ac:cxnSpMkLst>
            <pc:docMk/>
            <pc:sldMk cId="3240008992" sldId="874"/>
            <ac:cxnSpMk id="15" creationId="{95E809D4-907B-DDAA-B441-48BBD6C78CE4}"/>
          </ac:cxnSpMkLst>
        </pc:cxnChg>
      </pc:sldChg>
      <pc:sldChg chg="addSp delSp modSp add mod">
        <pc:chgData name="Koksrud Andreas" userId="9d9beba6-c052-407a-8599-c781a677a996" providerId="ADAL" clId="{4C03B8BE-ED6C-47DA-A194-101B46B7832B}" dt="2024-01-31T20:37:14.543" v="5390" actId="13822"/>
        <pc:sldMkLst>
          <pc:docMk/>
          <pc:sldMk cId="3825753762" sldId="875"/>
        </pc:sldMkLst>
        <pc:spChg chg="mod">
          <ac:chgData name="Koksrud Andreas" userId="9d9beba6-c052-407a-8599-c781a677a996" providerId="ADAL" clId="{4C03B8BE-ED6C-47DA-A194-101B46B7832B}" dt="2024-01-23T13:50:47.211" v="973" actId="1076"/>
          <ac:spMkLst>
            <pc:docMk/>
            <pc:sldMk cId="3825753762" sldId="875"/>
            <ac:spMk id="2" creationId="{0C578A6C-5215-9DFE-51D6-8AA7A3E4A34A}"/>
          </ac:spMkLst>
        </pc:spChg>
        <pc:spChg chg="add mod">
          <ac:chgData name="Koksrud Andreas" userId="9d9beba6-c052-407a-8599-c781a677a996" providerId="ADAL" clId="{4C03B8BE-ED6C-47DA-A194-101B46B7832B}" dt="2024-01-31T20:36:07.780" v="5385" actId="1076"/>
          <ac:spMkLst>
            <pc:docMk/>
            <pc:sldMk cId="3825753762" sldId="875"/>
            <ac:spMk id="3" creationId="{13148106-895F-5AD9-9189-62DB848A69CD}"/>
          </ac:spMkLst>
        </pc:spChg>
        <pc:spChg chg="add mod">
          <ac:chgData name="Koksrud Andreas" userId="9d9beba6-c052-407a-8599-c781a677a996" providerId="ADAL" clId="{4C03B8BE-ED6C-47DA-A194-101B46B7832B}" dt="2024-01-31T20:36:00.986" v="5383" actId="1076"/>
          <ac:spMkLst>
            <pc:docMk/>
            <pc:sldMk cId="3825753762" sldId="875"/>
            <ac:spMk id="5" creationId="{2F071062-D460-0FA3-75FF-629F2BD35023}"/>
          </ac:spMkLst>
        </pc:spChg>
        <pc:spChg chg="del">
          <ac:chgData name="Koksrud Andreas" userId="9d9beba6-c052-407a-8599-c781a677a996" providerId="ADAL" clId="{4C03B8BE-ED6C-47DA-A194-101B46B7832B}" dt="2024-01-23T13:50:39.842" v="971" actId="478"/>
          <ac:spMkLst>
            <pc:docMk/>
            <pc:sldMk cId="3825753762" sldId="875"/>
            <ac:spMk id="14" creationId="{C85A9E99-AA4E-C194-FF2A-6C5AC5C1CF94}"/>
          </ac:spMkLst>
        </pc:spChg>
        <pc:picChg chg="del">
          <ac:chgData name="Koksrud Andreas" userId="9d9beba6-c052-407a-8599-c781a677a996" providerId="ADAL" clId="{4C03B8BE-ED6C-47DA-A194-101B46B7832B}" dt="2024-01-23T13:50:40.435" v="972" actId="478"/>
          <ac:picMkLst>
            <pc:docMk/>
            <pc:sldMk cId="3825753762" sldId="875"/>
            <ac:picMk id="4" creationId="{776FF432-3812-8AE6-C259-0DD1DB35CB36}"/>
          </ac:picMkLst>
        </pc:picChg>
        <pc:picChg chg="mod">
          <ac:chgData name="Koksrud Andreas" userId="9d9beba6-c052-407a-8599-c781a677a996" providerId="ADAL" clId="{4C03B8BE-ED6C-47DA-A194-101B46B7832B}" dt="2024-01-23T13:50:47.211" v="973" actId="1076"/>
          <ac:picMkLst>
            <pc:docMk/>
            <pc:sldMk cId="3825753762" sldId="875"/>
            <ac:picMk id="6" creationId="{60B7BE4B-C380-F509-39B9-63F66FEDB884}"/>
          </ac:picMkLst>
        </pc:picChg>
        <pc:picChg chg="add mod">
          <ac:chgData name="Koksrud Andreas" userId="9d9beba6-c052-407a-8599-c781a677a996" providerId="ADAL" clId="{4C03B8BE-ED6C-47DA-A194-101B46B7832B}" dt="2024-01-31T20:36:52.056" v="5388" actId="1076"/>
          <ac:picMkLst>
            <pc:docMk/>
            <pc:sldMk cId="3825753762" sldId="875"/>
            <ac:picMk id="7" creationId="{BCAD6897-386A-5BD6-AABB-CE34F342BBB7}"/>
          </ac:picMkLst>
        </pc:picChg>
        <pc:picChg chg="del mod modCrop">
          <ac:chgData name="Koksrud Andreas" userId="9d9beba6-c052-407a-8599-c781a677a996" providerId="ADAL" clId="{4C03B8BE-ED6C-47DA-A194-101B46B7832B}" dt="2024-01-31T20:36:46.354" v="5386" actId="478"/>
          <ac:picMkLst>
            <pc:docMk/>
            <pc:sldMk cId="3825753762" sldId="875"/>
            <ac:picMk id="8" creationId="{999F2FC3-B287-DD9D-4558-AD353587E044}"/>
          </ac:picMkLst>
        </pc:picChg>
        <pc:picChg chg="mod">
          <ac:chgData name="Koksrud Andreas" userId="9d9beba6-c052-407a-8599-c781a677a996" providerId="ADAL" clId="{4C03B8BE-ED6C-47DA-A194-101B46B7832B}" dt="2024-01-31T20:31:23.922" v="5309" actId="14826"/>
          <ac:picMkLst>
            <pc:docMk/>
            <pc:sldMk cId="3825753762" sldId="875"/>
            <ac:picMk id="10" creationId="{58879FEC-2172-0E32-F467-93CE73CE793A}"/>
          </ac:picMkLst>
        </pc:picChg>
        <pc:cxnChg chg="add mod">
          <ac:chgData name="Koksrud Andreas" userId="9d9beba6-c052-407a-8599-c781a677a996" providerId="ADAL" clId="{4C03B8BE-ED6C-47DA-A194-101B46B7832B}" dt="2024-01-31T20:37:14.543" v="5390" actId="13822"/>
          <ac:cxnSpMkLst>
            <pc:docMk/>
            <pc:sldMk cId="3825753762" sldId="875"/>
            <ac:cxnSpMk id="11" creationId="{1289D01B-409D-60E0-C319-E29D9069E7DD}"/>
          </ac:cxnSpMkLst>
        </pc:cxnChg>
      </pc:sldChg>
      <pc:sldChg chg="addSp delSp modSp add mod">
        <pc:chgData name="Koksrud Andreas" userId="9d9beba6-c052-407a-8599-c781a677a996" providerId="ADAL" clId="{4C03B8BE-ED6C-47DA-A194-101B46B7832B}" dt="2024-01-31T20:44:15.043" v="5456" actId="14100"/>
        <pc:sldMkLst>
          <pc:docMk/>
          <pc:sldMk cId="1529294142" sldId="876"/>
        </pc:sldMkLst>
        <pc:spChg chg="add del mod">
          <ac:chgData name="Koksrud Andreas" userId="9d9beba6-c052-407a-8599-c781a677a996" providerId="ADAL" clId="{4C03B8BE-ED6C-47DA-A194-101B46B7832B}" dt="2024-01-25T18:10:52.388" v="1945" actId="478"/>
          <ac:spMkLst>
            <pc:docMk/>
            <pc:sldMk cId="1529294142" sldId="876"/>
            <ac:spMk id="2" creationId="{54714381-9640-B152-2793-0CBAE8C8E8E4}"/>
          </ac:spMkLst>
        </pc:spChg>
        <pc:spChg chg="add mod">
          <ac:chgData name="Koksrud Andreas" userId="9d9beba6-c052-407a-8599-c781a677a996" providerId="ADAL" clId="{4C03B8BE-ED6C-47DA-A194-101B46B7832B}" dt="2024-01-31T20:38:46.502" v="5445" actId="1038"/>
          <ac:spMkLst>
            <pc:docMk/>
            <pc:sldMk cId="1529294142" sldId="876"/>
            <ac:spMk id="2" creationId="{E98599A8-897C-C9C3-AAA0-B3E4A79352FF}"/>
          </ac:spMkLst>
        </pc:spChg>
        <pc:spChg chg="add del mod">
          <ac:chgData name="Koksrud Andreas" userId="9d9beba6-c052-407a-8599-c781a677a996" providerId="ADAL" clId="{4C03B8BE-ED6C-47DA-A194-101B46B7832B}" dt="2024-01-25T18:11:20.302" v="1951" actId="478"/>
          <ac:spMkLst>
            <pc:docMk/>
            <pc:sldMk cId="1529294142" sldId="876"/>
            <ac:spMk id="4" creationId="{6E895E74-D8D0-8DDB-A35F-E4879A2B3227}"/>
          </ac:spMkLst>
        </pc:spChg>
        <pc:spChg chg="add mod">
          <ac:chgData name="Koksrud Andreas" userId="9d9beba6-c052-407a-8599-c781a677a996" providerId="ADAL" clId="{4C03B8BE-ED6C-47DA-A194-101B46B7832B}" dt="2024-01-31T20:43:09.399" v="5450"/>
          <ac:spMkLst>
            <pc:docMk/>
            <pc:sldMk cId="1529294142" sldId="876"/>
            <ac:spMk id="6" creationId="{55597BA9-F880-8C12-0743-955498FF36CE}"/>
          </ac:spMkLst>
        </pc:spChg>
        <pc:spChg chg="add mod">
          <ac:chgData name="Koksrud Andreas" userId="9d9beba6-c052-407a-8599-c781a677a996" providerId="ADAL" clId="{4C03B8BE-ED6C-47DA-A194-101B46B7832B}" dt="2024-01-25T18:12:02.287" v="1961" actId="1076"/>
          <ac:spMkLst>
            <pc:docMk/>
            <pc:sldMk cId="1529294142" sldId="876"/>
            <ac:spMk id="8" creationId="{3EB2F6F0-34E3-2C5E-297D-262378C6DEFA}"/>
          </ac:spMkLst>
        </pc:spChg>
        <pc:spChg chg="mod">
          <ac:chgData name="Koksrud Andreas" userId="9d9beba6-c052-407a-8599-c781a677a996" providerId="ADAL" clId="{4C03B8BE-ED6C-47DA-A194-101B46B7832B}" dt="2024-01-25T18:02:47.324" v="1793" actId="1076"/>
          <ac:spMkLst>
            <pc:docMk/>
            <pc:sldMk cId="1529294142" sldId="876"/>
            <ac:spMk id="14" creationId="{C85A9E99-AA4E-C194-FF2A-6C5AC5C1CF94}"/>
          </ac:spMkLst>
        </pc:spChg>
        <pc:spChg chg="add mod">
          <ac:chgData name="Koksrud Andreas" userId="9d9beba6-c052-407a-8599-c781a677a996" providerId="ADAL" clId="{4C03B8BE-ED6C-47DA-A194-101B46B7832B}" dt="2024-01-25T18:12:39.361" v="1981" actId="1076"/>
          <ac:spMkLst>
            <pc:docMk/>
            <pc:sldMk cId="1529294142" sldId="876"/>
            <ac:spMk id="26" creationId="{86874366-768F-7C6F-E843-CD9031BBB011}"/>
          </ac:spMkLst>
        </pc:spChg>
        <pc:spChg chg="mod">
          <ac:chgData name="Koksrud Andreas" userId="9d9beba6-c052-407a-8599-c781a677a996" providerId="ADAL" clId="{4C03B8BE-ED6C-47DA-A194-101B46B7832B}" dt="2024-01-31T20:38:22.664" v="5424" actId="1036"/>
          <ac:spMkLst>
            <pc:docMk/>
            <pc:sldMk cId="1529294142" sldId="876"/>
            <ac:spMk id="180" creationId="{00000000-0000-0000-0000-000000000000}"/>
          </ac:spMkLst>
        </pc:spChg>
        <pc:picChg chg="add mod">
          <ac:chgData name="Koksrud Andreas" userId="9d9beba6-c052-407a-8599-c781a677a996" providerId="ADAL" clId="{4C03B8BE-ED6C-47DA-A194-101B46B7832B}" dt="2024-01-23T15:58:41.975" v="1384" actId="1037"/>
          <ac:picMkLst>
            <pc:docMk/>
            <pc:sldMk cId="1529294142" sldId="876"/>
            <ac:picMk id="3" creationId="{488E3890-E954-5B1D-D8FB-76AE055CCE6C}"/>
          </ac:picMkLst>
        </pc:picChg>
        <pc:picChg chg="add mod modCrop">
          <ac:chgData name="Koksrud Andreas" userId="9d9beba6-c052-407a-8599-c781a677a996" providerId="ADAL" clId="{4C03B8BE-ED6C-47DA-A194-101B46B7832B}" dt="2024-01-31T20:44:06.081" v="5455" actId="1076"/>
          <ac:picMkLst>
            <pc:docMk/>
            <pc:sldMk cId="1529294142" sldId="876"/>
            <ac:picMk id="5" creationId="{29D85E9D-FD6E-9116-AC05-D98B2CAA13E7}"/>
          </ac:picMkLst>
        </pc:picChg>
        <pc:picChg chg="del">
          <ac:chgData name="Koksrud Andreas" userId="9d9beba6-c052-407a-8599-c781a677a996" providerId="ADAL" clId="{4C03B8BE-ED6C-47DA-A194-101B46B7832B}" dt="2024-01-23T15:57:42.181" v="1301" actId="478"/>
          <ac:picMkLst>
            <pc:docMk/>
            <pc:sldMk cId="1529294142" sldId="876"/>
            <ac:picMk id="5" creationId="{42795A0C-1A69-F226-DBD1-C38DF280A14B}"/>
          </ac:picMkLst>
        </pc:picChg>
        <pc:picChg chg="del">
          <ac:chgData name="Koksrud Andreas" userId="9d9beba6-c052-407a-8599-c781a677a996" providerId="ADAL" clId="{4C03B8BE-ED6C-47DA-A194-101B46B7832B}" dt="2024-01-23T15:57:39.577" v="1300" actId="478"/>
          <ac:picMkLst>
            <pc:docMk/>
            <pc:sldMk cId="1529294142" sldId="876"/>
            <ac:picMk id="7" creationId="{820E6AE5-0022-7907-4F55-CCCDD127F1CB}"/>
          </ac:picMkLst>
        </pc:picChg>
        <pc:picChg chg="add mod modCrop">
          <ac:chgData name="Koksrud Andreas" userId="9d9beba6-c052-407a-8599-c781a677a996" providerId="ADAL" clId="{4C03B8BE-ED6C-47DA-A194-101B46B7832B}" dt="2024-01-31T20:44:15.043" v="5456" actId="14100"/>
          <ac:picMkLst>
            <pc:docMk/>
            <pc:sldMk cId="1529294142" sldId="876"/>
            <ac:picMk id="23" creationId="{77F5BDEC-65C3-095E-675F-BD759BF840CA}"/>
          </ac:picMkLst>
        </pc:picChg>
        <pc:picChg chg="add del mod">
          <ac:chgData name="Koksrud Andreas" userId="9d9beba6-c052-407a-8599-c781a677a996" providerId="ADAL" clId="{4C03B8BE-ED6C-47DA-A194-101B46B7832B}" dt="2024-01-31T20:43:25.043" v="5451" actId="478"/>
          <ac:picMkLst>
            <pc:docMk/>
            <pc:sldMk cId="1529294142" sldId="876"/>
            <ac:picMk id="25" creationId="{A4DD5ABB-AB9A-6571-01E9-5CBD9C8A2844}"/>
          </ac:picMkLst>
        </pc:picChg>
        <pc:cxnChg chg="add mod">
          <ac:chgData name="Koksrud Andreas" userId="9d9beba6-c052-407a-8599-c781a677a996" providerId="ADAL" clId="{4C03B8BE-ED6C-47DA-A194-101B46B7832B}" dt="2024-01-25T18:03:28.359" v="1799" actId="13822"/>
          <ac:cxnSpMkLst>
            <pc:docMk/>
            <pc:sldMk cId="1529294142" sldId="876"/>
            <ac:cxnSpMk id="7" creationId="{C28A21B9-E695-3093-9CDF-081B0F28663D}"/>
          </ac:cxnSpMkLst>
        </pc:cxnChg>
        <pc:cxnChg chg="add mod">
          <ac:chgData name="Koksrud Andreas" userId="9d9beba6-c052-407a-8599-c781a677a996" providerId="ADAL" clId="{4C03B8BE-ED6C-47DA-A194-101B46B7832B}" dt="2024-01-25T18:03:28.359" v="1799" actId="13822"/>
          <ac:cxnSpMkLst>
            <pc:docMk/>
            <pc:sldMk cId="1529294142" sldId="876"/>
            <ac:cxnSpMk id="9" creationId="{0972129A-F89E-240B-4981-8A90E0E589B2}"/>
          </ac:cxnSpMkLst>
        </pc:cxnChg>
        <pc:cxnChg chg="add del mod">
          <ac:chgData name="Koksrud Andreas" userId="9d9beba6-c052-407a-8599-c781a677a996" providerId="ADAL" clId="{4C03B8BE-ED6C-47DA-A194-101B46B7832B}" dt="2024-01-25T18:02:31.946" v="1788" actId="478"/>
          <ac:cxnSpMkLst>
            <pc:docMk/>
            <pc:sldMk cId="1529294142" sldId="876"/>
            <ac:cxnSpMk id="11" creationId="{C9880CB1-791B-9129-B89C-28CDB09C9520}"/>
          </ac:cxnSpMkLst>
        </pc:cxnChg>
        <pc:cxnChg chg="add del">
          <ac:chgData name="Koksrud Andreas" userId="9d9beba6-c052-407a-8599-c781a677a996" providerId="ADAL" clId="{4C03B8BE-ED6C-47DA-A194-101B46B7832B}" dt="2024-01-25T18:02:15.107" v="1787" actId="478"/>
          <ac:cxnSpMkLst>
            <pc:docMk/>
            <pc:sldMk cId="1529294142" sldId="876"/>
            <ac:cxnSpMk id="16" creationId="{DCF6FCAA-4AC7-F168-5403-55236EA17907}"/>
          </ac:cxnSpMkLst>
        </pc:cxnChg>
        <pc:cxnChg chg="add mod">
          <ac:chgData name="Koksrud Andreas" userId="9d9beba6-c052-407a-8599-c781a677a996" providerId="ADAL" clId="{4C03B8BE-ED6C-47DA-A194-101B46B7832B}" dt="2024-01-25T18:10:52.388" v="1945" actId="478"/>
          <ac:cxnSpMkLst>
            <pc:docMk/>
            <pc:sldMk cId="1529294142" sldId="876"/>
            <ac:cxnSpMk id="18" creationId="{208D48BA-33E0-EB87-664E-1DCE7D9C638A}"/>
          </ac:cxnSpMkLst>
        </pc:cxnChg>
        <pc:cxnChg chg="add mod">
          <ac:chgData name="Koksrud Andreas" userId="9d9beba6-c052-407a-8599-c781a677a996" providerId="ADAL" clId="{4C03B8BE-ED6C-47DA-A194-101B46B7832B}" dt="2024-01-25T18:11:20.302" v="1951" actId="478"/>
          <ac:cxnSpMkLst>
            <pc:docMk/>
            <pc:sldMk cId="1529294142" sldId="876"/>
            <ac:cxnSpMk id="19" creationId="{0DE1DE4B-6C39-E0DE-2F8D-16667BFF89CA}"/>
          </ac:cxnSpMkLst>
        </pc:cxnChg>
        <pc:cxnChg chg="add mod">
          <ac:chgData name="Koksrud Andreas" userId="9d9beba6-c052-407a-8599-c781a677a996" providerId="ADAL" clId="{4C03B8BE-ED6C-47DA-A194-101B46B7832B}" dt="2024-01-25T18:12:44.033" v="1982" actId="14100"/>
          <ac:cxnSpMkLst>
            <pc:docMk/>
            <pc:sldMk cId="1529294142" sldId="876"/>
            <ac:cxnSpMk id="27" creationId="{50D06AD4-0BA8-6484-944C-6E6170142AD0}"/>
          </ac:cxnSpMkLst>
        </pc:cxnChg>
        <pc:cxnChg chg="add mod">
          <ac:chgData name="Koksrud Andreas" userId="9d9beba6-c052-407a-8599-c781a677a996" providerId="ADAL" clId="{4C03B8BE-ED6C-47DA-A194-101B46B7832B}" dt="2024-01-25T18:12:48.261" v="1983" actId="14100"/>
          <ac:cxnSpMkLst>
            <pc:docMk/>
            <pc:sldMk cId="1529294142" sldId="876"/>
            <ac:cxnSpMk id="28" creationId="{3F4AAF01-2A0E-91E0-D22C-BA116652C698}"/>
          </ac:cxnSpMkLst>
        </pc:cxnChg>
      </pc:sldChg>
      <pc:sldChg chg="addSp delSp modSp add mod">
        <pc:chgData name="Koksrud Andreas" userId="9d9beba6-c052-407a-8599-c781a677a996" providerId="ADAL" clId="{4C03B8BE-ED6C-47DA-A194-101B46B7832B}" dt="2024-02-02T09:21:42.323" v="6766" actId="20577"/>
        <pc:sldMkLst>
          <pc:docMk/>
          <pc:sldMk cId="1680702220" sldId="877"/>
        </pc:sldMkLst>
        <pc:spChg chg="add mod">
          <ac:chgData name="Koksrud Andreas" userId="9d9beba6-c052-407a-8599-c781a677a996" providerId="ADAL" clId="{4C03B8BE-ED6C-47DA-A194-101B46B7832B}" dt="2024-01-25T17:55:26.885" v="1648" actId="1076"/>
          <ac:spMkLst>
            <pc:docMk/>
            <pc:sldMk cId="1680702220" sldId="877"/>
            <ac:spMk id="2" creationId="{B612806B-A3AC-AEF4-EF19-346D70569EB3}"/>
          </ac:spMkLst>
        </pc:spChg>
        <pc:spChg chg="add del mod">
          <ac:chgData name="Koksrud Andreas" userId="9d9beba6-c052-407a-8599-c781a677a996" providerId="ADAL" clId="{4C03B8BE-ED6C-47DA-A194-101B46B7832B}" dt="2024-01-31T20:51:12.725" v="5538" actId="478"/>
          <ac:spMkLst>
            <pc:docMk/>
            <pc:sldMk cId="1680702220" sldId="877"/>
            <ac:spMk id="3" creationId="{893A044E-C76D-C2A3-3DFF-52271E4DC3DE}"/>
          </ac:spMkLst>
        </pc:spChg>
        <pc:spChg chg="add mod">
          <ac:chgData name="Koksrud Andreas" userId="9d9beba6-c052-407a-8599-c781a677a996" providerId="ADAL" clId="{4C03B8BE-ED6C-47DA-A194-101B46B7832B}" dt="2024-01-25T18:13:17.696" v="1989" actId="14100"/>
          <ac:spMkLst>
            <pc:docMk/>
            <pc:sldMk cId="1680702220" sldId="877"/>
            <ac:spMk id="5" creationId="{7E8A0263-1E2D-DA5B-E2AA-73716E94D8F3}"/>
          </ac:spMkLst>
        </pc:spChg>
        <pc:spChg chg="mod">
          <ac:chgData name="Koksrud Andreas" userId="9d9beba6-c052-407a-8599-c781a677a996" providerId="ADAL" clId="{4C03B8BE-ED6C-47DA-A194-101B46B7832B}" dt="2024-02-02T09:21:42.323" v="6766" actId="20577"/>
          <ac:spMkLst>
            <pc:docMk/>
            <pc:sldMk cId="1680702220" sldId="877"/>
            <ac:spMk id="6" creationId="{55597BA9-F880-8C12-0743-955498FF36CE}"/>
          </ac:spMkLst>
        </pc:spChg>
        <pc:spChg chg="add mod">
          <ac:chgData name="Koksrud Andreas" userId="9d9beba6-c052-407a-8599-c781a677a996" providerId="ADAL" clId="{4C03B8BE-ED6C-47DA-A194-101B46B7832B}" dt="2024-01-25T17:55:29.259" v="1649" actId="1076"/>
          <ac:spMkLst>
            <pc:docMk/>
            <pc:sldMk cId="1680702220" sldId="877"/>
            <ac:spMk id="7" creationId="{4E164838-A63C-913B-F9A1-A05329A4F4C2}"/>
          </ac:spMkLst>
        </pc:spChg>
        <pc:spChg chg="add mod">
          <ac:chgData name="Koksrud Andreas" userId="9d9beba6-c052-407a-8599-c781a677a996" providerId="ADAL" clId="{4C03B8BE-ED6C-47DA-A194-101B46B7832B}" dt="2024-01-31T20:45:14.339" v="5517" actId="20577"/>
          <ac:spMkLst>
            <pc:docMk/>
            <pc:sldMk cId="1680702220" sldId="877"/>
            <ac:spMk id="9" creationId="{FEE07C36-114B-D79C-FC21-9E5C80AE0D99}"/>
          </ac:spMkLst>
        </pc:spChg>
        <pc:spChg chg="mod">
          <ac:chgData name="Koksrud Andreas" userId="9d9beba6-c052-407a-8599-c781a677a996" providerId="ADAL" clId="{4C03B8BE-ED6C-47DA-A194-101B46B7832B}" dt="2024-01-31T20:45:19.232" v="5526" actId="20577"/>
          <ac:spMkLst>
            <pc:docMk/>
            <pc:sldMk cId="1680702220" sldId="877"/>
            <ac:spMk id="14" creationId="{C85A9E99-AA4E-C194-FF2A-6C5AC5C1CF94}"/>
          </ac:spMkLst>
        </pc:spChg>
        <pc:spChg chg="mod">
          <ac:chgData name="Koksrud Andreas" userId="9d9beba6-c052-407a-8599-c781a677a996" providerId="ADAL" clId="{4C03B8BE-ED6C-47DA-A194-101B46B7832B}" dt="2024-01-31T20:44:44.723" v="5484" actId="1036"/>
          <ac:spMkLst>
            <pc:docMk/>
            <pc:sldMk cId="1680702220" sldId="877"/>
            <ac:spMk id="180" creationId="{00000000-0000-0000-0000-000000000000}"/>
          </ac:spMkLst>
        </pc:spChg>
        <pc:picChg chg="del">
          <ac:chgData name="Koksrud Andreas" userId="9d9beba6-c052-407a-8599-c781a677a996" providerId="ADAL" clId="{4C03B8BE-ED6C-47DA-A194-101B46B7832B}" dt="2024-01-23T16:01:51.190" v="1474" actId="478"/>
          <ac:picMkLst>
            <pc:docMk/>
            <pc:sldMk cId="1680702220" sldId="877"/>
            <ac:picMk id="3" creationId="{488E3890-E954-5B1D-D8FB-76AE055CCE6C}"/>
          </ac:picMkLst>
        </pc:picChg>
        <pc:picChg chg="add del mod">
          <ac:chgData name="Koksrud Andreas" userId="9d9beba6-c052-407a-8599-c781a677a996" providerId="ADAL" clId="{4C03B8BE-ED6C-47DA-A194-101B46B7832B}" dt="2024-01-31T20:45:23.992" v="5527" actId="478"/>
          <ac:picMkLst>
            <pc:docMk/>
            <pc:sldMk cId="1680702220" sldId="877"/>
            <ac:picMk id="4" creationId="{641E2B12-94CA-F4C0-19F5-95A823EE9BD5}"/>
          </ac:picMkLst>
        </pc:picChg>
        <pc:picChg chg="add mod">
          <ac:chgData name="Koksrud Andreas" userId="9d9beba6-c052-407a-8599-c781a677a996" providerId="ADAL" clId="{4C03B8BE-ED6C-47DA-A194-101B46B7832B}" dt="2024-01-31T20:46:01.602" v="5529" actId="1076"/>
          <ac:picMkLst>
            <pc:docMk/>
            <pc:sldMk cId="1680702220" sldId="877"/>
            <ac:picMk id="12" creationId="{F1AC251C-557C-D832-DFA9-E8103E9A01D7}"/>
          </ac:picMkLst>
        </pc:picChg>
        <pc:cxnChg chg="add mod">
          <ac:chgData name="Koksrud Andreas" userId="9d9beba6-c052-407a-8599-c781a677a996" providerId="ADAL" clId="{4C03B8BE-ED6C-47DA-A194-101B46B7832B}" dt="2024-01-25T18:05:19.778" v="1818" actId="14100"/>
          <ac:cxnSpMkLst>
            <pc:docMk/>
            <pc:sldMk cId="1680702220" sldId="877"/>
            <ac:cxnSpMk id="8" creationId="{64834A8B-2319-F8F6-5F4A-96099DF91E34}"/>
          </ac:cxnSpMkLst>
        </pc:cxnChg>
        <pc:cxnChg chg="add mod">
          <ac:chgData name="Koksrud Andreas" userId="9d9beba6-c052-407a-8599-c781a677a996" providerId="ADAL" clId="{4C03B8BE-ED6C-47DA-A194-101B46B7832B}" dt="2024-01-31T20:50:47.360" v="5533" actId="14100"/>
          <ac:cxnSpMkLst>
            <pc:docMk/>
            <pc:sldMk cId="1680702220" sldId="877"/>
            <ac:cxnSpMk id="11" creationId="{1A045A43-07E6-63E5-AF30-B210203136AD}"/>
          </ac:cxnSpMkLst>
        </pc:cxnChg>
        <pc:cxnChg chg="add mod">
          <ac:chgData name="Koksrud Andreas" userId="9d9beba6-c052-407a-8599-c781a677a996" providerId="ADAL" clId="{4C03B8BE-ED6C-47DA-A194-101B46B7832B}" dt="2024-01-31T20:50:58.840" v="5534" actId="14100"/>
          <ac:cxnSpMkLst>
            <pc:docMk/>
            <pc:sldMk cId="1680702220" sldId="877"/>
            <ac:cxnSpMk id="15" creationId="{EDCF3D11-F185-807E-BBED-AD6E4F75A023}"/>
          </ac:cxnSpMkLst>
        </pc:cxnChg>
        <pc:cxnChg chg="add mod">
          <ac:chgData name="Koksrud Andreas" userId="9d9beba6-c052-407a-8599-c781a677a996" providerId="ADAL" clId="{4C03B8BE-ED6C-47DA-A194-101B46B7832B}" dt="2024-01-31T20:51:04.587" v="5535" actId="14100"/>
          <ac:cxnSpMkLst>
            <pc:docMk/>
            <pc:sldMk cId="1680702220" sldId="877"/>
            <ac:cxnSpMk id="18" creationId="{580B6AD3-FE9E-F019-DB0C-C6EC510BF306}"/>
          </ac:cxnSpMkLst>
        </pc:cxnChg>
        <pc:cxnChg chg="add del mod">
          <ac:chgData name="Koksrud Andreas" userId="9d9beba6-c052-407a-8599-c781a677a996" providerId="ADAL" clId="{4C03B8BE-ED6C-47DA-A194-101B46B7832B}" dt="2024-01-31T20:51:08.249" v="5537" actId="478"/>
          <ac:cxnSpMkLst>
            <pc:docMk/>
            <pc:sldMk cId="1680702220" sldId="877"/>
            <ac:cxnSpMk id="20" creationId="{4449553B-8FB0-ED9C-797E-AF85533AEC9C}"/>
          </ac:cxnSpMkLst>
        </pc:cxnChg>
        <pc:cxnChg chg="add mod">
          <ac:chgData name="Koksrud Andreas" userId="9d9beba6-c052-407a-8599-c781a677a996" providerId="ADAL" clId="{4C03B8BE-ED6C-47DA-A194-101B46B7832B}" dt="2024-01-31T20:51:25.185" v="5539" actId="14100"/>
          <ac:cxnSpMkLst>
            <pc:docMk/>
            <pc:sldMk cId="1680702220" sldId="877"/>
            <ac:cxnSpMk id="23" creationId="{24CB9937-BA6A-F0B6-F412-9C725C8D5087}"/>
          </ac:cxnSpMkLst>
        </pc:cxnChg>
        <pc:cxnChg chg="add mod">
          <ac:chgData name="Koksrud Andreas" userId="9d9beba6-c052-407a-8599-c781a677a996" providerId="ADAL" clId="{4C03B8BE-ED6C-47DA-A194-101B46B7832B}" dt="2024-01-31T20:51:29.299" v="5540" actId="14100"/>
          <ac:cxnSpMkLst>
            <pc:docMk/>
            <pc:sldMk cId="1680702220" sldId="877"/>
            <ac:cxnSpMk id="25" creationId="{9C9A2CBF-1888-0AF7-9418-C314F37B9F91}"/>
          </ac:cxnSpMkLst>
        </pc:cxnChg>
      </pc:sldChg>
      <pc:sldChg chg="addSp delSp modSp add mod">
        <pc:chgData name="Koksrud Andreas" userId="9d9beba6-c052-407a-8599-c781a677a996" providerId="ADAL" clId="{4C03B8BE-ED6C-47DA-A194-101B46B7832B}" dt="2024-01-25T17:57:02.931" v="1733" actId="1076"/>
        <pc:sldMkLst>
          <pc:docMk/>
          <pc:sldMk cId="3516004309" sldId="878"/>
        </pc:sldMkLst>
        <pc:spChg chg="del">
          <ac:chgData name="Koksrud Andreas" userId="9d9beba6-c052-407a-8599-c781a677a996" providerId="ADAL" clId="{4C03B8BE-ED6C-47DA-A194-101B46B7832B}" dt="2024-01-23T16:05:26.220" v="1551" actId="478"/>
          <ac:spMkLst>
            <pc:docMk/>
            <pc:sldMk cId="3516004309" sldId="878"/>
            <ac:spMk id="6" creationId="{55597BA9-F880-8C12-0743-955498FF36CE}"/>
          </ac:spMkLst>
        </pc:spChg>
        <pc:spChg chg="mod">
          <ac:chgData name="Koksrud Andreas" userId="9d9beba6-c052-407a-8599-c781a677a996" providerId="ADAL" clId="{4C03B8BE-ED6C-47DA-A194-101B46B7832B}" dt="2024-01-25T17:57:00.750" v="1732" actId="14100"/>
          <ac:spMkLst>
            <pc:docMk/>
            <pc:sldMk cId="3516004309" sldId="878"/>
            <ac:spMk id="7" creationId="{4E164838-A63C-913B-F9A1-A05329A4F4C2}"/>
          </ac:spMkLst>
        </pc:spChg>
        <pc:spChg chg="mod">
          <ac:chgData name="Koksrud Andreas" userId="9d9beba6-c052-407a-8599-c781a677a996" providerId="ADAL" clId="{4C03B8BE-ED6C-47DA-A194-101B46B7832B}" dt="2024-01-23T16:05:20.783" v="1549" actId="20577"/>
          <ac:spMkLst>
            <pc:docMk/>
            <pc:sldMk cId="3516004309" sldId="878"/>
            <ac:spMk id="14" creationId="{C85A9E99-AA4E-C194-FF2A-6C5AC5C1CF94}"/>
          </ac:spMkLst>
        </pc:spChg>
        <pc:picChg chg="add mod modCrop">
          <ac:chgData name="Koksrud Andreas" userId="9d9beba6-c052-407a-8599-c781a677a996" providerId="ADAL" clId="{4C03B8BE-ED6C-47DA-A194-101B46B7832B}" dt="2024-01-25T17:56:26.476" v="1709" actId="1076"/>
          <ac:picMkLst>
            <pc:docMk/>
            <pc:sldMk cId="3516004309" sldId="878"/>
            <ac:picMk id="3" creationId="{EDF2C782-37F7-ED44-DD8E-CF868EBE043F}"/>
          </ac:picMkLst>
        </pc:picChg>
        <pc:picChg chg="del">
          <ac:chgData name="Koksrud Andreas" userId="9d9beba6-c052-407a-8599-c781a677a996" providerId="ADAL" clId="{4C03B8BE-ED6C-47DA-A194-101B46B7832B}" dt="2024-01-23T16:05:23.676" v="1550" actId="478"/>
          <ac:picMkLst>
            <pc:docMk/>
            <pc:sldMk cId="3516004309" sldId="878"/>
            <ac:picMk id="4" creationId="{641E2B12-94CA-F4C0-19F5-95A823EE9BD5}"/>
          </ac:picMkLst>
        </pc:picChg>
        <pc:picChg chg="add mod">
          <ac:chgData name="Koksrud Andreas" userId="9d9beba6-c052-407a-8599-c781a677a996" providerId="ADAL" clId="{4C03B8BE-ED6C-47DA-A194-101B46B7832B}" dt="2024-01-25T17:57:02.931" v="1733" actId="1076"/>
          <ac:picMkLst>
            <pc:docMk/>
            <pc:sldMk cId="3516004309" sldId="878"/>
            <ac:picMk id="5" creationId="{A1FBCA25-0075-39DE-5E74-A8238074456B}"/>
          </ac:picMkLst>
        </pc:picChg>
      </pc:sldChg>
      <pc:sldChg chg="addSp delSp modSp add mod">
        <pc:chgData name="Koksrud Andreas" userId="9d9beba6-c052-407a-8599-c781a677a996" providerId="ADAL" clId="{4C03B8BE-ED6C-47DA-A194-101B46B7832B}" dt="2024-01-25T18:09:11.066" v="1944" actId="1076"/>
        <pc:sldMkLst>
          <pc:docMk/>
          <pc:sldMk cId="999972062" sldId="879"/>
        </pc:sldMkLst>
        <pc:spChg chg="del mod">
          <ac:chgData name="Koksrud Andreas" userId="9d9beba6-c052-407a-8599-c781a677a996" providerId="ADAL" clId="{4C03B8BE-ED6C-47DA-A194-101B46B7832B}" dt="2024-01-25T18:07:14.146" v="1939" actId="478"/>
          <ac:spMkLst>
            <pc:docMk/>
            <pc:sldMk cId="999972062" sldId="879"/>
            <ac:spMk id="7" creationId="{4E164838-A63C-913B-F9A1-A05329A4F4C2}"/>
          </ac:spMkLst>
        </pc:spChg>
        <pc:spChg chg="mod">
          <ac:chgData name="Koksrud Andreas" userId="9d9beba6-c052-407a-8599-c781a677a996" providerId="ADAL" clId="{4C03B8BE-ED6C-47DA-A194-101B46B7832B}" dt="2024-01-25T18:07:06.105" v="1919" actId="14100"/>
          <ac:spMkLst>
            <pc:docMk/>
            <pc:sldMk cId="999972062" sldId="879"/>
            <ac:spMk id="14" creationId="{C85A9E99-AA4E-C194-FF2A-6C5AC5C1CF94}"/>
          </ac:spMkLst>
        </pc:spChg>
        <pc:picChg chg="del">
          <ac:chgData name="Koksrud Andreas" userId="9d9beba6-c052-407a-8599-c781a677a996" providerId="ADAL" clId="{4C03B8BE-ED6C-47DA-A194-101B46B7832B}" dt="2024-01-25T18:07:07.647" v="1920" actId="478"/>
          <ac:picMkLst>
            <pc:docMk/>
            <pc:sldMk cId="999972062" sldId="879"/>
            <ac:picMk id="3" creationId="{EDF2C782-37F7-ED44-DD8E-CF868EBE043F}"/>
          </ac:picMkLst>
        </pc:picChg>
        <pc:picChg chg="add mod">
          <ac:chgData name="Koksrud Andreas" userId="9d9beba6-c052-407a-8599-c781a677a996" providerId="ADAL" clId="{4C03B8BE-ED6C-47DA-A194-101B46B7832B}" dt="2024-01-25T18:08:56.778" v="1942" actId="1076"/>
          <ac:picMkLst>
            <pc:docMk/>
            <pc:sldMk cId="999972062" sldId="879"/>
            <ac:picMk id="4" creationId="{190323D3-E5B4-9315-ED4E-121A583E687C}"/>
          </ac:picMkLst>
        </pc:picChg>
        <pc:picChg chg="del">
          <ac:chgData name="Koksrud Andreas" userId="9d9beba6-c052-407a-8599-c781a677a996" providerId="ADAL" clId="{4C03B8BE-ED6C-47DA-A194-101B46B7832B}" dt="2024-01-25T18:07:15.206" v="1940" actId="478"/>
          <ac:picMkLst>
            <pc:docMk/>
            <pc:sldMk cId="999972062" sldId="879"/>
            <ac:picMk id="5" creationId="{A1FBCA25-0075-39DE-5E74-A8238074456B}"/>
          </ac:picMkLst>
        </pc:picChg>
        <pc:picChg chg="add mod">
          <ac:chgData name="Koksrud Andreas" userId="9d9beba6-c052-407a-8599-c781a677a996" providerId="ADAL" clId="{4C03B8BE-ED6C-47DA-A194-101B46B7832B}" dt="2024-01-25T18:09:11.066" v="1944" actId="1076"/>
          <ac:picMkLst>
            <pc:docMk/>
            <pc:sldMk cId="999972062" sldId="879"/>
            <ac:picMk id="8" creationId="{3B60DC64-8985-794A-4D99-D58E789729B5}"/>
          </ac:picMkLst>
        </pc:picChg>
      </pc:sldChg>
      <pc:sldChg chg="addSp delSp modSp add mod">
        <pc:chgData name="Koksrud Andreas" userId="9d9beba6-c052-407a-8599-c781a677a996" providerId="ADAL" clId="{4C03B8BE-ED6C-47DA-A194-101B46B7832B}" dt="2024-01-29T10:50:07.289" v="3416" actId="14100"/>
        <pc:sldMkLst>
          <pc:docMk/>
          <pc:sldMk cId="3205976706" sldId="880"/>
        </pc:sldMkLst>
        <pc:spChg chg="del mod">
          <ac:chgData name="Koksrud Andreas" userId="9d9beba6-c052-407a-8599-c781a677a996" providerId="ADAL" clId="{4C03B8BE-ED6C-47DA-A194-101B46B7832B}" dt="2024-01-29T10:46:04.092" v="3321" actId="478"/>
          <ac:spMkLst>
            <pc:docMk/>
            <pc:sldMk cId="3205976706" sldId="880"/>
            <ac:spMk id="3" creationId="{F8C25FDC-57EE-1DDE-CCC5-273A2149FEAB}"/>
          </ac:spMkLst>
        </pc:spChg>
        <pc:spChg chg="add del mod">
          <ac:chgData name="Koksrud Andreas" userId="9d9beba6-c052-407a-8599-c781a677a996" providerId="ADAL" clId="{4C03B8BE-ED6C-47DA-A194-101B46B7832B}" dt="2024-01-29T10:46:26.781" v="3386" actId="14100"/>
          <ac:spMkLst>
            <pc:docMk/>
            <pc:sldMk cId="3205976706" sldId="880"/>
            <ac:spMk id="14" creationId="{C85A9E99-AA4E-C194-FF2A-6C5AC5C1CF94}"/>
          </ac:spMkLst>
        </pc:spChg>
        <pc:spChg chg="mod">
          <ac:chgData name="Koksrud Andreas" userId="9d9beba6-c052-407a-8599-c781a677a996" providerId="ADAL" clId="{4C03B8BE-ED6C-47DA-A194-101B46B7832B}" dt="2024-01-29T07:02:01.154" v="2355" actId="20577"/>
          <ac:spMkLst>
            <pc:docMk/>
            <pc:sldMk cId="3205976706" sldId="880"/>
            <ac:spMk id="180" creationId="{00000000-0000-0000-0000-000000000000}"/>
          </ac:spMkLst>
        </pc:spChg>
        <pc:picChg chg="add del mod">
          <ac:chgData name="Koksrud Andreas" userId="9d9beba6-c052-407a-8599-c781a677a996" providerId="ADAL" clId="{4C03B8BE-ED6C-47DA-A194-101B46B7832B}" dt="2024-01-29T10:46:49.277" v="3389" actId="478"/>
          <ac:picMkLst>
            <pc:docMk/>
            <pc:sldMk cId="3205976706" sldId="880"/>
            <ac:picMk id="4" creationId="{A5B4B8BE-F20E-F24E-BBDD-F5A89A9E44B2}"/>
          </ac:picMkLst>
        </pc:picChg>
        <pc:picChg chg="add mod">
          <ac:chgData name="Koksrud Andreas" userId="9d9beba6-c052-407a-8599-c781a677a996" providerId="ADAL" clId="{4C03B8BE-ED6C-47DA-A194-101B46B7832B}" dt="2024-01-29T10:47:46.670" v="3391" actId="1076"/>
          <ac:picMkLst>
            <pc:docMk/>
            <pc:sldMk cId="3205976706" sldId="880"/>
            <ac:picMk id="6" creationId="{BEB21C7F-CB78-0F59-91FA-B56DF7F68DD3}"/>
          </ac:picMkLst>
        </pc:picChg>
        <pc:picChg chg="add mod">
          <ac:chgData name="Koksrud Andreas" userId="9d9beba6-c052-407a-8599-c781a677a996" providerId="ADAL" clId="{4C03B8BE-ED6C-47DA-A194-101B46B7832B}" dt="2024-01-29T10:49:49.525" v="3410" actId="1076"/>
          <ac:picMkLst>
            <pc:docMk/>
            <pc:sldMk cId="3205976706" sldId="880"/>
            <ac:picMk id="8" creationId="{22D15649-EB40-AFC3-C64C-2698F1E6551F}"/>
          </ac:picMkLst>
        </pc:picChg>
        <pc:picChg chg="add mod">
          <ac:chgData name="Koksrud Andreas" userId="9d9beba6-c052-407a-8599-c781a677a996" providerId="ADAL" clId="{4C03B8BE-ED6C-47DA-A194-101B46B7832B}" dt="2024-01-29T10:49:59.161" v="3414" actId="1076"/>
          <ac:picMkLst>
            <pc:docMk/>
            <pc:sldMk cId="3205976706" sldId="880"/>
            <ac:picMk id="10" creationId="{84F62417-06FE-68E2-C753-F99AAD7C41F7}"/>
          </ac:picMkLst>
        </pc:picChg>
        <pc:picChg chg="add mod">
          <ac:chgData name="Koksrud Andreas" userId="9d9beba6-c052-407a-8599-c781a677a996" providerId="ADAL" clId="{4C03B8BE-ED6C-47DA-A194-101B46B7832B}" dt="2024-01-29T10:48:54.875" v="3397" actId="1076"/>
          <ac:picMkLst>
            <pc:docMk/>
            <pc:sldMk cId="3205976706" sldId="880"/>
            <ac:picMk id="12" creationId="{F1958D03-ADAB-F329-32D4-20D39A9C14FE}"/>
          </ac:picMkLst>
        </pc:picChg>
        <pc:picChg chg="add mod">
          <ac:chgData name="Koksrud Andreas" userId="9d9beba6-c052-407a-8599-c781a677a996" providerId="ADAL" clId="{4C03B8BE-ED6C-47DA-A194-101B46B7832B}" dt="2024-01-29T10:49:10.394" v="3399" actId="1076"/>
          <ac:picMkLst>
            <pc:docMk/>
            <pc:sldMk cId="3205976706" sldId="880"/>
            <ac:picMk id="15" creationId="{ED0505E0-14BA-25EC-7C1F-046AE8189CAA}"/>
          </ac:picMkLst>
        </pc:picChg>
        <pc:cxnChg chg="add mod">
          <ac:chgData name="Koksrud Andreas" userId="9d9beba6-c052-407a-8599-c781a677a996" providerId="ADAL" clId="{4C03B8BE-ED6C-47DA-A194-101B46B7832B}" dt="2024-01-29T10:49:27.913" v="3402" actId="14100"/>
          <ac:cxnSpMkLst>
            <pc:docMk/>
            <pc:sldMk cId="3205976706" sldId="880"/>
            <ac:cxnSpMk id="16" creationId="{EF61D8B6-06B4-CEFD-955C-0180139E8D3B}"/>
          </ac:cxnSpMkLst>
        </pc:cxnChg>
        <pc:cxnChg chg="add mod">
          <ac:chgData name="Koksrud Andreas" userId="9d9beba6-c052-407a-8599-c781a677a996" providerId="ADAL" clId="{4C03B8BE-ED6C-47DA-A194-101B46B7832B}" dt="2024-01-29T10:50:03.906" v="3415" actId="14100"/>
          <ac:cxnSpMkLst>
            <pc:docMk/>
            <pc:sldMk cId="3205976706" sldId="880"/>
            <ac:cxnSpMk id="18" creationId="{30D4B464-70C6-266E-8ACF-9371B6220F80}"/>
          </ac:cxnSpMkLst>
        </pc:cxnChg>
        <pc:cxnChg chg="add mod">
          <ac:chgData name="Koksrud Andreas" userId="9d9beba6-c052-407a-8599-c781a677a996" providerId="ADAL" clId="{4C03B8BE-ED6C-47DA-A194-101B46B7832B}" dt="2024-01-29T10:49:52.997" v="3411" actId="14100"/>
          <ac:cxnSpMkLst>
            <pc:docMk/>
            <pc:sldMk cId="3205976706" sldId="880"/>
            <ac:cxnSpMk id="21" creationId="{C23A8225-0ADF-078A-FCF8-4E55376E5266}"/>
          </ac:cxnSpMkLst>
        </pc:cxnChg>
        <pc:cxnChg chg="add mod">
          <ac:chgData name="Koksrud Andreas" userId="9d9beba6-c052-407a-8599-c781a677a996" providerId="ADAL" clId="{4C03B8BE-ED6C-47DA-A194-101B46B7832B}" dt="2024-01-29T10:50:07.289" v="3416" actId="14100"/>
          <ac:cxnSpMkLst>
            <pc:docMk/>
            <pc:sldMk cId="3205976706" sldId="880"/>
            <ac:cxnSpMk id="23" creationId="{9AFEC9A9-E90D-0057-FDEF-C121B721A6CD}"/>
          </ac:cxnSpMkLst>
        </pc:cxnChg>
      </pc:sldChg>
      <pc:sldChg chg="addSp delSp modSp add mod">
        <pc:chgData name="Koksrud Andreas" userId="9d9beba6-c052-407a-8599-c781a677a996" providerId="ADAL" clId="{4C03B8BE-ED6C-47DA-A194-101B46B7832B}" dt="2024-02-01T11:06:55.445" v="5601"/>
        <pc:sldMkLst>
          <pc:docMk/>
          <pc:sldMk cId="2279528697" sldId="881"/>
        </pc:sldMkLst>
        <pc:spChg chg="del">
          <ac:chgData name="Koksrud Andreas" userId="9d9beba6-c052-407a-8599-c781a677a996" providerId="ADAL" clId="{4C03B8BE-ED6C-47DA-A194-101B46B7832B}" dt="2024-01-29T05:49:45.763" v="2225" actId="478"/>
          <ac:spMkLst>
            <pc:docMk/>
            <pc:sldMk cId="2279528697" sldId="881"/>
            <ac:spMk id="3" creationId="{F8C25FDC-57EE-1DDE-CCC5-273A2149FEAB}"/>
          </ac:spMkLst>
        </pc:spChg>
        <pc:spChg chg="add del">
          <ac:chgData name="Koksrud Andreas" userId="9d9beba6-c052-407a-8599-c781a677a996" providerId="ADAL" clId="{4C03B8BE-ED6C-47DA-A194-101B46B7832B}" dt="2024-01-29T06:55:36.075" v="2265" actId="22"/>
          <ac:spMkLst>
            <pc:docMk/>
            <pc:sldMk cId="2279528697" sldId="881"/>
            <ac:spMk id="6" creationId="{46BACC10-FA94-DB7B-AC8B-97B6083B7AC7}"/>
          </ac:spMkLst>
        </pc:spChg>
        <pc:spChg chg="add mod">
          <ac:chgData name="Koksrud Andreas" userId="9d9beba6-c052-407a-8599-c781a677a996" providerId="ADAL" clId="{4C03B8BE-ED6C-47DA-A194-101B46B7832B}" dt="2024-02-01T11:06:55.445" v="5601"/>
          <ac:spMkLst>
            <pc:docMk/>
            <pc:sldMk cId="2279528697" sldId="881"/>
            <ac:spMk id="8" creationId="{8B49BB3F-78D2-24EB-5080-98F42764BE7B}"/>
          </ac:spMkLst>
        </pc:spChg>
        <pc:spChg chg="add mod">
          <ac:chgData name="Koksrud Andreas" userId="9d9beba6-c052-407a-8599-c781a677a996" providerId="ADAL" clId="{4C03B8BE-ED6C-47DA-A194-101B46B7832B}" dt="2024-02-01T10:51:12.391" v="5551" actId="6549"/>
          <ac:spMkLst>
            <pc:docMk/>
            <pc:sldMk cId="2279528697" sldId="881"/>
            <ac:spMk id="10" creationId="{C9F1839B-EE6E-E7E4-F70B-2494C6EEA738}"/>
          </ac:spMkLst>
        </pc:spChg>
        <pc:spChg chg="mod">
          <ac:chgData name="Koksrud Andreas" userId="9d9beba6-c052-407a-8599-c781a677a996" providerId="ADAL" clId="{4C03B8BE-ED6C-47DA-A194-101B46B7832B}" dt="2024-01-29T05:50:12.602" v="2261" actId="20577"/>
          <ac:spMkLst>
            <pc:docMk/>
            <pc:sldMk cId="2279528697" sldId="881"/>
            <ac:spMk id="14" creationId="{C85A9E99-AA4E-C194-FF2A-6C5AC5C1CF94}"/>
          </ac:spMkLst>
        </pc:spChg>
        <pc:picChg chg="add mod modCrop">
          <ac:chgData name="Koksrud Andreas" userId="9d9beba6-c052-407a-8599-c781a677a996" providerId="ADAL" clId="{4C03B8BE-ED6C-47DA-A194-101B46B7832B}" dt="2024-01-29T06:50:36.983" v="2263" actId="732"/>
          <ac:picMkLst>
            <pc:docMk/>
            <pc:sldMk cId="2279528697" sldId="881"/>
            <ac:picMk id="4" creationId="{7BDC5772-0E1E-7DA1-3B0B-D00C8D502DD1}"/>
          </ac:picMkLst>
        </pc:picChg>
      </pc:sldChg>
      <pc:sldChg chg="addSp delSp modSp add mod">
        <pc:chgData name="Koksrud Andreas" userId="9d9beba6-c052-407a-8599-c781a677a996" providerId="ADAL" clId="{4C03B8BE-ED6C-47DA-A194-101B46B7832B}" dt="2024-02-01T11:08:53.546" v="5609" actId="1035"/>
        <pc:sldMkLst>
          <pc:docMk/>
          <pc:sldMk cId="360095748" sldId="882"/>
        </pc:sldMkLst>
        <pc:spChg chg="del">
          <ac:chgData name="Koksrud Andreas" userId="9d9beba6-c052-407a-8599-c781a677a996" providerId="ADAL" clId="{4C03B8BE-ED6C-47DA-A194-101B46B7832B}" dt="2024-01-29T07:07:17.232" v="2431" actId="478"/>
          <ac:spMkLst>
            <pc:docMk/>
            <pc:sldMk cId="360095748" sldId="882"/>
            <ac:spMk id="8" creationId="{8B49BB3F-78D2-24EB-5080-98F42764BE7B}"/>
          </ac:spMkLst>
        </pc:spChg>
        <pc:spChg chg="del">
          <ac:chgData name="Koksrud Andreas" userId="9d9beba6-c052-407a-8599-c781a677a996" providerId="ADAL" clId="{4C03B8BE-ED6C-47DA-A194-101B46B7832B}" dt="2024-01-29T07:07:15.973" v="2430" actId="478"/>
          <ac:spMkLst>
            <pc:docMk/>
            <pc:sldMk cId="360095748" sldId="882"/>
            <ac:spMk id="10" creationId="{C9F1839B-EE6E-E7E4-F70B-2494C6EEA738}"/>
          </ac:spMkLst>
        </pc:spChg>
        <pc:spChg chg="mod">
          <ac:chgData name="Koksrud Andreas" userId="9d9beba6-c052-407a-8599-c781a677a996" providerId="ADAL" clId="{4C03B8BE-ED6C-47DA-A194-101B46B7832B}" dt="2024-02-01T11:08:17.224" v="5605" actId="20577"/>
          <ac:spMkLst>
            <pc:docMk/>
            <pc:sldMk cId="360095748" sldId="882"/>
            <ac:spMk id="14" creationId="{C85A9E99-AA4E-C194-FF2A-6C5AC5C1CF94}"/>
          </ac:spMkLst>
        </pc:spChg>
        <pc:picChg chg="add del mod">
          <ac:chgData name="Koksrud Andreas" userId="9d9beba6-c052-407a-8599-c781a677a996" providerId="ADAL" clId="{4C03B8BE-ED6C-47DA-A194-101B46B7832B}" dt="2024-02-01T11:08:09.902" v="5602" actId="478"/>
          <ac:picMkLst>
            <pc:docMk/>
            <pc:sldMk cId="360095748" sldId="882"/>
            <ac:picMk id="3" creationId="{63449E02-B4EE-F679-6A92-9831B9725617}"/>
          </ac:picMkLst>
        </pc:picChg>
        <pc:picChg chg="add mod">
          <ac:chgData name="Koksrud Andreas" userId="9d9beba6-c052-407a-8599-c781a677a996" providerId="ADAL" clId="{4C03B8BE-ED6C-47DA-A194-101B46B7832B}" dt="2024-02-01T11:08:53.546" v="5609" actId="1035"/>
          <ac:picMkLst>
            <pc:docMk/>
            <pc:sldMk cId="360095748" sldId="882"/>
            <ac:picMk id="4" creationId="{3C2D6943-6BA5-ABD7-C963-7EBBBFDADC85}"/>
          </ac:picMkLst>
        </pc:picChg>
        <pc:picChg chg="del">
          <ac:chgData name="Koksrud Andreas" userId="9d9beba6-c052-407a-8599-c781a677a996" providerId="ADAL" clId="{4C03B8BE-ED6C-47DA-A194-101B46B7832B}" dt="2024-01-29T07:07:13.664" v="2429" actId="478"/>
          <ac:picMkLst>
            <pc:docMk/>
            <pc:sldMk cId="360095748" sldId="882"/>
            <ac:picMk id="4" creationId="{7BDC5772-0E1E-7DA1-3B0B-D00C8D502DD1}"/>
          </ac:picMkLst>
        </pc:picChg>
        <pc:picChg chg="add del mod modCrop">
          <ac:chgData name="Koksrud Andreas" userId="9d9beba6-c052-407a-8599-c781a677a996" providerId="ADAL" clId="{4C03B8BE-ED6C-47DA-A194-101B46B7832B}" dt="2024-02-01T11:08:10.650" v="5603" actId="478"/>
          <ac:picMkLst>
            <pc:docMk/>
            <pc:sldMk cId="360095748" sldId="882"/>
            <ac:picMk id="6" creationId="{25389F38-CEFA-FC86-E808-76C33D6B6F34}"/>
          </ac:picMkLst>
        </pc:picChg>
        <pc:picChg chg="add del mod">
          <ac:chgData name="Koksrud Andreas" userId="9d9beba6-c052-407a-8599-c781a677a996" providerId="ADAL" clId="{4C03B8BE-ED6C-47DA-A194-101B46B7832B}" dt="2024-02-01T11:08:12.271" v="5604" actId="478"/>
          <ac:picMkLst>
            <pc:docMk/>
            <pc:sldMk cId="360095748" sldId="882"/>
            <ac:picMk id="9" creationId="{8F4AA6E3-89C6-1FB4-4EB4-62B7D37E8D30}"/>
          </ac:picMkLst>
        </pc:picChg>
      </pc:sldChg>
      <pc:sldChg chg="addSp delSp modSp add mod">
        <pc:chgData name="Koksrud Andreas" userId="9d9beba6-c052-407a-8599-c781a677a996" providerId="ADAL" clId="{4C03B8BE-ED6C-47DA-A194-101B46B7832B}" dt="2024-01-29T07:06:06.965" v="2428" actId="1076"/>
        <pc:sldMkLst>
          <pc:docMk/>
          <pc:sldMk cId="1917928831" sldId="883"/>
        </pc:sldMkLst>
        <pc:spChg chg="mod">
          <ac:chgData name="Koksrud Andreas" userId="9d9beba6-c052-407a-8599-c781a677a996" providerId="ADAL" clId="{4C03B8BE-ED6C-47DA-A194-101B46B7832B}" dt="2024-01-29T07:05:47.336" v="2426" actId="20577"/>
          <ac:spMkLst>
            <pc:docMk/>
            <pc:sldMk cId="1917928831" sldId="883"/>
            <ac:spMk id="14" creationId="{C85A9E99-AA4E-C194-FF2A-6C5AC5C1CF94}"/>
          </ac:spMkLst>
        </pc:spChg>
        <pc:picChg chg="add mod modCrop">
          <ac:chgData name="Koksrud Andreas" userId="9d9beba6-c052-407a-8599-c781a677a996" providerId="ADAL" clId="{4C03B8BE-ED6C-47DA-A194-101B46B7832B}" dt="2024-01-29T07:05:35.815" v="2385" actId="1076"/>
          <ac:picMkLst>
            <pc:docMk/>
            <pc:sldMk cId="1917928831" sldId="883"/>
            <ac:picMk id="3" creationId="{69B76FD8-1FBE-E75F-6197-02FB5CB03B58}"/>
          </ac:picMkLst>
        </pc:picChg>
        <pc:picChg chg="del">
          <ac:chgData name="Koksrud Andreas" userId="9d9beba6-c052-407a-8599-c781a677a996" providerId="ADAL" clId="{4C03B8BE-ED6C-47DA-A194-101B46B7832B}" dt="2024-01-29T07:03:54.951" v="2375" actId="478"/>
          <ac:picMkLst>
            <pc:docMk/>
            <pc:sldMk cId="1917928831" sldId="883"/>
            <ac:picMk id="4" creationId="{1B512EEC-42AE-E3EC-812A-6A32A1C39970}"/>
          </ac:picMkLst>
        </pc:picChg>
        <pc:picChg chg="add mod">
          <ac:chgData name="Koksrud Andreas" userId="9d9beba6-c052-407a-8599-c781a677a996" providerId="ADAL" clId="{4C03B8BE-ED6C-47DA-A194-101B46B7832B}" dt="2024-01-29T07:05:38.751" v="2386" actId="1076"/>
          <ac:picMkLst>
            <pc:docMk/>
            <pc:sldMk cId="1917928831" sldId="883"/>
            <ac:picMk id="6" creationId="{22FDA10B-03D9-A458-B5D1-285FE3628BB4}"/>
          </ac:picMkLst>
        </pc:picChg>
        <pc:picChg chg="add mod">
          <ac:chgData name="Koksrud Andreas" userId="9d9beba6-c052-407a-8599-c781a677a996" providerId="ADAL" clId="{4C03B8BE-ED6C-47DA-A194-101B46B7832B}" dt="2024-01-29T07:06:06.965" v="2428" actId="1076"/>
          <ac:picMkLst>
            <pc:docMk/>
            <pc:sldMk cId="1917928831" sldId="883"/>
            <ac:picMk id="8" creationId="{1566B8E1-CE1B-D8A6-568B-31F5ED3ABAFF}"/>
          </ac:picMkLst>
        </pc:picChg>
      </pc:sldChg>
      <pc:sldChg chg="addSp delSp modSp add del mod">
        <pc:chgData name="Koksrud Andreas" userId="9d9beba6-c052-407a-8599-c781a677a996" providerId="ADAL" clId="{4C03B8BE-ED6C-47DA-A194-101B46B7832B}" dt="2024-02-01T11:35:19.819" v="5668" actId="1076"/>
        <pc:sldMkLst>
          <pc:docMk/>
          <pc:sldMk cId="33461568" sldId="884"/>
        </pc:sldMkLst>
        <pc:spChg chg="mod">
          <ac:chgData name="Koksrud Andreas" userId="9d9beba6-c052-407a-8599-c781a677a996" providerId="ADAL" clId="{4C03B8BE-ED6C-47DA-A194-101B46B7832B}" dt="2024-01-29T09:17:24.641" v="3133"/>
          <ac:spMkLst>
            <pc:docMk/>
            <pc:sldMk cId="33461568" sldId="884"/>
            <ac:spMk id="14" creationId="{C85A9E99-AA4E-C194-FF2A-6C5AC5C1CF94}"/>
          </ac:spMkLst>
        </pc:spChg>
        <pc:spChg chg="mod">
          <ac:chgData name="Koksrud Andreas" userId="9d9beba6-c052-407a-8599-c781a677a996" providerId="ADAL" clId="{4C03B8BE-ED6C-47DA-A194-101B46B7832B}" dt="2024-01-29T09:10:18.178" v="2992"/>
          <ac:spMkLst>
            <pc:docMk/>
            <pc:sldMk cId="33461568" sldId="884"/>
            <ac:spMk id="180" creationId="{00000000-0000-0000-0000-000000000000}"/>
          </ac:spMkLst>
        </pc:spChg>
        <pc:picChg chg="add mod">
          <ac:chgData name="Koksrud Andreas" userId="9d9beba6-c052-407a-8599-c781a677a996" providerId="ADAL" clId="{4C03B8BE-ED6C-47DA-A194-101B46B7832B}" dt="2024-02-01T11:34:05.222" v="5654" actId="1076"/>
          <ac:picMkLst>
            <pc:docMk/>
            <pc:sldMk cId="33461568" sldId="884"/>
            <ac:picMk id="3" creationId="{34CA862F-14FC-817D-2B03-F9F8B71396BE}"/>
          </ac:picMkLst>
        </pc:picChg>
        <pc:picChg chg="del mod">
          <ac:chgData name="Koksrud Andreas" userId="9d9beba6-c052-407a-8599-c781a677a996" providerId="ADAL" clId="{4C03B8BE-ED6C-47DA-A194-101B46B7832B}" dt="2024-01-29T09:10:36.436" v="2994" actId="478"/>
          <ac:picMkLst>
            <pc:docMk/>
            <pc:sldMk cId="33461568" sldId="884"/>
            <ac:picMk id="3" creationId="{69B76FD8-1FBE-E75F-6197-02FB5CB03B58}"/>
          </ac:picMkLst>
        </pc:picChg>
        <pc:picChg chg="add del mod">
          <ac:chgData name="Koksrud Andreas" userId="9d9beba6-c052-407a-8599-c781a677a996" providerId="ADAL" clId="{4C03B8BE-ED6C-47DA-A194-101B46B7832B}" dt="2024-02-01T11:33:52.416" v="5652" actId="478"/>
          <ac:picMkLst>
            <pc:docMk/>
            <pc:sldMk cId="33461568" sldId="884"/>
            <ac:picMk id="4" creationId="{7567BA0C-51EB-6BEA-5742-4102673B9D31}"/>
          </ac:picMkLst>
        </pc:picChg>
        <pc:picChg chg="del">
          <ac:chgData name="Koksrud Andreas" userId="9d9beba6-c052-407a-8599-c781a677a996" providerId="ADAL" clId="{4C03B8BE-ED6C-47DA-A194-101B46B7832B}" dt="2024-01-29T09:11:08.199" v="2998" actId="478"/>
          <ac:picMkLst>
            <pc:docMk/>
            <pc:sldMk cId="33461568" sldId="884"/>
            <ac:picMk id="6" creationId="{22FDA10B-03D9-A458-B5D1-285FE3628BB4}"/>
          </ac:picMkLst>
        </pc:picChg>
        <pc:picChg chg="add mod modCrop">
          <ac:chgData name="Koksrud Andreas" userId="9d9beba6-c052-407a-8599-c781a677a996" providerId="ADAL" clId="{4C03B8BE-ED6C-47DA-A194-101B46B7832B}" dt="2024-02-01T11:34:34.572" v="5659" actId="732"/>
          <ac:picMkLst>
            <pc:docMk/>
            <pc:sldMk cId="33461568" sldId="884"/>
            <ac:picMk id="6" creationId="{B46B4D57-3013-03B9-6FBA-EE485C8DE6AF}"/>
          </ac:picMkLst>
        </pc:picChg>
        <pc:picChg chg="add del mod modCrop">
          <ac:chgData name="Koksrud Andreas" userId="9d9beba6-c052-407a-8599-c781a677a996" providerId="ADAL" clId="{4C03B8BE-ED6C-47DA-A194-101B46B7832B}" dt="2024-02-01T11:34:16.502" v="5656" actId="478"/>
          <ac:picMkLst>
            <pc:docMk/>
            <pc:sldMk cId="33461568" sldId="884"/>
            <ac:picMk id="7" creationId="{7BC5E13F-DB03-4693-BBE3-9BE55F6252FE}"/>
          </ac:picMkLst>
        </pc:picChg>
        <pc:picChg chg="del mod">
          <ac:chgData name="Koksrud Andreas" userId="9d9beba6-c052-407a-8599-c781a677a996" providerId="ADAL" clId="{4C03B8BE-ED6C-47DA-A194-101B46B7832B}" dt="2024-01-29T09:11:25.559" v="3003" actId="478"/>
          <ac:picMkLst>
            <pc:docMk/>
            <pc:sldMk cId="33461568" sldId="884"/>
            <ac:picMk id="8" creationId="{1566B8E1-CE1B-D8A6-568B-31F5ED3ABAFF}"/>
          </ac:picMkLst>
        </pc:picChg>
        <pc:picChg chg="add mod">
          <ac:chgData name="Koksrud Andreas" userId="9d9beba6-c052-407a-8599-c781a677a996" providerId="ADAL" clId="{4C03B8BE-ED6C-47DA-A194-101B46B7832B}" dt="2024-02-01T11:35:02.588" v="5663" actId="1076"/>
          <ac:picMkLst>
            <pc:docMk/>
            <pc:sldMk cId="33461568" sldId="884"/>
            <ac:picMk id="9" creationId="{0BCA19F2-ABD0-A1C1-1846-0AEC2F7B37B4}"/>
          </ac:picMkLst>
        </pc:picChg>
        <pc:picChg chg="add del mod">
          <ac:chgData name="Koksrud Andreas" userId="9d9beba6-c052-407a-8599-c781a677a996" providerId="ADAL" clId="{4C03B8BE-ED6C-47DA-A194-101B46B7832B}" dt="2024-01-29T09:17:42.269" v="3136" actId="478"/>
          <ac:picMkLst>
            <pc:docMk/>
            <pc:sldMk cId="33461568" sldId="884"/>
            <ac:picMk id="10" creationId="{F99ADA67-FF8C-1CDC-B84A-A4B97D978444}"/>
          </ac:picMkLst>
        </pc:picChg>
        <pc:picChg chg="add mod">
          <ac:chgData name="Koksrud Andreas" userId="9d9beba6-c052-407a-8599-c781a677a996" providerId="ADAL" clId="{4C03B8BE-ED6C-47DA-A194-101B46B7832B}" dt="2024-02-01T11:35:19.819" v="5668" actId="1076"/>
          <ac:picMkLst>
            <pc:docMk/>
            <pc:sldMk cId="33461568" sldId="884"/>
            <ac:picMk id="11" creationId="{9181FD99-CF2A-E7FE-ED6D-179DF61B36FD}"/>
          </ac:picMkLst>
        </pc:picChg>
        <pc:picChg chg="add del mod">
          <ac:chgData name="Koksrud Andreas" userId="9d9beba6-c052-407a-8599-c781a677a996" providerId="ADAL" clId="{4C03B8BE-ED6C-47DA-A194-101B46B7832B}" dt="2024-02-01T11:34:55.047" v="5661" actId="478"/>
          <ac:picMkLst>
            <pc:docMk/>
            <pc:sldMk cId="33461568" sldId="884"/>
            <ac:picMk id="12" creationId="{BCEEA74C-7345-7A9F-8520-E4E4CEB8ED48}"/>
          </ac:picMkLst>
        </pc:picChg>
        <pc:picChg chg="add del mod">
          <ac:chgData name="Koksrud Andreas" userId="9d9beba6-c052-407a-8599-c781a677a996" providerId="ADAL" clId="{4C03B8BE-ED6C-47DA-A194-101B46B7832B}" dt="2024-02-01T11:35:07.469" v="5666" actId="478"/>
          <ac:picMkLst>
            <pc:docMk/>
            <pc:sldMk cId="33461568" sldId="884"/>
            <ac:picMk id="15" creationId="{941330EC-95E5-8585-DF63-62D9D9D19A08}"/>
          </ac:picMkLst>
        </pc:picChg>
        <pc:cxnChg chg="add mod ord">
          <ac:chgData name="Koksrud Andreas" userId="9d9beba6-c052-407a-8599-c781a677a996" providerId="ADAL" clId="{4C03B8BE-ED6C-47DA-A194-101B46B7832B}" dt="2024-02-01T11:35:05.747" v="5665" actId="170"/>
          <ac:cxnSpMkLst>
            <pc:docMk/>
            <pc:sldMk cId="33461568" sldId="884"/>
            <ac:cxnSpMk id="16" creationId="{7AF8F431-9FD7-A835-7C5F-520368BF90BB}"/>
          </ac:cxnSpMkLst>
        </pc:cxnChg>
        <pc:cxnChg chg="add mod ord">
          <ac:chgData name="Koksrud Andreas" userId="9d9beba6-c052-407a-8599-c781a677a996" providerId="ADAL" clId="{4C03B8BE-ED6C-47DA-A194-101B46B7832B}" dt="2024-02-01T11:34:39.664" v="5660" actId="170"/>
          <ac:cxnSpMkLst>
            <pc:docMk/>
            <pc:sldMk cId="33461568" sldId="884"/>
            <ac:cxnSpMk id="18" creationId="{5559D6C3-5358-E63A-3E13-62F40051C17D}"/>
          </ac:cxnSpMkLst>
        </pc:cxnChg>
      </pc:sldChg>
      <pc:sldChg chg="addSp delSp modSp add mod">
        <pc:chgData name="Koksrud Andreas" userId="9d9beba6-c052-407a-8599-c781a677a996" providerId="ADAL" clId="{4C03B8BE-ED6C-47DA-A194-101B46B7832B}" dt="2024-01-29T09:51:15.443" v="3240" actId="692"/>
        <pc:sldMkLst>
          <pc:docMk/>
          <pc:sldMk cId="2228775269" sldId="885"/>
        </pc:sldMkLst>
        <pc:spChg chg="mod">
          <ac:chgData name="Koksrud Andreas" userId="9d9beba6-c052-407a-8599-c781a677a996" providerId="ADAL" clId="{4C03B8BE-ED6C-47DA-A194-101B46B7832B}" dt="2024-01-29T09:19:27.409" v="3195" actId="20577"/>
          <ac:spMkLst>
            <pc:docMk/>
            <pc:sldMk cId="2228775269" sldId="885"/>
            <ac:spMk id="14" creationId="{C85A9E99-AA4E-C194-FF2A-6C5AC5C1CF94}"/>
          </ac:spMkLst>
        </pc:spChg>
        <pc:spChg chg="mod">
          <ac:chgData name="Koksrud Andreas" userId="9d9beba6-c052-407a-8599-c781a677a996" providerId="ADAL" clId="{4C03B8BE-ED6C-47DA-A194-101B46B7832B}" dt="2024-01-29T09:18:38.003" v="3140"/>
          <ac:spMkLst>
            <pc:docMk/>
            <pc:sldMk cId="2228775269" sldId="885"/>
            <ac:spMk id="180" creationId="{00000000-0000-0000-0000-000000000000}"/>
          </ac:spMkLst>
        </pc:spChg>
        <pc:picChg chg="add mod">
          <ac:chgData name="Koksrud Andreas" userId="9d9beba6-c052-407a-8599-c781a677a996" providerId="ADAL" clId="{4C03B8BE-ED6C-47DA-A194-101B46B7832B}" dt="2024-01-29T09:50:32.412" v="3235" actId="14100"/>
          <ac:picMkLst>
            <pc:docMk/>
            <pc:sldMk cId="2228775269" sldId="885"/>
            <ac:picMk id="3" creationId="{50AA1497-33AC-2BDF-732C-F251D8F57ECA}"/>
          </ac:picMkLst>
        </pc:picChg>
        <pc:picChg chg="del">
          <ac:chgData name="Koksrud Andreas" userId="9d9beba6-c052-407a-8599-c781a677a996" providerId="ADAL" clId="{4C03B8BE-ED6C-47DA-A194-101B46B7832B}" dt="2024-01-29T09:19:53.499" v="3231" actId="478"/>
          <ac:picMkLst>
            <pc:docMk/>
            <pc:sldMk cId="2228775269" sldId="885"/>
            <ac:picMk id="4" creationId="{1B512EEC-42AE-E3EC-812A-6A32A1C39970}"/>
          </ac:picMkLst>
        </pc:picChg>
        <pc:picChg chg="add mod">
          <ac:chgData name="Koksrud Andreas" userId="9d9beba6-c052-407a-8599-c781a677a996" providerId="ADAL" clId="{4C03B8BE-ED6C-47DA-A194-101B46B7832B}" dt="2024-01-29T09:51:15.443" v="3240" actId="692"/>
          <ac:picMkLst>
            <pc:docMk/>
            <pc:sldMk cId="2228775269" sldId="885"/>
            <ac:picMk id="6" creationId="{C0629C0C-8771-B148-9C69-A9453CE0A69A}"/>
          </ac:picMkLst>
        </pc:picChg>
      </pc:sldChg>
      <pc:sldChg chg="addSp delSp modSp add mod">
        <pc:chgData name="Koksrud Andreas" userId="9d9beba6-c052-407a-8599-c781a677a996" providerId="ADAL" clId="{4C03B8BE-ED6C-47DA-A194-101B46B7832B}" dt="2024-02-01T11:39:15.629" v="5670"/>
        <pc:sldMkLst>
          <pc:docMk/>
          <pc:sldMk cId="3576402817" sldId="886"/>
        </pc:sldMkLst>
        <pc:spChg chg="mod">
          <ac:chgData name="Koksrud Andreas" userId="9d9beba6-c052-407a-8599-c781a677a996" providerId="ADAL" clId="{4C03B8BE-ED6C-47DA-A194-101B46B7832B}" dt="2024-02-01T11:39:15.629" v="5670"/>
          <ac:spMkLst>
            <pc:docMk/>
            <pc:sldMk cId="3576402817" sldId="886"/>
            <ac:spMk id="8" creationId="{8B49BB3F-78D2-24EB-5080-98F42764BE7B}"/>
          </ac:spMkLst>
        </pc:spChg>
        <pc:spChg chg="mod">
          <ac:chgData name="Koksrud Andreas" userId="9d9beba6-c052-407a-8599-c781a677a996" providerId="ADAL" clId="{4C03B8BE-ED6C-47DA-A194-101B46B7832B}" dt="2024-01-29T12:03:33.267" v="3697" actId="1076"/>
          <ac:spMkLst>
            <pc:docMk/>
            <pc:sldMk cId="3576402817" sldId="886"/>
            <ac:spMk id="10" creationId="{C9F1839B-EE6E-E7E4-F70B-2494C6EEA738}"/>
          </ac:spMkLst>
        </pc:spChg>
        <pc:spChg chg="mod">
          <ac:chgData name="Koksrud Andreas" userId="9d9beba6-c052-407a-8599-c781a677a996" providerId="ADAL" clId="{4C03B8BE-ED6C-47DA-A194-101B46B7832B}" dt="2024-01-29T09:57:34.367" v="3309" actId="20577"/>
          <ac:spMkLst>
            <pc:docMk/>
            <pc:sldMk cId="3576402817" sldId="886"/>
            <ac:spMk id="14" creationId="{C85A9E99-AA4E-C194-FF2A-6C5AC5C1CF94}"/>
          </ac:spMkLst>
        </pc:spChg>
        <pc:spChg chg="mod">
          <ac:chgData name="Koksrud Andreas" userId="9d9beba6-c052-407a-8599-c781a677a996" providerId="ADAL" clId="{4C03B8BE-ED6C-47DA-A194-101B46B7832B}" dt="2024-01-29T09:56:17.588" v="3250"/>
          <ac:spMkLst>
            <pc:docMk/>
            <pc:sldMk cId="3576402817" sldId="886"/>
            <ac:spMk id="180" creationId="{00000000-0000-0000-0000-000000000000}"/>
          </ac:spMkLst>
        </pc:spChg>
        <pc:picChg chg="add del mod modCrop">
          <ac:chgData name="Koksrud Andreas" userId="9d9beba6-c052-407a-8599-c781a677a996" providerId="ADAL" clId="{4C03B8BE-ED6C-47DA-A194-101B46B7832B}" dt="2024-01-29T09:59:34.862" v="3311" actId="478"/>
          <ac:picMkLst>
            <pc:docMk/>
            <pc:sldMk cId="3576402817" sldId="886"/>
            <ac:picMk id="3" creationId="{EB0CB1A8-9E23-6334-ECF9-83B49D9254D9}"/>
          </ac:picMkLst>
        </pc:picChg>
        <pc:picChg chg="del">
          <ac:chgData name="Koksrud Andreas" userId="9d9beba6-c052-407a-8599-c781a677a996" providerId="ADAL" clId="{4C03B8BE-ED6C-47DA-A194-101B46B7832B}" dt="2024-01-29T09:56:41.640" v="3272" actId="478"/>
          <ac:picMkLst>
            <pc:docMk/>
            <pc:sldMk cId="3576402817" sldId="886"/>
            <ac:picMk id="4" creationId="{7BDC5772-0E1E-7DA1-3B0B-D00C8D502DD1}"/>
          </ac:picMkLst>
        </pc:picChg>
        <pc:picChg chg="add del mod modCrop">
          <ac:chgData name="Koksrud Andreas" userId="9d9beba6-c052-407a-8599-c781a677a996" providerId="ADAL" clId="{4C03B8BE-ED6C-47DA-A194-101B46B7832B}" dt="2024-01-29T11:58:54.748" v="3508" actId="478"/>
          <ac:picMkLst>
            <pc:docMk/>
            <pc:sldMk cId="3576402817" sldId="886"/>
            <ac:picMk id="6" creationId="{45DF883E-173F-4123-4BC5-054C4DDB9063}"/>
          </ac:picMkLst>
        </pc:picChg>
        <pc:picChg chg="add mod">
          <ac:chgData name="Koksrud Andreas" userId="9d9beba6-c052-407a-8599-c781a677a996" providerId="ADAL" clId="{4C03B8BE-ED6C-47DA-A194-101B46B7832B}" dt="2024-01-29T11:59:22.251" v="3511" actId="14100"/>
          <ac:picMkLst>
            <pc:docMk/>
            <pc:sldMk cId="3576402817" sldId="886"/>
            <ac:picMk id="9" creationId="{72E1563B-B52F-6FDF-09C6-284E6A5AA681}"/>
          </ac:picMkLst>
        </pc:picChg>
      </pc:sldChg>
      <pc:sldChg chg="addSp delSp modSp add mod">
        <pc:chgData name="Koksrud Andreas" userId="9d9beba6-c052-407a-8599-c781a677a996" providerId="ADAL" clId="{4C03B8BE-ED6C-47DA-A194-101B46B7832B}" dt="2024-01-29T12:12:53.510" v="4065" actId="1076"/>
        <pc:sldMkLst>
          <pc:docMk/>
          <pc:sldMk cId="3284537785" sldId="887"/>
        </pc:sldMkLst>
        <pc:spChg chg="add mod">
          <ac:chgData name="Koksrud Andreas" userId="9d9beba6-c052-407a-8599-c781a677a996" providerId="ADAL" clId="{4C03B8BE-ED6C-47DA-A194-101B46B7832B}" dt="2024-01-29T12:11:43.819" v="4055" actId="14100"/>
          <ac:spMkLst>
            <pc:docMk/>
            <pc:sldMk cId="3284537785" sldId="887"/>
            <ac:spMk id="9" creationId="{EFC123DA-368B-523C-862E-4A6A4979C3EF}"/>
          </ac:spMkLst>
        </pc:spChg>
        <pc:spChg chg="mod">
          <ac:chgData name="Koksrud Andreas" userId="9d9beba6-c052-407a-8599-c781a677a996" providerId="ADAL" clId="{4C03B8BE-ED6C-47DA-A194-101B46B7832B}" dt="2024-01-29T10:50:33.089" v="3494" actId="20577"/>
          <ac:spMkLst>
            <pc:docMk/>
            <pc:sldMk cId="3284537785" sldId="887"/>
            <ac:spMk id="14" creationId="{C85A9E99-AA4E-C194-FF2A-6C5AC5C1CF94}"/>
          </ac:spMkLst>
        </pc:spChg>
        <pc:picChg chg="add mod">
          <ac:chgData name="Koksrud Andreas" userId="9d9beba6-c052-407a-8599-c781a677a996" providerId="ADAL" clId="{4C03B8BE-ED6C-47DA-A194-101B46B7832B}" dt="2024-01-29T11:58:01.086" v="3503" actId="1076"/>
          <ac:picMkLst>
            <pc:docMk/>
            <pc:sldMk cId="3284537785" sldId="887"/>
            <ac:picMk id="3" creationId="{026DC4B7-D053-C4E2-7212-75547ADA839F}"/>
          </ac:picMkLst>
        </pc:picChg>
        <pc:picChg chg="add mod">
          <ac:chgData name="Koksrud Andreas" userId="9d9beba6-c052-407a-8599-c781a677a996" providerId="ADAL" clId="{4C03B8BE-ED6C-47DA-A194-101B46B7832B}" dt="2024-01-29T11:58:22.968" v="3507" actId="1076"/>
          <ac:picMkLst>
            <pc:docMk/>
            <pc:sldMk cId="3284537785" sldId="887"/>
            <ac:picMk id="5" creationId="{0AB29AEB-95F5-5B42-0691-EF98378B1408}"/>
          </ac:picMkLst>
        </pc:picChg>
        <pc:picChg chg="del">
          <ac:chgData name="Koksrud Andreas" userId="9d9beba6-c052-407a-8599-c781a677a996" providerId="ADAL" clId="{4C03B8BE-ED6C-47DA-A194-101B46B7832B}" dt="2024-01-29T10:50:46.944" v="3498" actId="478"/>
          <ac:picMkLst>
            <pc:docMk/>
            <pc:sldMk cId="3284537785" sldId="887"/>
            <ac:picMk id="6" creationId="{BEB21C7F-CB78-0F59-91FA-B56DF7F68DD3}"/>
          </ac:picMkLst>
        </pc:picChg>
        <pc:picChg chg="del">
          <ac:chgData name="Koksrud Andreas" userId="9d9beba6-c052-407a-8599-c781a677a996" providerId="ADAL" clId="{4C03B8BE-ED6C-47DA-A194-101B46B7832B}" dt="2024-01-29T10:50:38.732" v="3495" actId="478"/>
          <ac:picMkLst>
            <pc:docMk/>
            <pc:sldMk cId="3284537785" sldId="887"/>
            <ac:picMk id="8" creationId="{22D15649-EB40-AFC3-C64C-2698F1E6551F}"/>
          </ac:picMkLst>
        </pc:picChg>
        <pc:picChg chg="del">
          <ac:chgData name="Koksrud Andreas" userId="9d9beba6-c052-407a-8599-c781a677a996" providerId="ADAL" clId="{4C03B8BE-ED6C-47DA-A194-101B46B7832B}" dt="2024-01-29T10:50:53.654" v="3500" actId="478"/>
          <ac:picMkLst>
            <pc:docMk/>
            <pc:sldMk cId="3284537785" sldId="887"/>
            <ac:picMk id="10" creationId="{84F62417-06FE-68E2-C753-F99AAD7C41F7}"/>
          </ac:picMkLst>
        </pc:picChg>
        <pc:picChg chg="del">
          <ac:chgData name="Koksrud Andreas" userId="9d9beba6-c052-407a-8599-c781a677a996" providerId="ADAL" clId="{4C03B8BE-ED6C-47DA-A194-101B46B7832B}" dt="2024-01-29T10:50:39.615" v="3496" actId="478"/>
          <ac:picMkLst>
            <pc:docMk/>
            <pc:sldMk cId="3284537785" sldId="887"/>
            <ac:picMk id="12" creationId="{F1958D03-ADAB-F329-32D4-20D39A9C14FE}"/>
          </ac:picMkLst>
        </pc:picChg>
        <pc:picChg chg="mod">
          <ac:chgData name="Koksrud Andreas" userId="9d9beba6-c052-407a-8599-c781a677a996" providerId="ADAL" clId="{4C03B8BE-ED6C-47DA-A194-101B46B7832B}" dt="2024-01-29T10:50:51.385" v="3499" actId="1076"/>
          <ac:picMkLst>
            <pc:docMk/>
            <pc:sldMk cId="3284537785" sldId="887"/>
            <ac:picMk id="15" creationId="{ED0505E0-14BA-25EC-7C1F-046AE8189CAA}"/>
          </ac:picMkLst>
        </pc:picChg>
        <pc:picChg chg="add del mod">
          <ac:chgData name="Koksrud Andreas" userId="9d9beba6-c052-407a-8599-c781a677a996" providerId="ADAL" clId="{4C03B8BE-ED6C-47DA-A194-101B46B7832B}" dt="2024-01-29T12:12:18.985" v="4059" actId="478"/>
          <ac:picMkLst>
            <pc:docMk/>
            <pc:sldMk cId="3284537785" sldId="887"/>
            <ac:picMk id="19" creationId="{CBE49F31-85BC-A3AD-E2AF-E5248C925C22}"/>
          </ac:picMkLst>
        </pc:picChg>
        <pc:picChg chg="add mod">
          <ac:chgData name="Koksrud Andreas" userId="9d9beba6-c052-407a-8599-c781a677a996" providerId="ADAL" clId="{4C03B8BE-ED6C-47DA-A194-101B46B7832B}" dt="2024-01-29T12:12:29.767" v="4061" actId="1076"/>
          <ac:picMkLst>
            <pc:docMk/>
            <pc:sldMk cId="3284537785" sldId="887"/>
            <ac:picMk id="22" creationId="{8ACAA37B-FFDA-4016-97DB-E65BF1DBA167}"/>
          </ac:picMkLst>
        </pc:picChg>
        <pc:picChg chg="add mod">
          <ac:chgData name="Koksrud Andreas" userId="9d9beba6-c052-407a-8599-c781a677a996" providerId="ADAL" clId="{4C03B8BE-ED6C-47DA-A194-101B46B7832B}" dt="2024-01-29T12:12:53.510" v="4065" actId="1076"/>
          <ac:picMkLst>
            <pc:docMk/>
            <pc:sldMk cId="3284537785" sldId="887"/>
            <ac:picMk id="27" creationId="{55BD2768-CAF4-2049-010A-6E303BB29335}"/>
          </ac:picMkLst>
        </pc:picChg>
        <pc:cxnChg chg="add mod">
          <ac:chgData name="Koksrud Andreas" userId="9d9beba6-c052-407a-8599-c781a677a996" providerId="ADAL" clId="{4C03B8BE-ED6C-47DA-A194-101B46B7832B}" dt="2024-01-29T12:11:37.528" v="4053" actId="14100"/>
          <ac:cxnSpMkLst>
            <pc:docMk/>
            <pc:sldMk cId="3284537785" sldId="887"/>
            <ac:cxnSpMk id="11" creationId="{C4668633-298B-7E3A-78CB-43F0D82E938F}"/>
          </ac:cxnSpMkLst>
        </pc:cxnChg>
        <pc:cxnChg chg="mod ord">
          <ac:chgData name="Koksrud Andreas" userId="9d9beba6-c052-407a-8599-c781a677a996" providerId="ADAL" clId="{4C03B8BE-ED6C-47DA-A194-101B46B7832B}" dt="2024-01-29T12:10:50.677" v="3983" actId="14100"/>
          <ac:cxnSpMkLst>
            <pc:docMk/>
            <pc:sldMk cId="3284537785" sldId="887"/>
            <ac:cxnSpMk id="16" creationId="{EF61D8B6-06B4-CEFD-955C-0180139E8D3B}"/>
          </ac:cxnSpMkLst>
        </pc:cxnChg>
        <pc:cxnChg chg="mod">
          <ac:chgData name="Koksrud Andreas" userId="9d9beba6-c052-407a-8599-c781a677a996" providerId="ADAL" clId="{4C03B8BE-ED6C-47DA-A194-101B46B7832B}" dt="2024-01-29T12:12:34.381" v="4063" actId="14100"/>
          <ac:cxnSpMkLst>
            <pc:docMk/>
            <pc:sldMk cId="3284537785" sldId="887"/>
            <ac:cxnSpMk id="18" creationId="{30D4B464-70C6-266E-8ACF-9371B6220F80}"/>
          </ac:cxnSpMkLst>
        </pc:cxnChg>
        <pc:cxnChg chg="del">
          <ac:chgData name="Koksrud Andreas" userId="9d9beba6-c052-407a-8599-c781a677a996" providerId="ADAL" clId="{4C03B8BE-ED6C-47DA-A194-101B46B7832B}" dt="2024-01-29T10:50:40.481" v="3497" actId="478"/>
          <ac:cxnSpMkLst>
            <pc:docMk/>
            <pc:sldMk cId="3284537785" sldId="887"/>
            <ac:cxnSpMk id="21" creationId="{C23A8225-0ADF-078A-FCF8-4E55376E5266}"/>
          </ac:cxnSpMkLst>
        </pc:cxnChg>
        <pc:cxnChg chg="del">
          <ac:chgData name="Koksrud Andreas" userId="9d9beba6-c052-407a-8599-c781a677a996" providerId="ADAL" clId="{4C03B8BE-ED6C-47DA-A194-101B46B7832B}" dt="2024-01-29T10:50:54.711" v="3501" actId="478"/>
          <ac:cxnSpMkLst>
            <pc:docMk/>
            <pc:sldMk cId="3284537785" sldId="887"/>
            <ac:cxnSpMk id="23" creationId="{9AFEC9A9-E90D-0057-FDEF-C121B721A6CD}"/>
          </ac:cxnSpMkLst>
        </pc:cxnChg>
      </pc:sldChg>
      <pc:sldChg chg="addSp delSp modSp add mod">
        <pc:chgData name="Koksrud Andreas" userId="9d9beba6-c052-407a-8599-c781a677a996" providerId="ADAL" clId="{4C03B8BE-ED6C-47DA-A194-101B46B7832B}" dt="2024-02-01T11:55:38.925" v="5821" actId="20577"/>
        <pc:sldMkLst>
          <pc:docMk/>
          <pc:sldMk cId="2194220150" sldId="888"/>
        </pc:sldMkLst>
        <pc:spChg chg="mod">
          <ac:chgData name="Koksrud Andreas" userId="9d9beba6-c052-407a-8599-c781a677a996" providerId="ADAL" clId="{4C03B8BE-ED6C-47DA-A194-101B46B7832B}" dt="2024-02-01T11:44:49.774" v="5687"/>
          <ac:spMkLst>
            <pc:docMk/>
            <pc:sldMk cId="2194220150" sldId="888"/>
            <ac:spMk id="8" creationId="{8B49BB3F-78D2-24EB-5080-98F42764BE7B}"/>
          </ac:spMkLst>
        </pc:spChg>
        <pc:spChg chg="mod">
          <ac:chgData name="Koksrud Andreas" userId="9d9beba6-c052-407a-8599-c781a677a996" providerId="ADAL" clId="{4C03B8BE-ED6C-47DA-A194-101B46B7832B}" dt="2024-01-29T12:02:20.330" v="3687" actId="20577"/>
          <ac:spMkLst>
            <pc:docMk/>
            <pc:sldMk cId="2194220150" sldId="888"/>
            <ac:spMk id="10" creationId="{C9F1839B-EE6E-E7E4-F70B-2494C6EEA738}"/>
          </ac:spMkLst>
        </pc:spChg>
        <pc:spChg chg="mod">
          <ac:chgData name="Koksrud Andreas" userId="9d9beba6-c052-407a-8599-c781a677a996" providerId="ADAL" clId="{4C03B8BE-ED6C-47DA-A194-101B46B7832B}" dt="2024-02-01T11:55:38.925" v="5821" actId="20577"/>
          <ac:spMkLst>
            <pc:docMk/>
            <pc:sldMk cId="2194220150" sldId="888"/>
            <ac:spMk id="14" creationId="{C85A9E99-AA4E-C194-FF2A-6C5AC5C1CF94}"/>
          </ac:spMkLst>
        </pc:spChg>
        <pc:picChg chg="add del mod">
          <ac:chgData name="Koksrud Andreas" userId="9d9beba6-c052-407a-8599-c781a677a996" providerId="ADAL" clId="{4C03B8BE-ED6C-47DA-A194-101B46B7832B}" dt="2024-02-01T11:44:56.024" v="5688" actId="478"/>
          <ac:picMkLst>
            <pc:docMk/>
            <pc:sldMk cId="2194220150" sldId="888"/>
            <ac:picMk id="3" creationId="{0FA6D940-354E-886A-D4BB-E091430EA83F}"/>
          </ac:picMkLst>
        </pc:picChg>
        <pc:picChg chg="add del mod modCrop">
          <ac:chgData name="Koksrud Andreas" userId="9d9beba6-c052-407a-8599-c781a677a996" providerId="ADAL" clId="{4C03B8BE-ED6C-47DA-A194-101B46B7832B}" dt="2024-01-29T12:04:30.831" v="3703" actId="478"/>
          <ac:picMkLst>
            <pc:docMk/>
            <pc:sldMk cId="2194220150" sldId="888"/>
            <ac:picMk id="3" creationId="{8CF01442-2E24-E1B5-C0C7-58DB4DB26D21}"/>
          </ac:picMkLst>
        </pc:picChg>
        <pc:picChg chg="add del mod">
          <ac:chgData name="Koksrud Andreas" userId="9d9beba6-c052-407a-8599-c781a677a996" providerId="ADAL" clId="{4C03B8BE-ED6C-47DA-A194-101B46B7832B}" dt="2024-01-29T12:07:12.925" v="3708" actId="478"/>
          <ac:picMkLst>
            <pc:docMk/>
            <pc:sldMk cId="2194220150" sldId="888"/>
            <ac:picMk id="5" creationId="{0612541D-1DA4-AA54-A884-1F6EB316D4C7}"/>
          </ac:picMkLst>
        </pc:picChg>
        <pc:picChg chg="add mod">
          <ac:chgData name="Koksrud Andreas" userId="9d9beba6-c052-407a-8599-c781a677a996" providerId="ADAL" clId="{4C03B8BE-ED6C-47DA-A194-101B46B7832B}" dt="2024-02-01T11:45:09.829" v="5690" actId="1076"/>
          <ac:picMkLst>
            <pc:docMk/>
            <pc:sldMk cId="2194220150" sldId="888"/>
            <ac:picMk id="5" creationId="{716C3E5D-4CDD-AE9D-9E42-8D36DDB9E3D3}"/>
          </ac:picMkLst>
        </pc:picChg>
        <pc:picChg chg="add del mod">
          <ac:chgData name="Koksrud Andreas" userId="9d9beba6-c052-407a-8599-c781a677a996" providerId="ADAL" clId="{4C03B8BE-ED6C-47DA-A194-101B46B7832B}" dt="2024-02-01T11:41:38.992" v="5681" actId="478"/>
          <ac:picMkLst>
            <pc:docMk/>
            <pc:sldMk cId="2194220150" sldId="888"/>
            <ac:picMk id="7" creationId="{75D6D44C-D94A-D7C3-1409-C21B9DFEA935}"/>
          </ac:picMkLst>
        </pc:picChg>
        <pc:picChg chg="del">
          <ac:chgData name="Koksrud Andreas" userId="9d9beba6-c052-407a-8599-c781a677a996" providerId="ADAL" clId="{4C03B8BE-ED6C-47DA-A194-101B46B7832B}" dt="2024-01-29T12:03:51.475" v="3698" actId="478"/>
          <ac:picMkLst>
            <pc:docMk/>
            <pc:sldMk cId="2194220150" sldId="888"/>
            <ac:picMk id="9" creationId="{72E1563B-B52F-6FDF-09C6-284E6A5AA681}"/>
          </ac:picMkLst>
        </pc:picChg>
      </pc:sldChg>
      <pc:sldChg chg="addSp delSp modSp add mod">
        <pc:chgData name="Koksrud Andreas" userId="9d9beba6-c052-407a-8599-c781a677a996" providerId="ADAL" clId="{4C03B8BE-ED6C-47DA-A194-101B46B7832B}" dt="2024-02-01T12:04:53.843" v="5825"/>
        <pc:sldMkLst>
          <pc:docMk/>
          <pc:sldMk cId="797114304" sldId="889"/>
        </pc:sldMkLst>
        <pc:spChg chg="add mod">
          <ac:chgData name="Koksrud Andreas" userId="9d9beba6-c052-407a-8599-c781a677a996" providerId="ADAL" clId="{4C03B8BE-ED6C-47DA-A194-101B46B7832B}" dt="2024-02-01T12:00:31.124" v="5824"/>
          <ac:spMkLst>
            <pc:docMk/>
            <pc:sldMk cId="797114304" sldId="889"/>
            <ac:spMk id="2" creationId="{5503726D-8EBC-EFFF-6644-1A3A6445E659}"/>
          </ac:spMkLst>
        </pc:spChg>
        <pc:spChg chg="add mod">
          <ac:chgData name="Koksrud Andreas" userId="9d9beba6-c052-407a-8599-c781a677a996" providerId="ADAL" clId="{4C03B8BE-ED6C-47DA-A194-101B46B7832B}" dt="2024-01-29T12:18:03.614" v="4169" actId="1076"/>
          <ac:spMkLst>
            <pc:docMk/>
            <pc:sldMk cId="797114304" sldId="889"/>
            <ac:spMk id="4" creationId="{59803E2A-4C22-9D2C-9B3B-8C03B60BBDE0}"/>
          </ac:spMkLst>
        </pc:spChg>
        <pc:spChg chg="add mod">
          <ac:chgData name="Koksrud Andreas" userId="9d9beba6-c052-407a-8599-c781a677a996" providerId="ADAL" clId="{4C03B8BE-ED6C-47DA-A194-101B46B7832B}" dt="2024-02-01T12:04:53.843" v="5825"/>
          <ac:spMkLst>
            <pc:docMk/>
            <pc:sldMk cId="797114304" sldId="889"/>
            <ac:spMk id="6" creationId="{9B819FC4-FB81-A79D-ED35-FDDCF5369757}"/>
          </ac:spMkLst>
        </pc:spChg>
        <pc:spChg chg="add mod">
          <ac:chgData name="Koksrud Andreas" userId="9d9beba6-c052-407a-8599-c781a677a996" providerId="ADAL" clId="{4C03B8BE-ED6C-47DA-A194-101B46B7832B}" dt="2024-01-29T12:18:19.887" v="4180" actId="20577"/>
          <ac:spMkLst>
            <pc:docMk/>
            <pc:sldMk cId="797114304" sldId="889"/>
            <ac:spMk id="7" creationId="{E1AC20B4-4658-35FB-D8C3-D5428CC02ACF}"/>
          </ac:spMkLst>
        </pc:spChg>
        <pc:spChg chg="del mod">
          <ac:chgData name="Koksrud Andreas" userId="9d9beba6-c052-407a-8599-c781a677a996" providerId="ADAL" clId="{4C03B8BE-ED6C-47DA-A194-101B46B7832B}" dt="2024-01-29T12:17:22.097" v="4161" actId="478"/>
          <ac:spMkLst>
            <pc:docMk/>
            <pc:sldMk cId="797114304" sldId="889"/>
            <ac:spMk id="9" creationId="{EFC123DA-368B-523C-862E-4A6A4979C3EF}"/>
          </ac:spMkLst>
        </pc:spChg>
        <pc:spChg chg="mod">
          <ac:chgData name="Koksrud Andreas" userId="9d9beba6-c052-407a-8599-c781a677a996" providerId="ADAL" clId="{4C03B8BE-ED6C-47DA-A194-101B46B7832B}" dt="2024-01-29T12:17:13.954" v="4154" actId="20577"/>
          <ac:spMkLst>
            <pc:docMk/>
            <pc:sldMk cId="797114304" sldId="889"/>
            <ac:spMk id="14" creationId="{C85A9E99-AA4E-C194-FF2A-6C5AC5C1CF94}"/>
          </ac:spMkLst>
        </pc:spChg>
        <pc:picChg chg="del">
          <ac:chgData name="Koksrud Andreas" userId="9d9beba6-c052-407a-8599-c781a677a996" providerId="ADAL" clId="{4C03B8BE-ED6C-47DA-A194-101B46B7832B}" dt="2024-01-29T12:17:16.052" v="4155" actId="478"/>
          <ac:picMkLst>
            <pc:docMk/>
            <pc:sldMk cId="797114304" sldId="889"/>
            <ac:picMk id="3" creationId="{026DC4B7-D053-C4E2-7212-75547ADA839F}"/>
          </ac:picMkLst>
        </pc:picChg>
        <pc:picChg chg="del">
          <ac:chgData name="Koksrud Andreas" userId="9d9beba6-c052-407a-8599-c781a677a996" providerId="ADAL" clId="{4C03B8BE-ED6C-47DA-A194-101B46B7832B}" dt="2024-01-29T12:17:23.722" v="4163" actId="478"/>
          <ac:picMkLst>
            <pc:docMk/>
            <pc:sldMk cId="797114304" sldId="889"/>
            <ac:picMk id="5" creationId="{0AB29AEB-95F5-5B42-0691-EF98378B1408}"/>
          </ac:picMkLst>
        </pc:picChg>
        <pc:picChg chg="del">
          <ac:chgData name="Koksrud Andreas" userId="9d9beba6-c052-407a-8599-c781a677a996" providerId="ADAL" clId="{4C03B8BE-ED6C-47DA-A194-101B46B7832B}" dt="2024-01-29T12:17:20.525" v="4160" actId="478"/>
          <ac:picMkLst>
            <pc:docMk/>
            <pc:sldMk cId="797114304" sldId="889"/>
            <ac:picMk id="15" creationId="{ED0505E0-14BA-25EC-7C1F-046AE8189CAA}"/>
          </ac:picMkLst>
        </pc:picChg>
        <pc:picChg chg="del">
          <ac:chgData name="Koksrud Andreas" userId="9d9beba6-c052-407a-8599-c781a677a996" providerId="ADAL" clId="{4C03B8BE-ED6C-47DA-A194-101B46B7832B}" dt="2024-01-29T12:17:24.283" v="4164" actId="478"/>
          <ac:picMkLst>
            <pc:docMk/>
            <pc:sldMk cId="797114304" sldId="889"/>
            <ac:picMk id="22" creationId="{8ACAA37B-FFDA-4016-97DB-E65BF1DBA167}"/>
          </ac:picMkLst>
        </pc:picChg>
        <pc:picChg chg="del">
          <ac:chgData name="Koksrud Andreas" userId="9d9beba6-c052-407a-8599-c781a677a996" providerId="ADAL" clId="{4C03B8BE-ED6C-47DA-A194-101B46B7832B}" dt="2024-01-29T12:17:23.017" v="4162" actId="478"/>
          <ac:picMkLst>
            <pc:docMk/>
            <pc:sldMk cId="797114304" sldId="889"/>
            <ac:picMk id="27" creationId="{55BD2768-CAF4-2049-010A-6E303BB29335}"/>
          </ac:picMkLst>
        </pc:picChg>
        <pc:cxnChg chg="del">
          <ac:chgData name="Koksrud Andreas" userId="9d9beba6-c052-407a-8599-c781a677a996" providerId="ADAL" clId="{4C03B8BE-ED6C-47DA-A194-101B46B7832B}" dt="2024-01-29T12:17:17.457" v="4156" actId="478"/>
          <ac:cxnSpMkLst>
            <pc:docMk/>
            <pc:sldMk cId="797114304" sldId="889"/>
            <ac:cxnSpMk id="11" creationId="{C4668633-298B-7E3A-78CB-43F0D82E938F}"/>
          </ac:cxnSpMkLst>
        </pc:cxnChg>
        <pc:cxnChg chg="del">
          <ac:chgData name="Koksrud Andreas" userId="9d9beba6-c052-407a-8599-c781a677a996" providerId="ADAL" clId="{4C03B8BE-ED6C-47DA-A194-101B46B7832B}" dt="2024-01-29T12:17:19.556" v="4159" actId="478"/>
          <ac:cxnSpMkLst>
            <pc:docMk/>
            <pc:sldMk cId="797114304" sldId="889"/>
            <ac:cxnSpMk id="16" creationId="{EF61D8B6-06B4-CEFD-955C-0180139E8D3B}"/>
          </ac:cxnSpMkLst>
        </pc:cxnChg>
        <pc:cxnChg chg="del mod">
          <ac:chgData name="Koksrud Andreas" userId="9d9beba6-c052-407a-8599-c781a677a996" providerId="ADAL" clId="{4C03B8BE-ED6C-47DA-A194-101B46B7832B}" dt="2024-01-29T12:17:25.073" v="4165" actId="478"/>
          <ac:cxnSpMkLst>
            <pc:docMk/>
            <pc:sldMk cId="797114304" sldId="889"/>
            <ac:cxnSpMk id="18" creationId="{30D4B464-70C6-266E-8ACF-9371B6220F80}"/>
          </ac:cxnSpMkLst>
        </pc:cxnChg>
      </pc:sldChg>
      <pc:sldChg chg="addSp delSp modSp add mod">
        <pc:chgData name="Koksrud Andreas" userId="9d9beba6-c052-407a-8599-c781a677a996" providerId="ADAL" clId="{4C03B8BE-ED6C-47DA-A194-101B46B7832B}" dt="2024-02-01T12:14:09.843" v="6063"/>
        <pc:sldMkLst>
          <pc:docMk/>
          <pc:sldMk cId="2383107090" sldId="890"/>
        </pc:sldMkLst>
        <pc:spChg chg="mod">
          <ac:chgData name="Koksrud Andreas" userId="9d9beba6-c052-407a-8599-c781a677a996" providerId="ADAL" clId="{4C03B8BE-ED6C-47DA-A194-101B46B7832B}" dt="2024-02-01T12:14:09.843" v="6063"/>
          <ac:spMkLst>
            <pc:docMk/>
            <pc:sldMk cId="2383107090" sldId="890"/>
            <ac:spMk id="2" creationId="{5E55E3D2-6C00-507E-E67D-B1585416A7DA}"/>
          </ac:spMkLst>
        </pc:spChg>
        <pc:spChg chg="del">
          <ac:chgData name="Koksrud Andreas" userId="9d9beba6-c052-407a-8599-c781a677a996" providerId="ADAL" clId="{4C03B8BE-ED6C-47DA-A194-101B46B7832B}" dt="2024-02-01T12:11:46.171" v="5854" actId="478"/>
          <ac:spMkLst>
            <pc:docMk/>
            <pc:sldMk cId="2383107090" sldId="890"/>
            <ac:spMk id="3" creationId="{F8C25FDC-57EE-1DDE-CCC5-273A2149FEAB}"/>
          </ac:spMkLst>
        </pc:spChg>
        <pc:spChg chg="mod">
          <ac:chgData name="Koksrud Andreas" userId="9d9beba6-c052-407a-8599-c781a677a996" providerId="ADAL" clId="{4C03B8BE-ED6C-47DA-A194-101B46B7832B}" dt="2024-02-01T12:11:35.829" v="5853" actId="20577"/>
          <ac:spMkLst>
            <pc:docMk/>
            <pc:sldMk cId="2383107090" sldId="890"/>
            <ac:spMk id="4" creationId="{C74185B4-55D0-B4EA-E65D-51F42B09D894}"/>
          </ac:spMkLst>
        </pc:spChg>
        <pc:spChg chg="mod">
          <ac:chgData name="Koksrud Andreas" userId="9d9beba6-c052-407a-8599-c781a677a996" providerId="ADAL" clId="{4C03B8BE-ED6C-47DA-A194-101B46B7832B}" dt="2024-02-01T12:13:22.205" v="6060" actId="14100"/>
          <ac:spMkLst>
            <pc:docMk/>
            <pc:sldMk cId="2383107090" sldId="890"/>
            <ac:spMk id="14" creationId="{C85A9E99-AA4E-C194-FF2A-6C5AC5C1CF94}"/>
          </ac:spMkLst>
        </pc:spChg>
        <pc:picChg chg="del">
          <ac:chgData name="Koksrud Andreas" userId="9d9beba6-c052-407a-8599-c781a677a996" providerId="ADAL" clId="{4C03B8BE-ED6C-47DA-A194-101B46B7832B}" dt="2024-02-01T12:11:59.224" v="5901" actId="478"/>
          <ac:picMkLst>
            <pc:docMk/>
            <pc:sldMk cId="2383107090" sldId="890"/>
            <ac:picMk id="6" creationId="{998758FD-0182-1EDB-7B67-96A720A202C7}"/>
          </ac:picMkLst>
        </pc:picChg>
        <pc:picChg chg="del">
          <ac:chgData name="Koksrud Andreas" userId="9d9beba6-c052-407a-8599-c781a677a996" providerId="ADAL" clId="{4C03B8BE-ED6C-47DA-A194-101B46B7832B}" dt="2024-02-01T12:12:00.061" v="5902" actId="478"/>
          <ac:picMkLst>
            <pc:docMk/>
            <pc:sldMk cId="2383107090" sldId="890"/>
            <ac:picMk id="7" creationId="{11B4A4CD-E3CE-7938-0B4C-0B09EDAE8B13}"/>
          </ac:picMkLst>
        </pc:picChg>
        <pc:picChg chg="add mod">
          <ac:chgData name="Koksrud Andreas" userId="9d9beba6-c052-407a-8599-c781a677a996" providerId="ADAL" clId="{4C03B8BE-ED6C-47DA-A194-101B46B7832B}" dt="2024-02-01T12:12:19.755" v="5904" actId="1076"/>
          <ac:picMkLst>
            <pc:docMk/>
            <pc:sldMk cId="2383107090" sldId="890"/>
            <ac:picMk id="8" creationId="{AFCFEB0C-E7C2-915D-818F-AE6A0D5A0D71}"/>
          </ac:picMkLst>
        </pc:picChg>
        <pc:picChg chg="add mod">
          <ac:chgData name="Koksrud Andreas" userId="9d9beba6-c052-407a-8599-c781a677a996" providerId="ADAL" clId="{4C03B8BE-ED6C-47DA-A194-101B46B7832B}" dt="2024-02-01T12:13:16.852" v="6059" actId="1076"/>
          <ac:picMkLst>
            <pc:docMk/>
            <pc:sldMk cId="2383107090" sldId="890"/>
            <ac:picMk id="10" creationId="{3BB93639-BF63-A841-C0AC-F6D0FEF58382}"/>
          </ac:picMkLst>
        </pc:picChg>
        <pc:picChg chg="add mod">
          <ac:chgData name="Koksrud Andreas" userId="9d9beba6-c052-407a-8599-c781a677a996" providerId="ADAL" clId="{4C03B8BE-ED6C-47DA-A194-101B46B7832B}" dt="2024-02-01T12:13:44.392" v="6062" actId="1076"/>
          <ac:picMkLst>
            <pc:docMk/>
            <pc:sldMk cId="2383107090" sldId="890"/>
            <ac:picMk id="12" creationId="{4280DDCB-B16B-49BF-C002-A91EFAB65D5C}"/>
          </ac:picMkLst>
        </pc:picChg>
      </pc:sldChg>
    </pc:docChg>
  </pc:docChgLst>
  <pc:docChgLst>
    <pc:chgData name="Koksrud Andreas" userId="9d9beba6-c052-407a-8599-c781a677a996" providerId="ADAL" clId="{E52AF215-E047-473C-8BD8-09C52860CC58}"/>
    <pc:docChg chg="undo redo custSel addSld delSld modSld sldOrd modSection">
      <pc:chgData name="Koksrud Andreas" userId="9d9beba6-c052-407a-8599-c781a677a996" providerId="ADAL" clId="{E52AF215-E047-473C-8BD8-09C52860CC58}" dt="2022-01-13T10:26:57.790" v="4189" actId="14100"/>
      <pc:docMkLst>
        <pc:docMk/>
      </pc:docMkLst>
      <pc:sldChg chg="addSp modSp mod">
        <pc:chgData name="Koksrud Andreas" userId="9d9beba6-c052-407a-8599-c781a677a996" providerId="ADAL" clId="{E52AF215-E047-473C-8BD8-09C52860CC58}" dt="2022-01-13T10:26:57.790" v="4189" actId="14100"/>
        <pc:sldMkLst>
          <pc:docMk/>
          <pc:sldMk cId="2087783305" sldId="730"/>
        </pc:sldMkLst>
        <pc:spChg chg="add mod">
          <ac:chgData name="Koksrud Andreas" userId="9d9beba6-c052-407a-8599-c781a677a996" providerId="ADAL" clId="{E52AF215-E047-473C-8BD8-09C52860CC58}" dt="2022-01-13T10:26:57.790" v="4189" actId="14100"/>
          <ac:spMkLst>
            <pc:docMk/>
            <pc:sldMk cId="2087783305" sldId="730"/>
            <ac:spMk id="2" creationId="{E83F8947-299D-4698-B80E-56B8E23125F0}"/>
          </ac:spMkLst>
        </pc:spChg>
      </pc:sldChg>
      <pc:sldChg chg="addSp delSp modSp mod ord">
        <pc:chgData name="Koksrud Andreas" userId="9d9beba6-c052-407a-8599-c781a677a996" providerId="ADAL" clId="{E52AF215-E047-473C-8BD8-09C52860CC58}" dt="2022-01-12T12:08:08.386" v="1047"/>
        <pc:sldMkLst>
          <pc:docMk/>
          <pc:sldMk cId="396736890" sldId="757"/>
        </pc:sldMkLst>
        <pc:spChg chg="add mod">
          <ac:chgData name="Koksrud Andreas" userId="9d9beba6-c052-407a-8599-c781a677a996" providerId="ADAL" clId="{E52AF215-E047-473C-8BD8-09C52860CC58}" dt="2022-01-12T08:39:45.652" v="17" actId="14100"/>
          <ac:spMkLst>
            <pc:docMk/>
            <pc:sldMk cId="396736890" sldId="757"/>
            <ac:spMk id="4" creationId="{2ECF3AB8-A6F7-4C86-8007-5158B60C6A0E}"/>
          </ac:spMkLst>
        </pc:spChg>
        <pc:spChg chg="add mod">
          <ac:chgData name="Koksrud Andreas" userId="9d9beba6-c052-407a-8599-c781a677a996" providerId="ADAL" clId="{E52AF215-E047-473C-8BD8-09C52860CC58}" dt="2022-01-12T08:40:34.298" v="23" actId="14100"/>
          <ac:spMkLst>
            <pc:docMk/>
            <pc:sldMk cId="396736890" sldId="757"/>
            <ac:spMk id="7" creationId="{6068465B-FC64-4B96-946D-409C1A0164D1}"/>
          </ac:spMkLst>
        </pc:spChg>
        <pc:spChg chg="add mod">
          <ac:chgData name="Koksrud Andreas" userId="9d9beba6-c052-407a-8599-c781a677a996" providerId="ADAL" clId="{E52AF215-E047-473C-8BD8-09C52860CC58}" dt="2022-01-12T08:41:22.154" v="34" actId="1076"/>
          <ac:spMkLst>
            <pc:docMk/>
            <pc:sldMk cId="396736890" sldId="757"/>
            <ac:spMk id="10" creationId="{B8AD7035-B1E6-4BAC-809E-880AE16677EC}"/>
          </ac:spMkLst>
        </pc:spChg>
        <pc:spChg chg="add mod">
          <ac:chgData name="Koksrud Andreas" userId="9d9beba6-c052-407a-8599-c781a677a996" providerId="ADAL" clId="{E52AF215-E047-473C-8BD8-09C52860CC58}" dt="2022-01-12T08:41:31.142" v="46" actId="20577"/>
          <ac:spMkLst>
            <pc:docMk/>
            <pc:sldMk cId="396736890" sldId="757"/>
            <ac:spMk id="15" creationId="{C9C592CD-35F0-4396-97D0-9E7728F1C86D}"/>
          </ac:spMkLst>
        </pc:spChg>
        <pc:spChg chg="del mod">
          <ac:chgData name="Koksrud Andreas" userId="9d9beba6-c052-407a-8599-c781a677a996" providerId="ADAL" clId="{E52AF215-E047-473C-8BD8-09C52860CC58}" dt="2022-01-12T08:38:49.128" v="11" actId="931"/>
          <ac:spMkLst>
            <pc:docMk/>
            <pc:sldMk cId="396736890" sldId="757"/>
            <ac:spMk id="181" creationId="{00000000-0000-0000-0000-000000000000}"/>
          </ac:spMkLst>
        </pc:spChg>
        <pc:picChg chg="add mod">
          <ac:chgData name="Koksrud Andreas" userId="9d9beba6-c052-407a-8599-c781a677a996" providerId="ADAL" clId="{E52AF215-E047-473C-8BD8-09C52860CC58}" dt="2022-01-12T08:38:51.626" v="13" actId="962"/>
          <ac:picMkLst>
            <pc:docMk/>
            <pc:sldMk cId="396736890" sldId="757"/>
            <ac:picMk id="3" creationId="{21988043-E318-4771-B6B5-07823EFDB4E4}"/>
          </ac:picMkLst>
        </pc:picChg>
        <pc:cxnChg chg="add">
          <ac:chgData name="Koksrud Andreas" userId="9d9beba6-c052-407a-8599-c781a677a996" providerId="ADAL" clId="{E52AF215-E047-473C-8BD8-09C52860CC58}" dt="2022-01-12T08:39:53.460" v="18" actId="11529"/>
          <ac:cxnSpMkLst>
            <pc:docMk/>
            <pc:sldMk cId="396736890" sldId="757"/>
            <ac:cxnSpMk id="6" creationId="{277973A1-4F9D-496B-AED6-59A78234FF48}"/>
          </ac:cxnSpMkLst>
        </pc:cxnChg>
        <pc:cxnChg chg="add mod">
          <ac:chgData name="Koksrud Andreas" userId="9d9beba6-c052-407a-8599-c781a677a996" providerId="ADAL" clId="{E52AF215-E047-473C-8BD8-09C52860CC58}" dt="2022-01-12T08:40:46.264" v="25" actId="208"/>
          <ac:cxnSpMkLst>
            <pc:docMk/>
            <pc:sldMk cId="396736890" sldId="757"/>
            <ac:cxnSpMk id="9" creationId="{9ECF109E-52D4-4978-8BB7-265D06CCB3E5}"/>
          </ac:cxnSpMkLst>
        </pc:cxnChg>
      </pc:sldChg>
      <pc:sldChg chg="addSp modSp mod">
        <pc:chgData name="Koksrud Andreas" userId="9d9beba6-c052-407a-8599-c781a677a996" providerId="ADAL" clId="{E52AF215-E047-473C-8BD8-09C52860CC58}" dt="2022-01-12T12:10:17.606" v="1339" actId="20577"/>
        <pc:sldMkLst>
          <pc:docMk/>
          <pc:sldMk cId="2706780473" sldId="758"/>
        </pc:sldMkLst>
        <pc:spChg chg="mod">
          <ac:chgData name="Koksrud Andreas" userId="9d9beba6-c052-407a-8599-c781a677a996" providerId="ADAL" clId="{E52AF215-E047-473C-8BD8-09C52860CC58}" dt="2022-01-12T12:10:17.606" v="1339" actId="20577"/>
          <ac:spMkLst>
            <pc:docMk/>
            <pc:sldMk cId="2706780473" sldId="758"/>
            <ac:spMk id="181" creationId="{00000000-0000-0000-0000-000000000000}"/>
          </ac:spMkLst>
        </pc:spChg>
        <pc:picChg chg="add mod">
          <ac:chgData name="Koksrud Andreas" userId="9d9beba6-c052-407a-8599-c781a677a996" providerId="ADAL" clId="{E52AF215-E047-473C-8BD8-09C52860CC58}" dt="2022-01-12T08:44:59.950" v="54" actId="1076"/>
          <ac:picMkLst>
            <pc:docMk/>
            <pc:sldMk cId="2706780473" sldId="758"/>
            <ac:picMk id="3" creationId="{9A4F60DB-38C2-4322-B7FD-3CDD7A15BA61}"/>
          </ac:picMkLst>
        </pc:picChg>
        <pc:picChg chg="add mod">
          <ac:chgData name="Koksrud Andreas" userId="9d9beba6-c052-407a-8599-c781a677a996" providerId="ADAL" clId="{E52AF215-E047-473C-8BD8-09C52860CC58}" dt="2022-01-12T08:45:15.197" v="58" actId="1076"/>
          <ac:picMkLst>
            <pc:docMk/>
            <pc:sldMk cId="2706780473" sldId="758"/>
            <ac:picMk id="5" creationId="{EA70B1F3-5CEC-4C91-8923-4D40B843C66B}"/>
          </ac:picMkLst>
        </pc:picChg>
        <pc:picChg chg="add mod">
          <ac:chgData name="Koksrud Andreas" userId="9d9beba6-c052-407a-8599-c781a677a996" providerId="ADAL" clId="{E52AF215-E047-473C-8BD8-09C52860CC58}" dt="2022-01-12T08:45:41.858" v="63" actId="14100"/>
          <ac:picMkLst>
            <pc:docMk/>
            <pc:sldMk cId="2706780473" sldId="758"/>
            <ac:picMk id="7" creationId="{8A94A3F5-9711-4AA2-8D04-71D3F65CDE42}"/>
          </ac:picMkLst>
        </pc:picChg>
      </pc:sldChg>
      <pc:sldChg chg="addSp delSp modSp mod">
        <pc:chgData name="Koksrud Andreas" userId="9d9beba6-c052-407a-8599-c781a677a996" providerId="ADAL" clId="{E52AF215-E047-473C-8BD8-09C52860CC58}" dt="2022-01-12T12:20:45.847" v="1409" actId="14100"/>
        <pc:sldMkLst>
          <pc:docMk/>
          <pc:sldMk cId="2616277657" sldId="759"/>
        </pc:sldMkLst>
        <pc:spChg chg="mod">
          <ac:chgData name="Koksrud Andreas" userId="9d9beba6-c052-407a-8599-c781a677a996" providerId="ADAL" clId="{E52AF215-E047-473C-8BD8-09C52860CC58}" dt="2022-01-12T12:20:06.139" v="1402" actId="14100"/>
          <ac:spMkLst>
            <pc:docMk/>
            <pc:sldMk cId="2616277657" sldId="759"/>
            <ac:spMk id="181" creationId="{00000000-0000-0000-0000-000000000000}"/>
          </ac:spMkLst>
        </pc:spChg>
        <pc:picChg chg="add del mod">
          <ac:chgData name="Koksrud Andreas" userId="9d9beba6-c052-407a-8599-c781a677a996" providerId="ADAL" clId="{E52AF215-E047-473C-8BD8-09C52860CC58}" dt="2022-01-12T12:20:06.824" v="1403"/>
          <ac:picMkLst>
            <pc:docMk/>
            <pc:sldMk cId="2616277657" sldId="759"/>
            <ac:picMk id="2050" creationId="{E78CBB7E-232F-41AE-BDF4-2907F5FD8D4E}"/>
          </ac:picMkLst>
        </pc:picChg>
        <pc:picChg chg="add mod">
          <ac:chgData name="Koksrud Andreas" userId="9d9beba6-c052-407a-8599-c781a677a996" providerId="ADAL" clId="{E52AF215-E047-473C-8BD8-09C52860CC58}" dt="2022-01-12T12:20:45.847" v="1409" actId="14100"/>
          <ac:picMkLst>
            <pc:docMk/>
            <pc:sldMk cId="2616277657" sldId="759"/>
            <ac:picMk id="2051" creationId="{8FDAD706-7A75-43E1-A8A2-A644094295A6}"/>
          </ac:picMkLst>
        </pc:picChg>
      </pc:sldChg>
      <pc:sldChg chg="modSp mod">
        <pc:chgData name="Koksrud Andreas" userId="9d9beba6-c052-407a-8599-c781a677a996" providerId="ADAL" clId="{E52AF215-E047-473C-8BD8-09C52860CC58}" dt="2022-01-13T10:24:33.732" v="4121" actId="20577"/>
        <pc:sldMkLst>
          <pc:docMk/>
          <pc:sldMk cId="1725751202" sldId="760"/>
        </pc:sldMkLst>
        <pc:spChg chg="mod">
          <ac:chgData name="Koksrud Andreas" userId="9d9beba6-c052-407a-8599-c781a677a996" providerId="ADAL" clId="{E52AF215-E047-473C-8BD8-09C52860CC58}" dt="2022-01-13T10:24:33.732" v="4121" actId="20577"/>
          <ac:spMkLst>
            <pc:docMk/>
            <pc:sldMk cId="1725751202" sldId="760"/>
            <ac:spMk id="181" creationId="{00000000-0000-0000-0000-000000000000}"/>
          </ac:spMkLst>
        </pc:spChg>
      </pc:sldChg>
      <pc:sldChg chg="addSp modSp mod">
        <pc:chgData name="Koksrud Andreas" userId="9d9beba6-c052-407a-8599-c781a677a996" providerId="ADAL" clId="{E52AF215-E047-473C-8BD8-09C52860CC58}" dt="2022-01-12T13:17:33.703" v="2036" actId="962"/>
        <pc:sldMkLst>
          <pc:docMk/>
          <pc:sldMk cId="1019764475" sldId="761"/>
        </pc:sldMkLst>
        <pc:spChg chg="mod">
          <ac:chgData name="Koksrud Andreas" userId="9d9beba6-c052-407a-8599-c781a677a996" providerId="ADAL" clId="{E52AF215-E047-473C-8BD8-09C52860CC58}" dt="2022-01-12T13:17:08.891" v="2031" actId="5793"/>
          <ac:spMkLst>
            <pc:docMk/>
            <pc:sldMk cId="1019764475" sldId="761"/>
            <ac:spMk id="181" creationId="{00000000-0000-0000-0000-000000000000}"/>
          </ac:spMkLst>
        </pc:spChg>
        <pc:picChg chg="add mod">
          <ac:chgData name="Koksrud Andreas" userId="9d9beba6-c052-407a-8599-c781a677a996" providerId="ADAL" clId="{E52AF215-E047-473C-8BD8-09C52860CC58}" dt="2022-01-12T13:17:12.709" v="2032" actId="1076"/>
          <ac:picMkLst>
            <pc:docMk/>
            <pc:sldMk cId="1019764475" sldId="761"/>
            <ac:picMk id="3" creationId="{2C264051-1B5B-441B-9E81-2D5D65FB9DEB}"/>
          </ac:picMkLst>
        </pc:picChg>
        <pc:picChg chg="add mod">
          <ac:chgData name="Koksrud Andreas" userId="9d9beba6-c052-407a-8599-c781a677a996" providerId="ADAL" clId="{E52AF215-E047-473C-8BD8-09C52860CC58}" dt="2022-01-12T13:17:33.703" v="2036" actId="962"/>
          <ac:picMkLst>
            <pc:docMk/>
            <pc:sldMk cId="1019764475" sldId="761"/>
            <ac:picMk id="5" creationId="{DF3FF874-F6AA-4745-A042-751C31DA95D6}"/>
          </ac:picMkLst>
        </pc:picChg>
      </pc:sldChg>
      <pc:sldChg chg="addSp delSp modSp del mod">
        <pc:chgData name="Koksrud Andreas" userId="9d9beba6-c052-407a-8599-c781a677a996" providerId="ADAL" clId="{E52AF215-E047-473C-8BD8-09C52860CC58}" dt="2022-01-13T09:59:47.838" v="3775" actId="2696"/>
        <pc:sldMkLst>
          <pc:docMk/>
          <pc:sldMk cId="451449259" sldId="762"/>
        </pc:sldMkLst>
        <pc:spChg chg="add mod">
          <ac:chgData name="Koksrud Andreas" userId="9d9beba6-c052-407a-8599-c781a677a996" providerId="ADAL" clId="{E52AF215-E047-473C-8BD8-09C52860CC58}" dt="2022-01-13T07:11:15.908" v="2323" actId="14100"/>
          <ac:spMkLst>
            <pc:docMk/>
            <pc:sldMk cId="451449259" sldId="762"/>
            <ac:spMk id="8" creationId="{74288132-6639-4707-A447-EE938C7DA128}"/>
          </ac:spMkLst>
        </pc:spChg>
        <pc:spChg chg="add mod">
          <ac:chgData name="Koksrud Andreas" userId="9d9beba6-c052-407a-8599-c781a677a996" providerId="ADAL" clId="{E52AF215-E047-473C-8BD8-09C52860CC58}" dt="2022-01-13T07:11:23.819" v="2327" actId="1035"/>
          <ac:spMkLst>
            <pc:docMk/>
            <pc:sldMk cId="451449259" sldId="762"/>
            <ac:spMk id="9" creationId="{2A94B94C-3F57-4F11-B007-E90B693DA1C4}"/>
          </ac:spMkLst>
        </pc:spChg>
        <pc:spChg chg="add mod">
          <ac:chgData name="Koksrud Andreas" userId="9d9beba6-c052-407a-8599-c781a677a996" providerId="ADAL" clId="{E52AF215-E047-473C-8BD8-09C52860CC58}" dt="2022-01-13T07:12:31.029" v="2342" actId="208"/>
          <ac:spMkLst>
            <pc:docMk/>
            <pc:sldMk cId="451449259" sldId="762"/>
            <ac:spMk id="14" creationId="{FA8A2802-E3EA-468F-8B21-46F72456FABA}"/>
          </ac:spMkLst>
        </pc:spChg>
        <pc:spChg chg="add del mod">
          <ac:chgData name="Koksrud Andreas" userId="9d9beba6-c052-407a-8599-c781a677a996" providerId="ADAL" clId="{E52AF215-E047-473C-8BD8-09C52860CC58}" dt="2022-01-13T07:12:35.162" v="2344"/>
          <ac:spMkLst>
            <pc:docMk/>
            <pc:sldMk cId="451449259" sldId="762"/>
            <ac:spMk id="15" creationId="{FB8F0E77-BCEA-45BF-B08F-E29C4FA93DFF}"/>
          </ac:spMkLst>
        </pc:spChg>
        <pc:spChg chg="add mod">
          <ac:chgData name="Koksrud Andreas" userId="9d9beba6-c052-407a-8599-c781a677a996" providerId="ADAL" clId="{E52AF215-E047-473C-8BD8-09C52860CC58}" dt="2022-01-13T07:12:46.428" v="2349" actId="571"/>
          <ac:spMkLst>
            <pc:docMk/>
            <pc:sldMk cId="451449259" sldId="762"/>
            <ac:spMk id="16" creationId="{D6BC44B5-DD0F-44B4-B151-7222B77BF6F0}"/>
          </ac:spMkLst>
        </pc:spChg>
        <pc:spChg chg="add mod">
          <ac:chgData name="Koksrud Andreas" userId="9d9beba6-c052-407a-8599-c781a677a996" providerId="ADAL" clId="{E52AF215-E047-473C-8BD8-09C52860CC58}" dt="2022-01-13T07:27:58.705" v="2705"/>
          <ac:spMkLst>
            <pc:docMk/>
            <pc:sldMk cId="451449259" sldId="762"/>
            <ac:spMk id="19" creationId="{5D456D15-BECC-4AA9-909E-81B3C7B91D77}"/>
          </ac:spMkLst>
        </pc:spChg>
        <pc:spChg chg="mod">
          <ac:chgData name="Koksrud Andreas" userId="9d9beba6-c052-407a-8599-c781a677a996" providerId="ADAL" clId="{E52AF215-E047-473C-8BD8-09C52860CC58}" dt="2022-01-13T07:10:04.198" v="2316" actId="21"/>
          <ac:spMkLst>
            <pc:docMk/>
            <pc:sldMk cId="451449259" sldId="762"/>
            <ac:spMk id="181" creationId="{00000000-0000-0000-0000-000000000000}"/>
          </ac:spMkLst>
        </pc:spChg>
        <pc:picChg chg="add mod modCrop">
          <ac:chgData name="Koksrud Andreas" userId="9d9beba6-c052-407a-8599-c781a677a996" providerId="ADAL" clId="{E52AF215-E047-473C-8BD8-09C52860CC58}" dt="2022-01-13T07:12:38.640" v="2348" actId="1076"/>
          <ac:picMkLst>
            <pc:docMk/>
            <pc:sldMk cId="451449259" sldId="762"/>
            <ac:picMk id="3" creationId="{0EB07F1A-0579-48E0-9FB1-3362147C34B4}"/>
          </ac:picMkLst>
        </pc:picChg>
        <pc:picChg chg="add del mod">
          <ac:chgData name="Koksrud Andreas" userId="9d9beba6-c052-407a-8599-c781a677a996" providerId="ADAL" clId="{E52AF215-E047-473C-8BD8-09C52860CC58}" dt="2022-01-13T07:22:05.796" v="2360" actId="478"/>
          <ac:picMkLst>
            <pc:docMk/>
            <pc:sldMk cId="451449259" sldId="762"/>
            <ac:picMk id="12" creationId="{A0235728-FFB8-4827-8D00-DEE00F87596E}"/>
          </ac:picMkLst>
        </pc:picChg>
        <pc:picChg chg="add mod">
          <ac:chgData name="Koksrud Andreas" userId="9d9beba6-c052-407a-8599-c781a677a996" providerId="ADAL" clId="{E52AF215-E047-473C-8BD8-09C52860CC58}" dt="2022-01-13T07:22:30.656" v="2366" actId="1076"/>
          <ac:picMkLst>
            <pc:docMk/>
            <pc:sldMk cId="451449259" sldId="762"/>
            <ac:picMk id="18" creationId="{82FBB2CF-FD0D-468E-A54F-86B9E9FE8D36}"/>
          </ac:picMkLst>
        </pc:picChg>
        <pc:cxnChg chg="add mod">
          <ac:chgData name="Koksrud Andreas" userId="9d9beba6-c052-407a-8599-c781a677a996" providerId="ADAL" clId="{E52AF215-E047-473C-8BD8-09C52860CC58}" dt="2022-01-13T07:11:50.187" v="2331" actId="14100"/>
          <ac:cxnSpMkLst>
            <pc:docMk/>
            <pc:sldMk cId="451449259" sldId="762"/>
            <ac:cxnSpMk id="10" creationId="{33DA3656-539C-473C-B541-64E62ADCC27F}"/>
          </ac:cxnSpMkLst>
        </pc:cxnChg>
        <pc:cxnChg chg="add mod">
          <ac:chgData name="Koksrud Andreas" userId="9d9beba6-c052-407a-8599-c781a677a996" providerId="ADAL" clId="{E52AF215-E047-473C-8BD8-09C52860CC58}" dt="2022-01-13T07:13:00.001" v="2352" actId="208"/>
          <ac:cxnSpMkLst>
            <pc:docMk/>
            <pc:sldMk cId="451449259" sldId="762"/>
            <ac:cxnSpMk id="17" creationId="{7519B5C2-7D81-4925-8953-0549C33CE3DB}"/>
          </ac:cxnSpMkLst>
        </pc:cxnChg>
      </pc:sldChg>
      <pc:sldChg chg="modSp add mod">
        <pc:chgData name="Koksrud Andreas" userId="9d9beba6-c052-407a-8599-c781a677a996" providerId="ADAL" clId="{E52AF215-E047-473C-8BD8-09C52860CC58}" dt="2022-01-13T10:00:04.128" v="3777"/>
        <pc:sldMkLst>
          <pc:docMk/>
          <pc:sldMk cId="3548956945" sldId="762"/>
        </pc:sldMkLst>
        <pc:spChg chg="mod">
          <ac:chgData name="Koksrud Andreas" userId="9d9beba6-c052-407a-8599-c781a677a996" providerId="ADAL" clId="{E52AF215-E047-473C-8BD8-09C52860CC58}" dt="2022-01-13T10:00:04.128" v="3777"/>
          <ac:spMkLst>
            <pc:docMk/>
            <pc:sldMk cId="3548956945" sldId="762"/>
            <ac:spMk id="180" creationId="{00000000-0000-0000-0000-000000000000}"/>
          </ac:spMkLst>
        </pc:spChg>
      </pc:sldChg>
      <pc:sldChg chg="addSp modSp mod">
        <pc:chgData name="Koksrud Andreas" userId="9d9beba6-c052-407a-8599-c781a677a996" providerId="ADAL" clId="{E52AF215-E047-473C-8BD8-09C52860CC58}" dt="2022-01-13T09:16:44.670" v="3330" actId="20577"/>
        <pc:sldMkLst>
          <pc:docMk/>
          <pc:sldMk cId="1523800458" sldId="763"/>
        </pc:sldMkLst>
        <pc:spChg chg="mod">
          <ac:chgData name="Koksrud Andreas" userId="9d9beba6-c052-407a-8599-c781a677a996" providerId="ADAL" clId="{E52AF215-E047-473C-8BD8-09C52860CC58}" dt="2022-01-13T09:16:44.670" v="3330" actId="20577"/>
          <ac:spMkLst>
            <pc:docMk/>
            <pc:sldMk cId="1523800458" sldId="763"/>
            <ac:spMk id="181" creationId="{00000000-0000-0000-0000-000000000000}"/>
          </ac:spMkLst>
        </pc:spChg>
        <pc:picChg chg="add mod">
          <ac:chgData name="Koksrud Andreas" userId="9d9beba6-c052-407a-8599-c781a677a996" providerId="ADAL" clId="{E52AF215-E047-473C-8BD8-09C52860CC58}" dt="2022-01-13T09:15:26.150" v="3319" actId="14100"/>
          <ac:picMkLst>
            <pc:docMk/>
            <pc:sldMk cId="1523800458" sldId="763"/>
            <ac:picMk id="3" creationId="{662BDB56-A042-4E19-8CDC-69E878A0075F}"/>
          </ac:picMkLst>
        </pc:picChg>
      </pc:sldChg>
      <pc:sldChg chg="addSp delSp modSp mod">
        <pc:chgData name="Koksrud Andreas" userId="9d9beba6-c052-407a-8599-c781a677a996" providerId="ADAL" clId="{E52AF215-E047-473C-8BD8-09C52860CC58}" dt="2022-01-12T13:14:53.410" v="2024" actId="1036"/>
        <pc:sldMkLst>
          <pc:docMk/>
          <pc:sldMk cId="1963101599" sldId="764"/>
        </pc:sldMkLst>
        <pc:spChg chg="mod">
          <ac:chgData name="Koksrud Andreas" userId="9d9beba6-c052-407a-8599-c781a677a996" providerId="ADAL" clId="{E52AF215-E047-473C-8BD8-09C52860CC58}" dt="2022-01-12T13:13:09.283" v="2016" actId="6549"/>
          <ac:spMkLst>
            <pc:docMk/>
            <pc:sldMk cId="1963101599" sldId="764"/>
            <ac:spMk id="181" creationId="{00000000-0000-0000-0000-000000000000}"/>
          </ac:spMkLst>
        </pc:spChg>
        <pc:picChg chg="add del mod">
          <ac:chgData name="Koksrud Andreas" userId="9d9beba6-c052-407a-8599-c781a677a996" providerId="ADAL" clId="{E52AF215-E047-473C-8BD8-09C52860CC58}" dt="2022-01-12T12:42:13.710" v="1757"/>
          <ac:picMkLst>
            <pc:docMk/>
            <pc:sldMk cId="1963101599" sldId="764"/>
            <ac:picMk id="3" creationId="{8C91C370-BA25-4992-A6D8-E6816203FFE9}"/>
          </ac:picMkLst>
        </pc:picChg>
        <pc:picChg chg="add del mod">
          <ac:chgData name="Koksrud Andreas" userId="9d9beba6-c052-407a-8599-c781a677a996" providerId="ADAL" clId="{E52AF215-E047-473C-8BD8-09C52860CC58}" dt="2022-01-12T13:10:42.262" v="1846" actId="478"/>
          <ac:picMkLst>
            <pc:docMk/>
            <pc:sldMk cId="1963101599" sldId="764"/>
            <ac:picMk id="5" creationId="{32D64567-050F-4965-A352-B9803E4BD09D}"/>
          </ac:picMkLst>
        </pc:picChg>
        <pc:picChg chg="add del mod modCrop">
          <ac:chgData name="Koksrud Andreas" userId="9d9beba6-c052-407a-8599-c781a677a996" providerId="ADAL" clId="{E52AF215-E047-473C-8BD8-09C52860CC58}" dt="2022-01-12T13:14:23.176" v="2021" actId="478"/>
          <ac:picMkLst>
            <pc:docMk/>
            <pc:sldMk cId="1963101599" sldId="764"/>
            <ac:picMk id="7" creationId="{7F09146E-18B6-465A-B3EB-1ABB212EB245}"/>
          </ac:picMkLst>
        </pc:picChg>
        <pc:picChg chg="add mod">
          <ac:chgData name="Koksrud Andreas" userId="9d9beba6-c052-407a-8599-c781a677a996" providerId="ADAL" clId="{E52AF215-E047-473C-8BD8-09C52860CC58}" dt="2022-01-12T13:13:41.878" v="2018" actId="1076"/>
          <ac:picMkLst>
            <pc:docMk/>
            <pc:sldMk cId="1963101599" sldId="764"/>
            <ac:picMk id="9" creationId="{E307AE74-0A84-40A3-9452-74D1684165A8}"/>
          </ac:picMkLst>
        </pc:picChg>
        <pc:picChg chg="add mod">
          <ac:chgData name="Koksrud Andreas" userId="9d9beba6-c052-407a-8599-c781a677a996" providerId="ADAL" clId="{E52AF215-E047-473C-8BD8-09C52860CC58}" dt="2022-01-12T13:14:53.410" v="2024" actId="1036"/>
          <ac:picMkLst>
            <pc:docMk/>
            <pc:sldMk cId="1963101599" sldId="764"/>
            <ac:picMk id="11" creationId="{6781C7B4-DD77-4E2B-9EF3-B5226005C9F3}"/>
          </ac:picMkLst>
        </pc:picChg>
      </pc:sldChg>
      <pc:sldChg chg="addSp delSp modSp mod">
        <pc:chgData name="Koksrud Andreas" userId="9d9beba6-c052-407a-8599-c781a677a996" providerId="ADAL" clId="{E52AF215-E047-473C-8BD8-09C52860CC58}" dt="2022-01-12T13:39:31.923" v="2170" actId="6549"/>
        <pc:sldMkLst>
          <pc:docMk/>
          <pc:sldMk cId="1133620909" sldId="765"/>
        </pc:sldMkLst>
        <pc:spChg chg="add del mod">
          <ac:chgData name="Koksrud Andreas" userId="9d9beba6-c052-407a-8599-c781a677a996" providerId="ADAL" clId="{E52AF215-E047-473C-8BD8-09C52860CC58}" dt="2022-01-12T13:37:43.300" v="2095" actId="478"/>
          <ac:spMkLst>
            <pc:docMk/>
            <pc:sldMk cId="1133620909" sldId="765"/>
            <ac:spMk id="13" creationId="{80EE4B90-3F63-4F66-A0E6-C1AC596C2EA5}"/>
          </ac:spMkLst>
        </pc:spChg>
        <pc:spChg chg="mod">
          <ac:chgData name="Koksrud Andreas" userId="9d9beba6-c052-407a-8599-c781a677a996" providerId="ADAL" clId="{E52AF215-E047-473C-8BD8-09C52860CC58}" dt="2022-01-12T13:39:31.923" v="2170" actId="6549"/>
          <ac:spMkLst>
            <pc:docMk/>
            <pc:sldMk cId="1133620909" sldId="765"/>
            <ac:spMk id="181" creationId="{00000000-0000-0000-0000-000000000000}"/>
          </ac:spMkLst>
        </pc:spChg>
        <pc:picChg chg="add mod modCrop">
          <ac:chgData name="Koksrud Andreas" userId="9d9beba6-c052-407a-8599-c781a677a996" providerId="ADAL" clId="{E52AF215-E047-473C-8BD8-09C52860CC58}" dt="2022-01-12T13:32:54.028" v="2081" actId="1076"/>
          <ac:picMkLst>
            <pc:docMk/>
            <pc:sldMk cId="1133620909" sldId="765"/>
            <ac:picMk id="3" creationId="{6371BF17-E01A-48FA-A6FB-9AC49F51AB9A}"/>
          </ac:picMkLst>
        </pc:picChg>
        <pc:picChg chg="add del mod">
          <ac:chgData name="Koksrud Andreas" userId="9d9beba6-c052-407a-8599-c781a677a996" providerId="ADAL" clId="{E52AF215-E047-473C-8BD8-09C52860CC58}" dt="2022-01-12T13:37:14.078" v="2089" actId="478"/>
          <ac:picMkLst>
            <pc:docMk/>
            <pc:sldMk cId="1133620909" sldId="765"/>
            <ac:picMk id="5" creationId="{778449BC-7235-44AB-9919-5B4C96555444}"/>
          </ac:picMkLst>
        </pc:picChg>
        <pc:picChg chg="add del mod">
          <ac:chgData name="Koksrud Andreas" userId="9d9beba6-c052-407a-8599-c781a677a996" providerId="ADAL" clId="{E52AF215-E047-473C-8BD8-09C52860CC58}" dt="2022-01-12T13:37:48.305" v="2096" actId="478"/>
          <ac:picMkLst>
            <pc:docMk/>
            <pc:sldMk cId="1133620909" sldId="765"/>
            <ac:picMk id="7" creationId="{67C3F401-1ECE-4F2C-A5D4-30DD184A72CA}"/>
          </ac:picMkLst>
        </pc:picChg>
        <pc:picChg chg="add mod">
          <ac:chgData name="Koksrud Andreas" userId="9d9beba6-c052-407a-8599-c781a677a996" providerId="ADAL" clId="{E52AF215-E047-473C-8BD8-09C52860CC58}" dt="2022-01-12T13:38:07.006" v="2102" actId="1076"/>
          <ac:picMkLst>
            <pc:docMk/>
            <pc:sldMk cId="1133620909" sldId="765"/>
            <ac:picMk id="10" creationId="{94C63C08-D804-4138-BAA1-B8A59551A46C}"/>
          </ac:picMkLst>
        </pc:picChg>
      </pc:sldChg>
      <pc:sldChg chg="addSp delSp modSp mod">
        <pc:chgData name="Koksrud Andreas" userId="9d9beba6-c052-407a-8599-c781a677a996" providerId="ADAL" clId="{E52AF215-E047-473C-8BD8-09C52860CC58}" dt="2022-01-13T08:21:03.751" v="3104" actId="1036"/>
        <pc:sldMkLst>
          <pc:docMk/>
          <pc:sldMk cId="2033200031" sldId="766"/>
        </pc:sldMkLst>
        <pc:spChg chg="mod">
          <ac:chgData name="Koksrud Andreas" userId="9d9beba6-c052-407a-8599-c781a677a996" providerId="ADAL" clId="{E52AF215-E047-473C-8BD8-09C52860CC58}" dt="2022-01-13T07:47:58.491" v="3038" actId="20577"/>
          <ac:spMkLst>
            <pc:docMk/>
            <pc:sldMk cId="2033200031" sldId="766"/>
            <ac:spMk id="181" creationId="{00000000-0000-0000-0000-000000000000}"/>
          </ac:spMkLst>
        </pc:spChg>
        <pc:picChg chg="add del mod modCrop">
          <ac:chgData name="Koksrud Andreas" userId="9d9beba6-c052-407a-8599-c781a677a996" providerId="ADAL" clId="{E52AF215-E047-473C-8BD8-09C52860CC58}" dt="2022-01-13T08:00:23.979" v="3082" actId="478"/>
          <ac:picMkLst>
            <pc:docMk/>
            <pc:sldMk cId="2033200031" sldId="766"/>
            <ac:picMk id="3" creationId="{0025CC1D-3659-46E9-9603-64E51610F7A1}"/>
          </ac:picMkLst>
        </pc:picChg>
        <pc:picChg chg="add mod">
          <ac:chgData name="Koksrud Andreas" userId="9d9beba6-c052-407a-8599-c781a677a996" providerId="ADAL" clId="{E52AF215-E047-473C-8BD8-09C52860CC58}" dt="2022-01-13T08:21:03.003" v="3102" actId="1036"/>
          <ac:picMkLst>
            <pc:docMk/>
            <pc:sldMk cId="2033200031" sldId="766"/>
            <ac:picMk id="5" creationId="{C120A39A-9846-4024-B787-3853C5C0B5A8}"/>
          </ac:picMkLst>
        </pc:picChg>
        <pc:picChg chg="add del mod">
          <ac:chgData name="Koksrud Andreas" userId="9d9beba6-c052-407a-8599-c781a677a996" providerId="ADAL" clId="{E52AF215-E047-473C-8BD8-09C52860CC58}" dt="2022-01-13T08:00:48.272" v="3087" actId="478"/>
          <ac:picMkLst>
            <pc:docMk/>
            <pc:sldMk cId="2033200031" sldId="766"/>
            <ac:picMk id="7" creationId="{0DD85C38-AF4F-46E7-9D54-2C80F34E5C40}"/>
          </ac:picMkLst>
        </pc:picChg>
        <pc:picChg chg="add mod">
          <ac:chgData name="Koksrud Andreas" userId="9d9beba6-c052-407a-8599-c781a677a996" providerId="ADAL" clId="{E52AF215-E047-473C-8BD8-09C52860CC58}" dt="2022-01-13T08:21:03.751" v="3104" actId="1036"/>
          <ac:picMkLst>
            <pc:docMk/>
            <pc:sldMk cId="2033200031" sldId="766"/>
            <ac:picMk id="9" creationId="{DD0B6692-207D-4B02-B2CA-CC747FA17DA7}"/>
          </ac:picMkLst>
        </pc:picChg>
      </pc:sldChg>
      <pc:sldChg chg="addSp modSp mod">
        <pc:chgData name="Koksrud Andreas" userId="9d9beba6-c052-407a-8599-c781a677a996" providerId="ADAL" clId="{E52AF215-E047-473C-8BD8-09C52860CC58}" dt="2022-01-13T07:31:24.962" v="2931" actId="27636"/>
        <pc:sldMkLst>
          <pc:docMk/>
          <pc:sldMk cId="3428711004" sldId="767"/>
        </pc:sldMkLst>
        <pc:spChg chg="add mod">
          <ac:chgData name="Koksrud Andreas" userId="9d9beba6-c052-407a-8599-c781a677a996" providerId="ADAL" clId="{E52AF215-E047-473C-8BD8-09C52860CC58}" dt="2022-01-13T07:29:07.447" v="2722" actId="1035"/>
          <ac:spMkLst>
            <pc:docMk/>
            <pc:sldMk cId="3428711004" sldId="767"/>
            <ac:spMk id="8" creationId="{BA63ECEE-3F06-4B66-87AB-4F1FEB011388}"/>
          </ac:spMkLst>
        </pc:spChg>
        <pc:spChg chg="add mod">
          <ac:chgData name="Koksrud Andreas" userId="9d9beba6-c052-407a-8599-c781a677a996" providerId="ADAL" clId="{E52AF215-E047-473C-8BD8-09C52860CC58}" dt="2022-01-13T07:29:07.447" v="2722" actId="1035"/>
          <ac:spMkLst>
            <pc:docMk/>
            <pc:sldMk cId="3428711004" sldId="767"/>
            <ac:spMk id="9" creationId="{4F28EC7A-68BB-4880-B751-1381F9D1C0B2}"/>
          </ac:spMkLst>
        </pc:spChg>
        <pc:spChg chg="mod">
          <ac:chgData name="Koksrud Andreas" userId="9d9beba6-c052-407a-8599-c781a677a996" providerId="ADAL" clId="{E52AF215-E047-473C-8BD8-09C52860CC58}" dt="2022-01-13T07:31:24.962" v="2931" actId="27636"/>
          <ac:spMkLst>
            <pc:docMk/>
            <pc:sldMk cId="3428711004" sldId="767"/>
            <ac:spMk id="181" creationId="{00000000-0000-0000-0000-000000000000}"/>
          </ac:spMkLst>
        </pc:spChg>
        <pc:picChg chg="add mod">
          <ac:chgData name="Koksrud Andreas" userId="9d9beba6-c052-407a-8599-c781a677a996" providerId="ADAL" clId="{E52AF215-E047-473C-8BD8-09C52860CC58}" dt="2022-01-13T07:28:35.310" v="2719" actId="962"/>
          <ac:picMkLst>
            <pc:docMk/>
            <pc:sldMk cId="3428711004" sldId="767"/>
            <ac:picMk id="3" creationId="{E3251E17-12B8-4FA3-9BDA-20EC1256487C}"/>
          </ac:picMkLst>
        </pc:picChg>
        <pc:cxnChg chg="add mod">
          <ac:chgData name="Koksrud Andreas" userId="9d9beba6-c052-407a-8599-c781a677a996" providerId="ADAL" clId="{E52AF215-E047-473C-8BD8-09C52860CC58}" dt="2022-01-13T07:29:07.447" v="2722" actId="1035"/>
          <ac:cxnSpMkLst>
            <pc:docMk/>
            <pc:sldMk cId="3428711004" sldId="767"/>
            <ac:cxnSpMk id="10" creationId="{437831C7-C902-4D23-B682-E7B95B2CCD11}"/>
          </ac:cxnSpMkLst>
        </pc:cxnChg>
      </pc:sldChg>
      <pc:sldChg chg="modSp mod">
        <pc:chgData name="Koksrud Andreas" userId="9d9beba6-c052-407a-8599-c781a677a996" providerId="ADAL" clId="{E52AF215-E047-473C-8BD8-09C52860CC58}" dt="2022-01-13T07:39:31.704" v="3028" actId="20577"/>
        <pc:sldMkLst>
          <pc:docMk/>
          <pc:sldMk cId="1456486215" sldId="768"/>
        </pc:sldMkLst>
        <pc:spChg chg="mod">
          <ac:chgData name="Koksrud Andreas" userId="9d9beba6-c052-407a-8599-c781a677a996" providerId="ADAL" clId="{E52AF215-E047-473C-8BD8-09C52860CC58}" dt="2022-01-13T07:39:31.704" v="3028" actId="20577"/>
          <ac:spMkLst>
            <pc:docMk/>
            <pc:sldMk cId="1456486215" sldId="768"/>
            <ac:spMk id="181" creationId="{00000000-0000-0000-0000-000000000000}"/>
          </ac:spMkLst>
        </pc:spChg>
      </pc:sldChg>
      <pc:sldChg chg="addSp modSp mod">
        <pc:chgData name="Koksrud Andreas" userId="9d9beba6-c052-407a-8599-c781a677a996" providerId="ADAL" clId="{E52AF215-E047-473C-8BD8-09C52860CC58}" dt="2022-01-13T08:21:18.595" v="3111" actId="1036"/>
        <pc:sldMkLst>
          <pc:docMk/>
          <pc:sldMk cId="1313933673" sldId="769"/>
        </pc:sldMkLst>
        <pc:spChg chg="add mod">
          <ac:chgData name="Koksrud Andreas" userId="9d9beba6-c052-407a-8599-c781a677a996" providerId="ADAL" clId="{E52AF215-E047-473C-8BD8-09C52860CC58}" dt="2022-01-13T07:56:01.912" v="3069" actId="14100"/>
          <ac:spMkLst>
            <pc:docMk/>
            <pc:sldMk cId="1313933673" sldId="769"/>
            <ac:spMk id="12" creationId="{A5FC73B2-F97D-41AE-8554-72FA3D035516}"/>
          </ac:spMkLst>
        </pc:spChg>
        <pc:spChg chg="add mod">
          <ac:chgData name="Koksrud Andreas" userId="9d9beba6-c052-407a-8599-c781a677a996" providerId="ADAL" clId="{E52AF215-E047-473C-8BD8-09C52860CC58}" dt="2022-01-13T07:56:15.584" v="3072" actId="14100"/>
          <ac:spMkLst>
            <pc:docMk/>
            <pc:sldMk cId="1313933673" sldId="769"/>
            <ac:spMk id="13" creationId="{34776FB6-E2CD-4265-8780-E3AFC8BC9C90}"/>
          </ac:spMkLst>
        </pc:spChg>
        <pc:spChg chg="add mod">
          <ac:chgData name="Koksrud Andreas" userId="9d9beba6-c052-407a-8599-c781a677a996" providerId="ADAL" clId="{E52AF215-E047-473C-8BD8-09C52860CC58}" dt="2022-01-13T07:56:26.303" v="3074" actId="1076"/>
          <ac:spMkLst>
            <pc:docMk/>
            <pc:sldMk cId="1313933673" sldId="769"/>
            <ac:spMk id="14" creationId="{DB80A855-2249-4F9D-95C6-369FFC26B808}"/>
          </ac:spMkLst>
        </pc:spChg>
        <pc:spChg chg="add mod">
          <ac:chgData name="Koksrud Andreas" userId="9d9beba6-c052-407a-8599-c781a677a996" providerId="ADAL" clId="{E52AF215-E047-473C-8BD8-09C52860CC58}" dt="2022-01-13T07:56:32.604" v="3075" actId="571"/>
          <ac:spMkLst>
            <pc:docMk/>
            <pc:sldMk cId="1313933673" sldId="769"/>
            <ac:spMk id="15" creationId="{B26580D8-CF1F-41E3-B1B8-7E1010537651}"/>
          </ac:spMkLst>
        </pc:spChg>
        <pc:spChg chg="add mod">
          <ac:chgData name="Koksrud Andreas" userId="9d9beba6-c052-407a-8599-c781a677a996" providerId="ADAL" clId="{E52AF215-E047-473C-8BD8-09C52860CC58}" dt="2022-01-13T08:02:21.115" v="3096" actId="14100"/>
          <ac:spMkLst>
            <pc:docMk/>
            <pc:sldMk cId="1313933673" sldId="769"/>
            <ac:spMk id="16" creationId="{DF7D33BD-C2B9-450D-93D2-01246E0251A1}"/>
          </ac:spMkLst>
        </pc:spChg>
        <pc:spChg chg="mod">
          <ac:chgData name="Koksrud Andreas" userId="9d9beba6-c052-407a-8599-c781a677a996" providerId="ADAL" clId="{E52AF215-E047-473C-8BD8-09C52860CC58}" dt="2022-01-13T07:54:19.600" v="3053"/>
          <ac:spMkLst>
            <pc:docMk/>
            <pc:sldMk cId="1313933673" sldId="769"/>
            <ac:spMk id="181" creationId="{00000000-0000-0000-0000-000000000000}"/>
          </ac:spMkLst>
        </pc:spChg>
        <pc:picChg chg="add mod">
          <ac:chgData name="Koksrud Andreas" userId="9d9beba6-c052-407a-8599-c781a677a996" providerId="ADAL" clId="{E52AF215-E047-473C-8BD8-09C52860CC58}" dt="2022-01-13T07:53:31.105" v="3045" actId="1076"/>
          <ac:picMkLst>
            <pc:docMk/>
            <pc:sldMk cId="1313933673" sldId="769"/>
            <ac:picMk id="3" creationId="{4DF842DE-41BB-451A-9022-B24757713497}"/>
          </ac:picMkLst>
        </pc:picChg>
        <pc:picChg chg="add mod ord">
          <ac:chgData name="Koksrud Andreas" userId="9d9beba6-c052-407a-8599-c781a677a996" providerId="ADAL" clId="{E52AF215-E047-473C-8BD8-09C52860CC58}" dt="2022-01-13T07:55:44.760" v="3065" actId="166"/>
          <ac:picMkLst>
            <pc:docMk/>
            <pc:sldMk cId="1313933673" sldId="769"/>
            <ac:picMk id="5" creationId="{2316D7AD-06D8-46F4-97D0-32BE59E7800E}"/>
          </ac:picMkLst>
        </pc:picChg>
        <pc:picChg chg="add mod modCrop">
          <ac:chgData name="Koksrud Andreas" userId="9d9beba6-c052-407a-8599-c781a677a996" providerId="ADAL" clId="{E52AF215-E047-473C-8BD8-09C52860CC58}" dt="2022-01-13T08:21:18.595" v="3111" actId="1036"/>
          <ac:picMkLst>
            <pc:docMk/>
            <pc:sldMk cId="1313933673" sldId="769"/>
            <ac:picMk id="7" creationId="{67D5422F-1D61-4D8A-AFFD-CD9D7D6D6C72}"/>
          </ac:picMkLst>
        </pc:picChg>
      </pc:sldChg>
      <pc:sldChg chg="addSp modSp mod">
        <pc:chgData name="Koksrud Andreas" userId="9d9beba6-c052-407a-8599-c781a677a996" providerId="ADAL" clId="{E52AF215-E047-473C-8BD8-09C52860CC58}" dt="2022-01-13T08:23:45.719" v="3139" actId="14100"/>
        <pc:sldMkLst>
          <pc:docMk/>
          <pc:sldMk cId="284321844" sldId="770"/>
        </pc:sldMkLst>
        <pc:picChg chg="add mod modCrop">
          <ac:chgData name="Koksrud Andreas" userId="9d9beba6-c052-407a-8599-c781a677a996" providerId="ADAL" clId="{E52AF215-E047-473C-8BD8-09C52860CC58}" dt="2022-01-13T08:22:39.144" v="3126" actId="1076"/>
          <ac:picMkLst>
            <pc:docMk/>
            <pc:sldMk cId="284321844" sldId="770"/>
            <ac:picMk id="3" creationId="{94364EED-F4E0-4C65-A821-236DA333C73B}"/>
          </ac:picMkLst>
        </pc:picChg>
        <pc:picChg chg="add mod">
          <ac:chgData name="Koksrud Andreas" userId="9d9beba6-c052-407a-8599-c781a677a996" providerId="ADAL" clId="{E52AF215-E047-473C-8BD8-09C52860CC58}" dt="2022-01-13T08:23:27.371" v="3131" actId="1076"/>
          <ac:picMkLst>
            <pc:docMk/>
            <pc:sldMk cId="284321844" sldId="770"/>
            <ac:picMk id="5" creationId="{0DE047A7-BA4A-4D5B-97F7-D82EC1D03856}"/>
          </ac:picMkLst>
        </pc:picChg>
        <pc:picChg chg="add mod modCrop">
          <ac:chgData name="Koksrud Andreas" userId="9d9beba6-c052-407a-8599-c781a677a996" providerId="ADAL" clId="{E52AF215-E047-473C-8BD8-09C52860CC58}" dt="2022-01-13T08:23:45.719" v="3139" actId="14100"/>
          <ac:picMkLst>
            <pc:docMk/>
            <pc:sldMk cId="284321844" sldId="770"/>
            <ac:picMk id="7" creationId="{8920B699-1FAF-4F80-B770-CC23549FD102}"/>
          </ac:picMkLst>
        </pc:picChg>
      </pc:sldChg>
      <pc:sldChg chg="addSp modSp mod">
        <pc:chgData name="Koksrud Andreas" userId="9d9beba6-c052-407a-8599-c781a677a996" providerId="ADAL" clId="{E52AF215-E047-473C-8BD8-09C52860CC58}" dt="2022-01-13T08:28:19.003" v="3163" actId="14100"/>
        <pc:sldMkLst>
          <pc:docMk/>
          <pc:sldMk cId="3521944309" sldId="771"/>
        </pc:sldMkLst>
        <pc:spChg chg="add mod">
          <ac:chgData name="Koksrud Andreas" userId="9d9beba6-c052-407a-8599-c781a677a996" providerId="ADAL" clId="{E52AF215-E047-473C-8BD8-09C52860CC58}" dt="2022-01-13T08:28:19.003" v="3163" actId="14100"/>
          <ac:spMkLst>
            <pc:docMk/>
            <pc:sldMk cId="3521944309" sldId="771"/>
            <ac:spMk id="12" creationId="{2624B055-EB8D-40D3-A9E6-90FD6DB9C9E3}"/>
          </ac:spMkLst>
        </pc:spChg>
        <pc:picChg chg="add mod">
          <ac:chgData name="Koksrud Andreas" userId="9d9beba6-c052-407a-8599-c781a677a996" providerId="ADAL" clId="{E52AF215-E047-473C-8BD8-09C52860CC58}" dt="2022-01-13T08:25:03.538" v="3144" actId="1076"/>
          <ac:picMkLst>
            <pc:docMk/>
            <pc:sldMk cId="3521944309" sldId="771"/>
            <ac:picMk id="3" creationId="{E387E322-13BD-49B0-840D-81F411B75B91}"/>
          </ac:picMkLst>
        </pc:picChg>
        <pc:picChg chg="add mod">
          <ac:chgData name="Koksrud Andreas" userId="9d9beba6-c052-407a-8599-c781a677a996" providerId="ADAL" clId="{E52AF215-E047-473C-8BD8-09C52860CC58}" dt="2022-01-13T08:28:13.155" v="3161" actId="1076"/>
          <ac:picMkLst>
            <pc:docMk/>
            <pc:sldMk cId="3521944309" sldId="771"/>
            <ac:picMk id="5" creationId="{F44FFB05-493E-41C0-BAAC-D13CD169B223}"/>
          </ac:picMkLst>
        </pc:picChg>
        <pc:picChg chg="add mod">
          <ac:chgData name="Koksrud Andreas" userId="9d9beba6-c052-407a-8599-c781a677a996" providerId="ADAL" clId="{E52AF215-E047-473C-8BD8-09C52860CC58}" dt="2022-01-13T08:27:52.015" v="3157" actId="14100"/>
          <ac:picMkLst>
            <pc:docMk/>
            <pc:sldMk cId="3521944309" sldId="771"/>
            <ac:picMk id="7" creationId="{9A8B1EE6-1A6E-4E22-A82C-71BF03200925}"/>
          </ac:picMkLst>
        </pc:picChg>
      </pc:sldChg>
      <pc:sldChg chg="addSp modSp mod">
        <pc:chgData name="Koksrud Andreas" userId="9d9beba6-c052-407a-8599-c781a677a996" providerId="ADAL" clId="{E52AF215-E047-473C-8BD8-09C52860CC58}" dt="2022-01-13T08:35:22.380" v="3171" actId="1076"/>
        <pc:sldMkLst>
          <pc:docMk/>
          <pc:sldMk cId="4174575932" sldId="772"/>
        </pc:sldMkLst>
        <pc:spChg chg="mod">
          <ac:chgData name="Koksrud Andreas" userId="9d9beba6-c052-407a-8599-c781a677a996" providerId="ADAL" clId="{E52AF215-E047-473C-8BD8-09C52860CC58}" dt="2022-01-13T08:35:19.909" v="3170" actId="6549"/>
          <ac:spMkLst>
            <pc:docMk/>
            <pc:sldMk cId="4174575932" sldId="772"/>
            <ac:spMk id="181" creationId="{00000000-0000-0000-0000-000000000000}"/>
          </ac:spMkLst>
        </pc:spChg>
        <pc:picChg chg="add mod">
          <ac:chgData name="Koksrud Andreas" userId="9d9beba6-c052-407a-8599-c781a677a996" providerId="ADAL" clId="{E52AF215-E047-473C-8BD8-09C52860CC58}" dt="2022-01-13T08:35:22.380" v="3171" actId="1076"/>
          <ac:picMkLst>
            <pc:docMk/>
            <pc:sldMk cId="4174575932" sldId="772"/>
            <ac:picMk id="3074" creationId="{6E4ADACE-0820-4B80-9073-9517A0953330}"/>
          </ac:picMkLst>
        </pc:picChg>
      </pc:sldChg>
      <pc:sldChg chg="addSp modSp">
        <pc:chgData name="Koksrud Andreas" userId="9d9beba6-c052-407a-8599-c781a677a996" providerId="ADAL" clId="{E52AF215-E047-473C-8BD8-09C52860CC58}" dt="2022-01-13T08:36:55.248" v="3175" actId="1076"/>
        <pc:sldMkLst>
          <pc:docMk/>
          <pc:sldMk cId="1893841773" sldId="773"/>
        </pc:sldMkLst>
        <pc:picChg chg="add mod">
          <ac:chgData name="Koksrud Andreas" userId="9d9beba6-c052-407a-8599-c781a677a996" providerId="ADAL" clId="{E52AF215-E047-473C-8BD8-09C52860CC58}" dt="2022-01-13T08:36:55.248" v="3175" actId="1076"/>
          <ac:picMkLst>
            <pc:docMk/>
            <pc:sldMk cId="1893841773" sldId="773"/>
            <ac:picMk id="4098" creationId="{99813B29-FD82-4CD7-BB0A-656DB5DB5305}"/>
          </ac:picMkLst>
        </pc:picChg>
      </pc:sldChg>
      <pc:sldChg chg="addSp delSp modSp mod">
        <pc:chgData name="Koksrud Andreas" userId="9d9beba6-c052-407a-8599-c781a677a996" providerId="ADAL" clId="{E52AF215-E047-473C-8BD8-09C52860CC58}" dt="2022-01-13T08:40:23.119" v="3268" actId="1076"/>
        <pc:sldMkLst>
          <pc:docMk/>
          <pc:sldMk cId="1749779748" sldId="774"/>
        </pc:sldMkLst>
        <pc:spChg chg="add mod">
          <ac:chgData name="Koksrud Andreas" userId="9d9beba6-c052-407a-8599-c781a677a996" providerId="ADAL" clId="{E52AF215-E047-473C-8BD8-09C52860CC58}" dt="2022-01-13T08:40:23.119" v="3268" actId="1076"/>
          <ac:spMkLst>
            <pc:docMk/>
            <pc:sldMk cId="1749779748" sldId="774"/>
            <ac:spMk id="10" creationId="{4644FDF4-F65E-4A14-9B72-6CF1ABD43524}"/>
          </ac:spMkLst>
        </pc:spChg>
        <pc:spChg chg="mod">
          <ac:chgData name="Koksrud Andreas" userId="9d9beba6-c052-407a-8599-c781a677a996" providerId="ADAL" clId="{E52AF215-E047-473C-8BD8-09C52860CC58}" dt="2022-01-13T08:39:32.894" v="3213" actId="20577"/>
          <ac:spMkLst>
            <pc:docMk/>
            <pc:sldMk cId="1749779748" sldId="774"/>
            <ac:spMk id="181" creationId="{00000000-0000-0000-0000-000000000000}"/>
          </ac:spMkLst>
        </pc:spChg>
        <pc:picChg chg="add del">
          <ac:chgData name="Koksrud Andreas" userId="9d9beba6-c052-407a-8599-c781a677a996" providerId="ADAL" clId="{E52AF215-E047-473C-8BD8-09C52860CC58}" dt="2022-01-13T08:39:13.734" v="3205"/>
          <ac:picMkLst>
            <pc:docMk/>
            <pc:sldMk cId="1749779748" sldId="774"/>
            <ac:picMk id="5122" creationId="{6EA8D7FC-3263-430D-A7F9-4DA797F25AA8}"/>
          </ac:picMkLst>
        </pc:picChg>
        <pc:picChg chg="add mod">
          <ac:chgData name="Koksrud Andreas" userId="9d9beba6-c052-407a-8599-c781a677a996" providerId="ADAL" clId="{E52AF215-E047-473C-8BD8-09C52860CC58}" dt="2022-01-13T08:39:27.456" v="3210" actId="1076"/>
          <ac:picMkLst>
            <pc:docMk/>
            <pc:sldMk cId="1749779748" sldId="774"/>
            <ac:picMk id="5124" creationId="{5B42D6E8-E261-498D-96D8-EF8A57A5A86F}"/>
          </ac:picMkLst>
        </pc:picChg>
        <pc:picChg chg="add mod">
          <ac:chgData name="Koksrud Andreas" userId="9d9beba6-c052-407a-8599-c781a677a996" providerId="ADAL" clId="{E52AF215-E047-473C-8BD8-09C52860CC58}" dt="2022-01-13T08:39:54.100" v="3217" actId="1076"/>
          <ac:picMkLst>
            <pc:docMk/>
            <pc:sldMk cId="1749779748" sldId="774"/>
            <ac:picMk id="5126" creationId="{6AF8B612-8134-4F55-AE9D-9BB00920BA35}"/>
          </ac:picMkLst>
        </pc:picChg>
      </pc:sldChg>
      <pc:sldChg chg="addSp delSp modSp mod">
        <pc:chgData name="Koksrud Andreas" userId="9d9beba6-c052-407a-8599-c781a677a996" providerId="ADAL" clId="{E52AF215-E047-473C-8BD8-09C52860CC58}" dt="2022-01-13T09:08:22.146" v="3302" actId="1076"/>
        <pc:sldMkLst>
          <pc:docMk/>
          <pc:sldMk cId="2963068298" sldId="775"/>
        </pc:sldMkLst>
        <pc:picChg chg="add mod ord">
          <ac:chgData name="Koksrud Andreas" userId="9d9beba6-c052-407a-8599-c781a677a996" providerId="ADAL" clId="{E52AF215-E047-473C-8BD8-09C52860CC58}" dt="2022-01-13T08:43:09.182" v="3281" actId="14100"/>
          <ac:picMkLst>
            <pc:docMk/>
            <pc:sldMk cId="2963068298" sldId="775"/>
            <ac:picMk id="3" creationId="{85F9F45E-F7D5-4142-A10E-CDDB90608F39}"/>
          </ac:picMkLst>
        </pc:picChg>
        <pc:picChg chg="add mod">
          <ac:chgData name="Koksrud Andreas" userId="9d9beba6-c052-407a-8599-c781a677a996" providerId="ADAL" clId="{E52AF215-E047-473C-8BD8-09C52860CC58}" dt="2022-01-13T09:06:02.889" v="3287" actId="14100"/>
          <ac:picMkLst>
            <pc:docMk/>
            <pc:sldMk cId="2963068298" sldId="775"/>
            <ac:picMk id="5" creationId="{15C82DF5-01DD-4DC0-B814-A5D986255C52}"/>
          </ac:picMkLst>
        </pc:picChg>
        <pc:picChg chg="add mod modCrop">
          <ac:chgData name="Koksrud Andreas" userId="9d9beba6-c052-407a-8599-c781a677a996" providerId="ADAL" clId="{E52AF215-E047-473C-8BD8-09C52860CC58}" dt="2022-01-13T09:07:48.825" v="3297" actId="732"/>
          <ac:picMkLst>
            <pc:docMk/>
            <pc:sldMk cId="2963068298" sldId="775"/>
            <ac:picMk id="7" creationId="{7343A750-44FF-425C-95E7-612C86A851D6}"/>
          </ac:picMkLst>
        </pc:picChg>
        <pc:picChg chg="add mod">
          <ac:chgData name="Koksrud Andreas" userId="9d9beba6-c052-407a-8599-c781a677a996" providerId="ADAL" clId="{E52AF215-E047-473C-8BD8-09C52860CC58}" dt="2022-01-13T09:08:22.146" v="3302" actId="1076"/>
          <ac:picMkLst>
            <pc:docMk/>
            <pc:sldMk cId="2963068298" sldId="775"/>
            <ac:picMk id="9" creationId="{67CEA740-3146-45A8-A253-590058BF0B8B}"/>
          </ac:picMkLst>
        </pc:picChg>
        <pc:picChg chg="add del mod">
          <ac:chgData name="Koksrud Andreas" userId="9d9beba6-c052-407a-8599-c781a677a996" providerId="ADAL" clId="{E52AF215-E047-473C-8BD8-09C52860CC58}" dt="2022-01-13T08:43:01.577" v="3278" actId="478"/>
          <ac:picMkLst>
            <pc:docMk/>
            <pc:sldMk cId="2963068298" sldId="775"/>
            <ac:picMk id="6146" creationId="{9A8938B4-6A48-42EC-AF22-649B036CA655}"/>
          </ac:picMkLst>
        </pc:picChg>
      </pc:sldChg>
      <pc:sldChg chg="addSp modSp mod">
        <pc:chgData name="Koksrud Andreas" userId="9d9beba6-c052-407a-8599-c781a677a996" providerId="ADAL" clId="{E52AF215-E047-473C-8BD8-09C52860CC58}" dt="2022-01-13T09:21:51.128" v="3381" actId="1076"/>
        <pc:sldMkLst>
          <pc:docMk/>
          <pc:sldMk cId="2831047971" sldId="776"/>
        </pc:sldMkLst>
        <pc:spChg chg="mod">
          <ac:chgData name="Koksrud Andreas" userId="9d9beba6-c052-407a-8599-c781a677a996" providerId="ADAL" clId="{E52AF215-E047-473C-8BD8-09C52860CC58}" dt="2022-01-13T09:17:37.472" v="3361" actId="20577"/>
          <ac:spMkLst>
            <pc:docMk/>
            <pc:sldMk cId="2831047971" sldId="776"/>
            <ac:spMk id="180" creationId="{00000000-0000-0000-0000-000000000000}"/>
          </ac:spMkLst>
        </pc:spChg>
        <pc:spChg chg="mod">
          <ac:chgData name="Koksrud Andreas" userId="9d9beba6-c052-407a-8599-c781a677a996" providerId="ADAL" clId="{E52AF215-E047-473C-8BD8-09C52860CC58}" dt="2022-01-13T09:18:00.147" v="3373" actId="20577"/>
          <ac:spMkLst>
            <pc:docMk/>
            <pc:sldMk cId="2831047971" sldId="776"/>
            <ac:spMk id="181" creationId="{00000000-0000-0000-0000-000000000000}"/>
          </ac:spMkLst>
        </pc:spChg>
        <pc:picChg chg="add mod modCrop">
          <ac:chgData name="Koksrud Andreas" userId="9d9beba6-c052-407a-8599-c781a677a996" providerId="ADAL" clId="{E52AF215-E047-473C-8BD8-09C52860CC58}" dt="2022-01-13T09:21:51.128" v="3381" actId="1076"/>
          <ac:picMkLst>
            <pc:docMk/>
            <pc:sldMk cId="2831047971" sldId="776"/>
            <ac:picMk id="3" creationId="{11D96017-4683-4EA7-8338-CB14A3C6A78B}"/>
          </ac:picMkLst>
        </pc:picChg>
      </pc:sldChg>
      <pc:sldChg chg="addSp modSp mod">
        <pc:chgData name="Koksrud Andreas" userId="9d9beba6-c052-407a-8599-c781a677a996" providerId="ADAL" clId="{E52AF215-E047-473C-8BD8-09C52860CC58}" dt="2022-01-13T09:58:27.399" v="3774" actId="1076"/>
        <pc:sldMkLst>
          <pc:docMk/>
          <pc:sldMk cId="1447749266" sldId="777"/>
        </pc:sldMkLst>
        <pc:spChg chg="add mod">
          <ac:chgData name="Koksrud Andreas" userId="9d9beba6-c052-407a-8599-c781a677a996" providerId="ADAL" clId="{E52AF215-E047-473C-8BD8-09C52860CC58}" dt="2022-01-13T09:56:42.460" v="3744" actId="14100"/>
          <ac:spMkLst>
            <pc:docMk/>
            <pc:sldMk cId="1447749266" sldId="777"/>
            <ac:spMk id="8" creationId="{7E7FA496-1702-4376-A6B2-72E053A5EE4B}"/>
          </ac:spMkLst>
        </pc:spChg>
        <pc:spChg chg="add mod">
          <ac:chgData name="Koksrud Andreas" userId="9d9beba6-c052-407a-8599-c781a677a996" providerId="ADAL" clId="{E52AF215-E047-473C-8BD8-09C52860CC58}" dt="2022-01-13T09:56:42.460" v="3744" actId="14100"/>
          <ac:spMkLst>
            <pc:docMk/>
            <pc:sldMk cId="1447749266" sldId="777"/>
            <ac:spMk id="9" creationId="{CABFDFC9-A0FF-4792-AAAD-D7E9A29CFAA8}"/>
          </ac:spMkLst>
        </pc:spChg>
        <pc:spChg chg="add mod">
          <ac:chgData name="Koksrud Andreas" userId="9d9beba6-c052-407a-8599-c781a677a996" providerId="ADAL" clId="{E52AF215-E047-473C-8BD8-09C52860CC58}" dt="2022-01-13T09:56:42.460" v="3744" actId="14100"/>
          <ac:spMkLst>
            <pc:docMk/>
            <pc:sldMk cId="1447749266" sldId="777"/>
            <ac:spMk id="10" creationId="{6191245A-69F8-4C43-8AE6-53AD07302FBD}"/>
          </ac:spMkLst>
        </pc:spChg>
        <pc:spChg chg="add mod">
          <ac:chgData name="Koksrud Andreas" userId="9d9beba6-c052-407a-8599-c781a677a996" providerId="ADAL" clId="{E52AF215-E047-473C-8BD8-09C52860CC58}" dt="2022-01-13T09:56:58.112" v="3757" actId="1076"/>
          <ac:spMkLst>
            <pc:docMk/>
            <pc:sldMk cId="1447749266" sldId="777"/>
            <ac:spMk id="19" creationId="{F81A58AE-E479-4C69-946B-00C29AD9C499}"/>
          </ac:spMkLst>
        </pc:spChg>
        <pc:spChg chg="add mod">
          <ac:chgData name="Koksrud Andreas" userId="9d9beba6-c052-407a-8599-c781a677a996" providerId="ADAL" clId="{E52AF215-E047-473C-8BD8-09C52860CC58}" dt="2022-01-13T09:58:27.399" v="3774" actId="1076"/>
          <ac:spMkLst>
            <pc:docMk/>
            <pc:sldMk cId="1447749266" sldId="777"/>
            <ac:spMk id="20" creationId="{7995F902-1092-4458-91F8-9EE3AE50ECFF}"/>
          </ac:spMkLst>
        </pc:spChg>
        <pc:spChg chg="mod">
          <ac:chgData name="Koksrud Andreas" userId="9d9beba6-c052-407a-8599-c781a677a996" providerId="ADAL" clId="{E52AF215-E047-473C-8BD8-09C52860CC58}" dt="2022-01-13T09:56:37.622" v="3742"/>
          <ac:spMkLst>
            <pc:docMk/>
            <pc:sldMk cId="1447749266" sldId="777"/>
            <ac:spMk id="181" creationId="{00000000-0000-0000-0000-000000000000}"/>
          </ac:spMkLst>
        </pc:spChg>
        <pc:picChg chg="add mod">
          <ac:chgData name="Koksrud Andreas" userId="9d9beba6-c052-407a-8599-c781a677a996" providerId="ADAL" clId="{E52AF215-E047-473C-8BD8-09C52860CC58}" dt="2022-01-13T09:56:42.460" v="3744" actId="14100"/>
          <ac:picMkLst>
            <pc:docMk/>
            <pc:sldMk cId="1447749266" sldId="777"/>
            <ac:picMk id="3" creationId="{F1CC7C0E-9C43-4004-A4C2-661D484C9929}"/>
          </ac:picMkLst>
        </pc:picChg>
        <pc:picChg chg="add mod">
          <ac:chgData name="Koksrud Andreas" userId="9d9beba6-c052-407a-8599-c781a677a996" providerId="ADAL" clId="{E52AF215-E047-473C-8BD8-09C52860CC58}" dt="2022-01-13T09:56:12.017" v="3736" actId="1076"/>
          <ac:picMkLst>
            <pc:docMk/>
            <pc:sldMk cId="1447749266" sldId="777"/>
            <ac:picMk id="12" creationId="{21BF7AF2-DCC4-45D3-9A4C-8F6F472D7E70}"/>
          </ac:picMkLst>
        </pc:picChg>
        <pc:picChg chg="add mod">
          <ac:chgData name="Koksrud Andreas" userId="9d9beba6-c052-407a-8599-c781a677a996" providerId="ADAL" clId="{E52AF215-E047-473C-8BD8-09C52860CC58}" dt="2022-01-13T09:58:22.908" v="3773" actId="1076"/>
          <ac:picMkLst>
            <pc:docMk/>
            <pc:sldMk cId="1447749266" sldId="777"/>
            <ac:picMk id="16" creationId="{0B067CA2-FF25-474A-8412-A2C9BABBE774}"/>
          </ac:picMkLst>
        </pc:picChg>
        <pc:cxnChg chg="add mod">
          <ac:chgData name="Koksrud Andreas" userId="9d9beba6-c052-407a-8599-c781a677a996" providerId="ADAL" clId="{E52AF215-E047-473C-8BD8-09C52860CC58}" dt="2022-01-13T09:56:42.460" v="3744" actId="14100"/>
          <ac:cxnSpMkLst>
            <pc:docMk/>
            <pc:sldMk cId="1447749266" sldId="777"/>
            <ac:cxnSpMk id="5" creationId="{595E27D7-7678-4C96-B013-A18348C68427}"/>
          </ac:cxnSpMkLst>
        </pc:cxnChg>
        <pc:cxnChg chg="add mod">
          <ac:chgData name="Koksrud Andreas" userId="9d9beba6-c052-407a-8599-c781a677a996" providerId="ADAL" clId="{E52AF215-E047-473C-8BD8-09C52860CC58}" dt="2022-01-13T09:56:42.460" v="3744" actId="14100"/>
          <ac:cxnSpMkLst>
            <pc:docMk/>
            <pc:sldMk cId="1447749266" sldId="777"/>
            <ac:cxnSpMk id="13" creationId="{D44EB26A-9958-4DE7-B20E-8234BE7C7FFF}"/>
          </ac:cxnSpMkLst>
        </pc:cxnChg>
      </pc:sldChg>
      <pc:sldChg chg="del">
        <pc:chgData name="Koksrud Andreas" userId="9d9beba6-c052-407a-8599-c781a677a996" providerId="ADAL" clId="{E52AF215-E047-473C-8BD8-09C52860CC58}" dt="2022-01-13T10:00:07.190" v="3778" actId="47"/>
        <pc:sldMkLst>
          <pc:docMk/>
          <pc:sldMk cId="988087066" sldId="778"/>
        </pc:sldMkLst>
      </pc:sldChg>
      <pc:sldChg chg="addSp modSp mod ord">
        <pc:chgData name="Koksrud Andreas" userId="9d9beba6-c052-407a-8599-c781a677a996" providerId="ADAL" clId="{E52AF215-E047-473C-8BD8-09C52860CC58}" dt="2022-01-13T10:23:08.806" v="4009" actId="1076"/>
        <pc:sldMkLst>
          <pc:docMk/>
          <pc:sldMk cId="286125317" sldId="779"/>
        </pc:sldMkLst>
        <pc:spChg chg="mod">
          <ac:chgData name="Koksrud Andreas" userId="9d9beba6-c052-407a-8599-c781a677a996" providerId="ADAL" clId="{E52AF215-E047-473C-8BD8-09C52860CC58}" dt="2022-01-13T10:22:38.340" v="4007" actId="20577"/>
          <ac:spMkLst>
            <pc:docMk/>
            <pc:sldMk cId="286125317" sldId="779"/>
            <ac:spMk id="181" creationId="{00000000-0000-0000-0000-000000000000}"/>
          </ac:spMkLst>
        </pc:spChg>
        <pc:picChg chg="add mod">
          <ac:chgData name="Koksrud Andreas" userId="9d9beba6-c052-407a-8599-c781a677a996" providerId="ADAL" clId="{E52AF215-E047-473C-8BD8-09C52860CC58}" dt="2022-01-13T10:23:08.806" v="4009" actId="1076"/>
          <ac:picMkLst>
            <pc:docMk/>
            <pc:sldMk cId="286125317" sldId="779"/>
            <ac:picMk id="3" creationId="{CC5D53F6-C828-4130-A981-0BA3AD92E4F6}"/>
          </ac:picMkLst>
        </pc:picChg>
        <pc:picChg chg="add mod">
          <ac:chgData name="Koksrud Andreas" userId="9d9beba6-c052-407a-8599-c781a677a996" providerId="ADAL" clId="{E52AF215-E047-473C-8BD8-09C52860CC58}" dt="2022-01-13T10:23:05.650" v="4008" actId="1076"/>
          <ac:picMkLst>
            <pc:docMk/>
            <pc:sldMk cId="286125317" sldId="779"/>
            <ac:picMk id="5" creationId="{D121B548-E0A1-4D27-BA13-D7EDEC38732B}"/>
          </ac:picMkLst>
        </pc:picChg>
      </pc:sldChg>
      <pc:sldChg chg="addSp modSp mod">
        <pc:chgData name="Koksrud Andreas" userId="9d9beba6-c052-407a-8599-c781a677a996" providerId="ADAL" clId="{E52AF215-E047-473C-8BD8-09C52860CC58}" dt="2022-01-13T09:28:06.082" v="3443" actId="14100"/>
        <pc:sldMkLst>
          <pc:docMk/>
          <pc:sldMk cId="2127300312" sldId="780"/>
        </pc:sldMkLst>
        <pc:spChg chg="add mod">
          <ac:chgData name="Koksrud Andreas" userId="9d9beba6-c052-407a-8599-c781a677a996" providerId="ADAL" clId="{E52AF215-E047-473C-8BD8-09C52860CC58}" dt="2022-01-13T09:27:58.768" v="3442" actId="20577"/>
          <ac:spMkLst>
            <pc:docMk/>
            <pc:sldMk cId="2127300312" sldId="780"/>
            <ac:spMk id="8" creationId="{A5A96638-F154-4E71-B450-BAFE481C53F6}"/>
          </ac:spMkLst>
        </pc:spChg>
        <pc:spChg chg="mod">
          <ac:chgData name="Koksrud Andreas" userId="9d9beba6-c052-407a-8599-c781a677a996" providerId="ADAL" clId="{E52AF215-E047-473C-8BD8-09C52860CC58}" dt="2022-01-13T09:28:06.082" v="3443" actId="14100"/>
          <ac:spMkLst>
            <pc:docMk/>
            <pc:sldMk cId="2127300312" sldId="780"/>
            <ac:spMk id="181" creationId="{00000000-0000-0000-0000-000000000000}"/>
          </ac:spMkLst>
        </pc:spChg>
        <pc:picChg chg="add mod">
          <ac:chgData name="Koksrud Andreas" userId="9d9beba6-c052-407a-8599-c781a677a996" providerId="ADAL" clId="{E52AF215-E047-473C-8BD8-09C52860CC58}" dt="2022-01-13T09:27:08.718" v="3384" actId="962"/>
          <ac:picMkLst>
            <pc:docMk/>
            <pc:sldMk cId="2127300312" sldId="780"/>
            <ac:picMk id="3" creationId="{E60459E0-5B19-499A-BD24-58DDDBE84F64}"/>
          </ac:picMkLst>
        </pc:picChg>
      </pc:sldChg>
      <pc:sldChg chg="addSp delSp modSp add mod">
        <pc:chgData name="Koksrud Andreas" userId="9d9beba6-c052-407a-8599-c781a677a996" providerId="ADAL" clId="{E52AF215-E047-473C-8BD8-09C52860CC58}" dt="2022-01-12T09:29:31.889" v="653" actId="14100"/>
        <pc:sldMkLst>
          <pc:docMk/>
          <pc:sldMk cId="2324317775" sldId="781"/>
        </pc:sldMkLst>
        <pc:spChg chg="add mod">
          <ac:chgData name="Koksrud Andreas" userId="9d9beba6-c052-407a-8599-c781a677a996" providerId="ADAL" clId="{E52AF215-E047-473C-8BD8-09C52860CC58}" dt="2022-01-12T09:26:02.504" v="614" actId="14100"/>
          <ac:spMkLst>
            <pc:docMk/>
            <pc:sldMk cId="2324317775" sldId="781"/>
            <ac:spMk id="10" creationId="{66A11654-60F2-4AAA-823E-3EDD655C707B}"/>
          </ac:spMkLst>
        </pc:spChg>
        <pc:spChg chg="add mod">
          <ac:chgData name="Koksrud Andreas" userId="9d9beba6-c052-407a-8599-c781a677a996" providerId="ADAL" clId="{E52AF215-E047-473C-8BD8-09C52860CC58}" dt="2022-01-12T09:26:12.636" v="617" actId="14100"/>
          <ac:spMkLst>
            <pc:docMk/>
            <pc:sldMk cId="2324317775" sldId="781"/>
            <ac:spMk id="16" creationId="{191D718A-7B18-4839-9708-CE52821B3A85}"/>
          </ac:spMkLst>
        </pc:spChg>
        <pc:spChg chg="add del mod">
          <ac:chgData name="Koksrud Andreas" userId="9d9beba6-c052-407a-8599-c781a677a996" providerId="ADAL" clId="{E52AF215-E047-473C-8BD8-09C52860CC58}" dt="2022-01-12T09:28:16.686" v="638" actId="478"/>
          <ac:spMkLst>
            <pc:docMk/>
            <pc:sldMk cId="2324317775" sldId="781"/>
            <ac:spMk id="22" creationId="{B70E1F91-771D-4F7A-AD21-8987401F7600}"/>
          </ac:spMkLst>
        </pc:spChg>
        <pc:spChg chg="add mod">
          <ac:chgData name="Koksrud Andreas" userId="9d9beba6-c052-407a-8599-c781a677a996" providerId="ADAL" clId="{E52AF215-E047-473C-8BD8-09C52860CC58}" dt="2022-01-12T09:29:20.220" v="650" actId="14100"/>
          <ac:spMkLst>
            <pc:docMk/>
            <pc:sldMk cId="2324317775" sldId="781"/>
            <ac:spMk id="25" creationId="{2E49D3B9-07E5-4D1C-850B-7085C1A1A1D8}"/>
          </ac:spMkLst>
        </pc:spChg>
        <pc:spChg chg="mod">
          <ac:chgData name="Koksrud Andreas" userId="9d9beba6-c052-407a-8599-c781a677a996" providerId="ADAL" clId="{E52AF215-E047-473C-8BD8-09C52860CC58}" dt="2022-01-12T09:27:30.486" v="630" actId="15"/>
          <ac:spMkLst>
            <pc:docMk/>
            <pc:sldMk cId="2324317775" sldId="781"/>
            <ac:spMk id="181" creationId="{00000000-0000-0000-0000-000000000000}"/>
          </ac:spMkLst>
        </pc:spChg>
        <pc:picChg chg="add del mod">
          <ac:chgData name="Koksrud Andreas" userId="9d9beba6-c052-407a-8599-c781a677a996" providerId="ADAL" clId="{E52AF215-E047-473C-8BD8-09C52860CC58}" dt="2022-01-12T09:22:31.419" v="500" actId="478"/>
          <ac:picMkLst>
            <pc:docMk/>
            <pc:sldMk cId="2324317775" sldId="781"/>
            <ac:picMk id="3" creationId="{5F6A7877-F732-4F36-926C-C3F82673B982}"/>
          </ac:picMkLst>
        </pc:picChg>
        <pc:picChg chg="add mod">
          <ac:chgData name="Koksrud Andreas" userId="9d9beba6-c052-407a-8599-c781a677a996" providerId="ADAL" clId="{E52AF215-E047-473C-8BD8-09C52860CC58}" dt="2022-01-12T09:25:39.998" v="595" actId="1036"/>
          <ac:picMkLst>
            <pc:docMk/>
            <pc:sldMk cId="2324317775" sldId="781"/>
            <ac:picMk id="5" creationId="{F15968B3-66CE-4A9C-AEEE-E73BFD16D6D5}"/>
          </ac:picMkLst>
        </pc:picChg>
        <pc:picChg chg="add del mod modCrop">
          <ac:chgData name="Koksrud Andreas" userId="9d9beba6-c052-407a-8599-c781a677a996" providerId="ADAL" clId="{E52AF215-E047-473C-8BD8-09C52860CC58}" dt="2022-01-12T09:25:04.433" v="520" actId="478"/>
          <ac:picMkLst>
            <pc:docMk/>
            <pc:sldMk cId="2324317775" sldId="781"/>
            <ac:picMk id="8" creationId="{554C8C94-7910-4A9D-B131-F4638E63CA99}"/>
          </ac:picMkLst>
        </pc:picChg>
        <pc:picChg chg="add del mod">
          <ac:chgData name="Koksrud Andreas" userId="9d9beba6-c052-407a-8599-c781a677a996" providerId="ADAL" clId="{E52AF215-E047-473C-8BD8-09C52860CC58}" dt="2022-01-12T09:28:18.623" v="639" actId="478"/>
          <ac:picMkLst>
            <pc:docMk/>
            <pc:sldMk cId="2324317775" sldId="781"/>
            <ac:picMk id="15" creationId="{A696E535-6099-4199-98B5-076E3BC218E8}"/>
          </ac:picMkLst>
        </pc:picChg>
        <pc:picChg chg="add mod">
          <ac:chgData name="Koksrud Andreas" userId="9d9beba6-c052-407a-8599-c781a677a996" providerId="ADAL" clId="{E52AF215-E047-473C-8BD8-09C52860CC58}" dt="2022-01-12T09:28:59.783" v="645" actId="1076"/>
          <ac:picMkLst>
            <pc:docMk/>
            <pc:sldMk cId="2324317775" sldId="781"/>
            <ac:picMk id="19" creationId="{53D63198-BA36-4B2E-9B0E-D9A0500DD82B}"/>
          </ac:picMkLst>
        </pc:picChg>
        <pc:cxnChg chg="add mod">
          <ac:chgData name="Koksrud Andreas" userId="9d9beba6-c052-407a-8599-c781a677a996" providerId="ADAL" clId="{E52AF215-E047-473C-8BD8-09C52860CC58}" dt="2022-01-12T09:26:06.058" v="615" actId="14100"/>
          <ac:cxnSpMkLst>
            <pc:docMk/>
            <pc:sldMk cId="2324317775" sldId="781"/>
            <ac:cxnSpMk id="11" creationId="{05877BB4-318F-439C-A4DA-B8A2BD0E8544}"/>
          </ac:cxnSpMkLst>
        </pc:cxnChg>
        <pc:cxnChg chg="add mod">
          <ac:chgData name="Koksrud Andreas" userId="9d9beba6-c052-407a-8599-c781a677a996" providerId="ADAL" clId="{E52AF215-E047-473C-8BD8-09C52860CC58}" dt="2022-01-12T09:26:22.979" v="620" actId="14100"/>
          <ac:cxnSpMkLst>
            <pc:docMk/>
            <pc:sldMk cId="2324317775" sldId="781"/>
            <ac:cxnSpMk id="18" creationId="{1F73803A-43C1-4D14-BCD2-D00661B0ED96}"/>
          </ac:cxnSpMkLst>
        </pc:cxnChg>
        <pc:cxnChg chg="add mod">
          <ac:chgData name="Koksrud Andreas" userId="9d9beba6-c052-407a-8599-c781a677a996" providerId="ADAL" clId="{E52AF215-E047-473C-8BD8-09C52860CC58}" dt="2022-01-12T09:29:31.889" v="653" actId="14100"/>
          <ac:cxnSpMkLst>
            <pc:docMk/>
            <pc:sldMk cId="2324317775" sldId="781"/>
            <ac:cxnSpMk id="26" creationId="{67165F6E-38BC-46A6-BA64-69721F2DBB02}"/>
          </ac:cxnSpMkLst>
        </pc:cxnChg>
      </pc:sldChg>
      <pc:sldChg chg="addSp delSp modSp add mod ord">
        <pc:chgData name="Koksrud Andreas" userId="9d9beba6-c052-407a-8599-c781a677a996" providerId="ADAL" clId="{E52AF215-E047-473C-8BD8-09C52860CC58}" dt="2022-01-12T09:19:18.049" v="355" actId="14100"/>
        <pc:sldMkLst>
          <pc:docMk/>
          <pc:sldMk cId="1584291209" sldId="782"/>
        </pc:sldMkLst>
        <pc:spChg chg="add mod">
          <ac:chgData name="Koksrud Andreas" userId="9d9beba6-c052-407a-8599-c781a677a996" providerId="ADAL" clId="{E52AF215-E047-473C-8BD8-09C52860CC58}" dt="2022-01-12T09:18:04.811" v="339" actId="1076"/>
          <ac:spMkLst>
            <pc:docMk/>
            <pc:sldMk cId="1584291209" sldId="782"/>
            <ac:spMk id="8" creationId="{528CC012-8717-4E4B-AC40-E6E2914AF685}"/>
          </ac:spMkLst>
        </pc:spChg>
        <pc:spChg chg="add mod">
          <ac:chgData name="Koksrud Andreas" userId="9d9beba6-c052-407a-8599-c781a677a996" providerId="ADAL" clId="{E52AF215-E047-473C-8BD8-09C52860CC58}" dt="2022-01-12T09:17:35.071" v="332" actId="20577"/>
          <ac:spMkLst>
            <pc:docMk/>
            <pc:sldMk cId="1584291209" sldId="782"/>
            <ac:spMk id="16" creationId="{3400BD9C-4B8B-47FC-8F6F-07490A4796B3}"/>
          </ac:spMkLst>
        </pc:spChg>
        <pc:spChg chg="add mod">
          <ac:chgData name="Koksrud Andreas" userId="9d9beba6-c052-407a-8599-c781a677a996" providerId="ADAL" clId="{E52AF215-E047-473C-8BD8-09C52860CC58}" dt="2022-01-12T09:18:30.546" v="344" actId="1076"/>
          <ac:spMkLst>
            <pc:docMk/>
            <pc:sldMk cId="1584291209" sldId="782"/>
            <ac:spMk id="17" creationId="{10341B03-5BAC-4396-BE59-3BAA266696D6}"/>
          </ac:spMkLst>
        </pc:spChg>
        <pc:spChg chg="add mod">
          <ac:chgData name="Koksrud Andreas" userId="9d9beba6-c052-407a-8599-c781a677a996" providerId="ADAL" clId="{E52AF215-E047-473C-8BD8-09C52860CC58}" dt="2022-01-12T09:18:25.038" v="343" actId="14100"/>
          <ac:spMkLst>
            <pc:docMk/>
            <pc:sldMk cId="1584291209" sldId="782"/>
            <ac:spMk id="20" creationId="{1FB1FC4B-A954-4F9A-86C2-F4CBAF016775}"/>
          </ac:spMkLst>
        </pc:spChg>
        <pc:spChg chg="add mod">
          <ac:chgData name="Koksrud Andreas" userId="9d9beba6-c052-407a-8599-c781a677a996" providerId="ADAL" clId="{E52AF215-E047-473C-8BD8-09C52860CC58}" dt="2022-01-12T09:17:54.956" v="337" actId="1076"/>
          <ac:spMkLst>
            <pc:docMk/>
            <pc:sldMk cId="1584291209" sldId="782"/>
            <ac:spMk id="23" creationId="{106EA5E1-1960-445D-A6D4-F26B902F1CB7}"/>
          </ac:spMkLst>
        </pc:spChg>
        <pc:spChg chg="add mod">
          <ac:chgData name="Koksrud Andreas" userId="9d9beba6-c052-407a-8599-c781a677a996" providerId="ADAL" clId="{E52AF215-E047-473C-8BD8-09C52860CC58}" dt="2022-01-12T09:19:18.049" v="355" actId="14100"/>
          <ac:spMkLst>
            <pc:docMk/>
            <pc:sldMk cId="1584291209" sldId="782"/>
            <ac:spMk id="24" creationId="{D0096978-9C36-4FCB-846B-C7858E9430FF}"/>
          </ac:spMkLst>
        </pc:spChg>
        <pc:spChg chg="mod">
          <ac:chgData name="Koksrud Andreas" userId="9d9beba6-c052-407a-8599-c781a677a996" providerId="ADAL" clId="{E52AF215-E047-473C-8BD8-09C52860CC58}" dt="2022-01-12T09:17:25.535" v="323" actId="20577"/>
          <ac:spMkLst>
            <pc:docMk/>
            <pc:sldMk cId="1584291209" sldId="782"/>
            <ac:spMk id="181" creationId="{00000000-0000-0000-0000-000000000000}"/>
          </ac:spMkLst>
        </pc:spChg>
        <pc:picChg chg="add del mod">
          <ac:chgData name="Koksrud Andreas" userId="9d9beba6-c052-407a-8599-c781a677a996" providerId="ADAL" clId="{E52AF215-E047-473C-8BD8-09C52860CC58}" dt="2022-01-12T08:48:15.679" v="90" actId="478"/>
          <ac:picMkLst>
            <pc:docMk/>
            <pc:sldMk cId="1584291209" sldId="782"/>
            <ac:picMk id="3" creationId="{83A1C992-6CC1-4B26-B4CF-3D8D033B48B8}"/>
          </ac:picMkLst>
        </pc:picChg>
        <pc:picChg chg="add mod modCrop">
          <ac:chgData name="Koksrud Andreas" userId="9d9beba6-c052-407a-8599-c781a677a996" providerId="ADAL" clId="{E52AF215-E047-473C-8BD8-09C52860CC58}" dt="2022-01-12T09:18:04.811" v="339" actId="1076"/>
          <ac:picMkLst>
            <pc:docMk/>
            <pc:sldMk cId="1584291209" sldId="782"/>
            <ac:picMk id="5" creationId="{2D702523-DB0B-4D92-81B1-6A55069C5196}"/>
          </ac:picMkLst>
        </pc:picChg>
        <pc:picChg chg="add mod">
          <ac:chgData name="Koksrud Andreas" userId="9d9beba6-c052-407a-8599-c781a677a996" providerId="ADAL" clId="{E52AF215-E047-473C-8BD8-09C52860CC58}" dt="2022-01-12T09:18:04.811" v="339" actId="1076"/>
          <ac:picMkLst>
            <pc:docMk/>
            <pc:sldMk cId="1584291209" sldId="782"/>
            <ac:picMk id="7" creationId="{0CD9D5EF-93BB-436F-B5C7-529F2CC6BC2D}"/>
          </ac:picMkLst>
        </pc:picChg>
        <pc:picChg chg="add del mod">
          <ac:chgData name="Koksrud Andreas" userId="9d9beba6-c052-407a-8599-c781a677a996" providerId="ADAL" clId="{E52AF215-E047-473C-8BD8-09C52860CC58}" dt="2022-01-12T09:16:28.029" v="316" actId="478"/>
          <ac:picMkLst>
            <pc:docMk/>
            <pc:sldMk cId="1584291209" sldId="782"/>
            <ac:picMk id="11" creationId="{E4724CC7-6BC5-49DE-AD49-EF23946C288D}"/>
          </ac:picMkLst>
        </pc:picChg>
        <pc:picChg chg="add mod">
          <ac:chgData name="Koksrud Andreas" userId="9d9beba6-c052-407a-8599-c781a677a996" providerId="ADAL" clId="{E52AF215-E047-473C-8BD8-09C52860CC58}" dt="2022-01-12T09:18:46.949" v="349" actId="1076"/>
          <ac:picMkLst>
            <pc:docMk/>
            <pc:sldMk cId="1584291209" sldId="782"/>
            <ac:picMk id="13" creationId="{80196717-40F5-4BD0-B897-979F6E3CA9FE}"/>
          </ac:picMkLst>
        </pc:picChg>
        <pc:picChg chg="add del mod">
          <ac:chgData name="Koksrud Andreas" userId="9d9beba6-c052-407a-8599-c781a677a996" providerId="ADAL" clId="{E52AF215-E047-473C-8BD8-09C52860CC58}" dt="2022-01-12T08:56:22.507" v="164"/>
          <ac:picMkLst>
            <pc:docMk/>
            <pc:sldMk cId="1584291209" sldId="782"/>
            <ac:picMk id="1026" creationId="{3E49FF88-B680-475D-A6FE-DB85B924EC9C}"/>
          </ac:picMkLst>
        </pc:picChg>
        <pc:picChg chg="add mod">
          <ac:chgData name="Koksrud Andreas" userId="9d9beba6-c052-407a-8599-c781a677a996" providerId="ADAL" clId="{E52AF215-E047-473C-8BD8-09C52860CC58}" dt="2022-01-12T09:18:12.703" v="340" actId="1076"/>
          <ac:picMkLst>
            <pc:docMk/>
            <pc:sldMk cId="1584291209" sldId="782"/>
            <ac:picMk id="1027" creationId="{D0D9C86A-09D6-4F61-94DC-01F472CFE614}"/>
          </ac:picMkLst>
        </pc:picChg>
      </pc:sldChg>
      <pc:sldChg chg="addSp delSp modSp add mod">
        <pc:chgData name="Koksrud Andreas" userId="9d9beba6-c052-407a-8599-c781a677a996" providerId="ADAL" clId="{E52AF215-E047-473C-8BD8-09C52860CC58}" dt="2022-01-12T12:09:47.124" v="1290" actId="6549"/>
        <pc:sldMkLst>
          <pc:docMk/>
          <pc:sldMk cId="2272527178" sldId="783"/>
        </pc:sldMkLst>
        <pc:spChg chg="add mod">
          <ac:chgData name="Koksrud Andreas" userId="9d9beba6-c052-407a-8599-c781a677a996" providerId="ADAL" clId="{E52AF215-E047-473C-8BD8-09C52860CC58}" dt="2022-01-12T12:07:37.500" v="1045" actId="208"/>
          <ac:spMkLst>
            <pc:docMk/>
            <pc:sldMk cId="2272527178" sldId="783"/>
            <ac:spMk id="18" creationId="{710EDFE2-FB57-4AFC-B1B4-1806C92FDA7B}"/>
          </ac:spMkLst>
        </pc:spChg>
        <pc:spChg chg="add mod">
          <ac:chgData name="Koksrud Andreas" userId="9d9beba6-c052-407a-8599-c781a677a996" providerId="ADAL" clId="{E52AF215-E047-473C-8BD8-09C52860CC58}" dt="2022-01-12T12:07:25.567" v="1039" actId="1076"/>
          <ac:spMkLst>
            <pc:docMk/>
            <pc:sldMk cId="2272527178" sldId="783"/>
            <ac:spMk id="19" creationId="{0F441A98-E4CA-4177-AE42-F7899FE22B06}"/>
          </ac:spMkLst>
        </pc:spChg>
        <pc:spChg chg="mod">
          <ac:chgData name="Koksrud Andreas" userId="9d9beba6-c052-407a-8599-c781a677a996" providerId="ADAL" clId="{E52AF215-E047-473C-8BD8-09C52860CC58}" dt="2022-01-12T12:09:47.124" v="1290" actId="6549"/>
          <ac:spMkLst>
            <pc:docMk/>
            <pc:sldMk cId="2272527178" sldId="783"/>
            <ac:spMk id="181" creationId="{00000000-0000-0000-0000-000000000000}"/>
          </ac:spMkLst>
        </pc:spChg>
        <pc:picChg chg="add del mod">
          <ac:chgData name="Koksrud Andreas" userId="9d9beba6-c052-407a-8599-c781a677a996" providerId="ADAL" clId="{E52AF215-E047-473C-8BD8-09C52860CC58}" dt="2022-01-12T12:06:15.740" v="1024" actId="478"/>
          <ac:picMkLst>
            <pc:docMk/>
            <pc:sldMk cId="2272527178" sldId="783"/>
            <ac:picMk id="3" creationId="{0D75EA88-FCFE-4A13-84C3-4C25AB78A627}"/>
          </ac:picMkLst>
        </pc:picChg>
        <pc:picChg chg="add mod">
          <ac:chgData name="Koksrud Andreas" userId="9d9beba6-c052-407a-8599-c781a677a996" providerId="ADAL" clId="{E52AF215-E047-473C-8BD8-09C52860CC58}" dt="2022-01-12T12:04:59.644" v="1016" actId="1076"/>
          <ac:picMkLst>
            <pc:docMk/>
            <pc:sldMk cId="2272527178" sldId="783"/>
            <ac:picMk id="5" creationId="{F125ACE5-412A-4007-8485-894F013E00C9}"/>
          </ac:picMkLst>
        </pc:picChg>
        <pc:picChg chg="add mod modCrop">
          <ac:chgData name="Koksrud Andreas" userId="9d9beba6-c052-407a-8599-c781a677a996" providerId="ADAL" clId="{E52AF215-E047-473C-8BD8-09C52860CC58}" dt="2022-01-12T12:06:55.323" v="1034" actId="1076"/>
          <ac:picMkLst>
            <pc:docMk/>
            <pc:sldMk cId="2272527178" sldId="783"/>
            <ac:picMk id="13" creationId="{8F2CB808-3B58-4AF3-982D-E1DF129B08E3}"/>
          </ac:picMkLst>
        </pc:picChg>
        <pc:cxnChg chg="add mod">
          <ac:chgData name="Koksrud Andreas" userId="9d9beba6-c052-407a-8599-c781a677a996" providerId="ADAL" clId="{E52AF215-E047-473C-8BD8-09C52860CC58}" dt="2022-01-12T12:05:35.079" v="1019" actId="14100"/>
          <ac:cxnSpMkLst>
            <pc:docMk/>
            <pc:sldMk cId="2272527178" sldId="783"/>
            <ac:cxnSpMk id="10" creationId="{7F9CB4B8-A8B8-4998-8D72-F864EB3D284B}"/>
          </ac:cxnSpMkLst>
        </pc:cxnChg>
        <pc:cxnChg chg="add mod">
          <ac:chgData name="Koksrud Andreas" userId="9d9beba6-c052-407a-8599-c781a677a996" providerId="ADAL" clId="{E52AF215-E047-473C-8BD8-09C52860CC58}" dt="2022-01-12T12:05:55.635" v="1023" actId="14100"/>
          <ac:cxnSpMkLst>
            <pc:docMk/>
            <pc:sldMk cId="2272527178" sldId="783"/>
            <ac:cxnSpMk id="12" creationId="{2817CFB3-E1E5-4D12-938C-BF818D8DEA92}"/>
          </ac:cxnSpMkLst>
        </pc:cxnChg>
      </pc:sldChg>
      <pc:sldChg chg="delSp modSp add del mod">
        <pc:chgData name="Koksrud Andreas" userId="9d9beba6-c052-407a-8599-c781a677a996" providerId="ADAL" clId="{E52AF215-E047-473C-8BD8-09C52860CC58}" dt="2022-01-12T09:30:28.302" v="654" actId="2696"/>
        <pc:sldMkLst>
          <pc:docMk/>
          <pc:sldMk cId="2820914973" sldId="783"/>
        </pc:sldMkLst>
        <pc:spChg chg="del">
          <ac:chgData name="Koksrud Andreas" userId="9d9beba6-c052-407a-8599-c781a677a996" providerId="ADAL" clId="{E52AF215-E047-473C-8BD8-09C52860CC58}" dt="2022-01-12T09:27:16.314" v="628" actId="478"/>
          <ac:spMkLst>
            <pc:docMk/>
            <pc:sldMk cId="2820914973" sldId="783"/>
            <ac:spMk id="10" creationId="{66A11654-60F2-4AAA-823E-3EDD655C707B}"/>
          </ac:spMkLst>
        </pc:spChg>
        <pc:spChg chg="del">
          <ac:chgData name="Koksrud Andreas" userId="9d9beba6-c052-407a-8599-c781a677a996" providerId="ADAL" clId="{E52AF215-E047-473C-8BD8-09C52860CC58}" dt="2022-01-12T09:27:13.941" v="625" actId="478"/>
          <ac:spMkLst>
            <pc:docMk/>
            <pc:sldMk cId="2820914973" sldId="783"/>
            <ac:spMk id="16" creationId="{191D718A-7B18-4839-9708-CE52821B3A85}"/>
          </ac:spMkLst>
        </pc:spChg>
        <pc:spChg chg="mod">
          <ac:chgData name="Koksrud Andreas" userId="9d9beba6-c052-407a-8599-c781a677a996" providerId="ADAL" clId="{E52AF215-E047-473C-8BD8-09C52860CC58}" dt="2022-01-12T09:27:10.875" v="623" actId="6549"/>
          <ac:spMkLst>
            <pc:docMk/>
            <pc:sldMk cId="2820914973" sldId="783"/>
            <ac:spMk id="181" creationId="{00000000-0000-0000-0000-000000000000}"/>
          </ac:spMkLst>
        </pc:spChg>
        <pc:picChg chg="del">
          <ac:chgData name="Koksrud Andreas" userId="9d9beba6-c052-407a-8599-c781a677a996" providerId="ADAL" clId="{E52AF215-E047-473C-8BD8-09C52860CC58}" dt="2022-01-12T09:27:11.833" v="624" actId="478"/>
          <ac:picMkLst>
            <pc:docMk/>
            <pc:sldMk cId="2820914973" sldId="783"/>
            <ac:picMk id="5" creationId="{F15968B3-66CE-4A9C-AEEE-E73BFD16D6D5}"/>
          </ac:picMkLst>
        </pc:picChg>
        <pc:cxnChg chg="del">
          <ac:chgData name="Koksrud Andreas" userId="9d9beba6-c052-407a-8599-c781a677a996" providerId="ADAL" clId="{E52AF215-E047-473C-8BD8-09C52860CC58}" dt="2022-01-12T09:27:15.615" v="627" actId="478"/>
          <ac:cxnSpMkLst>
            <pc:docMk/>
            <pc:sldMk cId="2820914973" sldId="783"/>
            <ac:cxnSpMk id="11" creationId="{05877BB4-318F-439C-A4DA-B8A2BD0E8544}"/>
          </ac:cxnSpMkLst>
        </pc:cxnChg>
        <pc:cxnChg chg="del">
          <ac:chgData name="Koksrud Andreas" userId="9d9beba6-c052-407a-8599-c781a677a996" providerId="ADAL" clId="{E52AF215-E047-473C-8BD8-09C52860CC58}" dt="2022-01-12T09:27:14.550" v="626" actId="478"/>
          <ac:cxnSpMkLst>
            <pc:docMk/>
            <pc:sldMk cId="2820914973" sldId="783"/>
            <ac:cxnSpMk id="18" creationId="{1F73803A-43C1-4D14-BCD2-D00661B0ED96}"/>
          </ac:cxnSpMkLst>
        </pc:cxnChg>
      </pc:sldChg>
      <pc:sldChg chg="addSp modSp add mod">
        <pc:chgData name="Koksrud Andreas" userId="9d9beba6-c052-407a-8599-c781a677a996" providerId="ADAL" clId="{E52AF215-E047-473C-8BD8-09C52860CC58}" dt="2022-01-12T12:19:26.247" v="1396" actId="1076"/>
        <pc:sldMkLst>
          <pc:docMk/>
          <pc:sldMk cId="2035997049" sldId="784"/>
        </pc:sldMkLst>
        <pc:spChg chg="mod">
          <ac:chgData name="Koksrud Andreas" userId="9d9beba6-c052-407a-8599-c781a677a996" providerId="ADAL" clId="{E52AF215-E047-473C-8BD8-09C52860CC58}" dt="2022-01-12T12:18:46.440" v="1392" actId="20577"/>
          <ac:spMkLst>
            <pc:docMk/>
            <pc:sldMk cId="2035997049" sldId="784"/>
            <ac:spMk id="181" creationId="{00000000-0000-0000-0000-000000000000}"/>
          </ac:spMkLst>
        </pc:spChg>
        <pc:picChg chg="add mod">
          <ac:chgData name="Koksrud Andreas" userId="9d9beba6-c052-407a-8599-c781a677a996" providerId="ADAL" clId="{E52AF215-E047-473C-8BD8-09C52860CC58}" dt="2022-01-12T12:19:26.247" v="1396" actId="1076"/>
          <ac:picMkLst>
            <pc:docMk/>
            <pc:sldMk cId="2035997049" sldId="784"/>
            <ac:picMk id="3" creationId="{D586ED15-E11C-4421-AB73-C873E7E0F5F2}"/>
          </ac:picMkLst>
        </pc:picChg>
      </pc:sldChg>
      <pc:sldChg chg="addSp modSp add mod">
        <pc:chgData name="Koksrud Andreas" userId="9d9beba6-c052-407a-8599-c781a677a996" providerId="ADAL" clId="{E52AF215-E047-473C-8BD8-09C52860CC58}" dt="2022-01-12T12:30:11.120" v="1427" actId="732"/>
        <pc:sldMkLst>
          <pc:docMk/>
          <pc:sldMk cId="1437315232" sldId="785"/>
        </pc:sldMkLst>
        <pc:spChg chg="mod">
          <ac:chgData name="Koksrud Andreas" userId="9d9beba6-c052-407a-8599-c781a677a996" providerId="ADAL" clId="{E52AF215-E047-473C-8BD8-09C52860CC58}" dt="2022-01-12T12:27:34.434" v="1415" actId="20577"/>
          <ac:spMkLst>
            <pc:docMk/>
            <pc:sldMk cId="1437315232" sldId="785"/>
            <ac:spMk id="181" creationId="{00000000-0000-0000-0000-000000000000}"/>
          </ac:spMkLst>
        </pc:spChg>
        <pc:picChg chg="add mod modCrop">
          <ac:chgData name="Koksrud Andreas" userId="9d9beba6-c052-407a-8599-c781a677a996" providerId="ADAL" clId="{E52AF215-E047-473C-8BD8-09C52860CC58}" dt="2022-01-12T12:30:11.120" v="1427" actId="732"/>
          <ac:picMkLst>
            <pc:docMk/>
            <pc:sldMk cId="1437315232" sldId="785"/>
            <ac:picMk id="3" creationId="{C73ABB62-AA78-44A4-B2E9-E981E41B5E85}"/>
          </ac:picMkLst>
        </pc:picChg>
        <pc:picChg chg="add mod modCrop">
          <ac:chgData name="Koksrud Andreas" userId="9d9beba6-c052-407a-8599-c781a677a996" providerId="ADAL" clId="{E52AF215-E047-473C-8BD8-09C52860CC58}" dt="2022-01-12T12:30:03.199" v="1426" actId="732"/>
          <ac:picMkLst>
            <pc:docMk/>
            <pc:sldMk cId="1437315232" sldId="785"/>
            <ac:picMk id="5" creationId="{21F2DB1D-0C34-447E-B0DF-4D09A292F8CF}"/>
          </ac:picMkLst>
        </pc:picChg>
      </pc:sldChg>
      <pc:sldChg chg="addSp modSp add mod">
        <pc:chgData name="Koksrud Andreas" userId="9d9beba6-c052-407a-8599-c781a677a996" providerId="ADAL" clId="{E52AF215-E047-473C-8BD8-09C52860CC58}" dt="2022-01-12T12:31:33.946" v="1435" actId="732"/>
        <pc:sldMkLst>
          <pc:docMk/>
          <pc:sldMk cId="439586449" sldId="786"/>
        </pc:sldMkLst>
        <pc:spChg chg="mod">
          <ac:chgData name="Koksrud Andreas" userId="9d9beba6-c052-407a-8599-c781a677a996" providerId="ADAL" clId="{E52AF215-E047-473C-8BD8-09C52860CC58}" dt="2022-01-12T12:31:21.314" v="1429" actId="6549"/>
          <ac:spMkLst>
            <pc:docMk/>
            <pc:sldMk cId="439586449" sldId="786"/>
            <ac:spMk id="181" creationId="{00000000-0000-0000-0000-000000000000}"/>
          </ac:spMkLst>
        </pc:spChg>
        <pc:picChg chg="add mod modCrop">
          <ac:chgData name="Koksrud Andreas" userId="9d9beba6-c052-407a-8599-c781a677a996" providerId="ADAL" clId="{E52AF215-E047-473C-8BD8-09C52860CC58}" dt="2022-01-12T12:31:33.946" v="1435" actId="732"/>
          <ac:picMkLst>
            <pc:docMk/>
            <pc:sldMk cId="439586449" sldId="786"/>
            <ac:picMk id="3" creationId="{3CF30AA2-4F3F-426A-8EDA-C881038EF1CC}"/>
          </ac:picMkLst>
        </pc:picChg>
      </pc:sldChg>
      <pc:sldChg chg="addSp modSp add mod">
        <pc:chgData name="Koksrud Andreas" userId="9d9beba6-c052-407a-8599-c781a677a996" providerId="ADAL" clId="{E52AF215-E047-473C-8BD8-09C52860CC58}" dt="2022-01-12T12:33:29.533" v="1447" actId="14100"/>
        <pc:sldMkLst>
          <pc:docMk/>
          <pc:sldMk cId="3919586401" sldId="787"/>
        </pc:sldMkLst>
        <pc:spChg chg="mod">
          <ac:chgData name="Koksrud Andreas" userId="9d9beba6-c052-407a-8599-c781a677a996" providerId="ADAL" clId="{E52AF215-E047-473C-8BD8-09C52860CC58}" dt="2022-01-12T12:31:59.892" v="1439" actId="6549"/>
          <ac:spMkLst>
            <pc:docMk/>
            <pc:sldMk cId="3919586401" sldId="787"/>
            <ac:spMk id="181" creationId="{00000000-0000-0000-0000-000000000000}"/>
          </ac:spMkLst>
        </pc:spChg>
        <pc:picChg chg="add mod">
          <ac:chgData name="Koksrud Andreas" userId="9d9beba6-c052-407a-8599-c781a677a996" providerId="ADAL" clId="{E52AF215-E047-473C-8BD8-09C52860CC58}" dt="2022-01-12T12:33:29.533" v="1447" actId="14100"/>
          <ac:picMkLst>
            <pc:docMk/>
            <pc:sldMk cId="3919586401" sldId="787"/>
            <ac:picMk id="3" creationId="{431D034C-1D06-47D1-88C7-21CC20B685E8}"/>
          </ac:picMkLst>
        </pc:picChg>
      </pc:sldChg>
      <pc:sldChg chg="addSp modSp add mod">
        <pc:chgData name="Koksrud Andreas" userId="9d9beba6-c052-407a-8599-c781a677a996" providerId="ADAL" clId="{E52AF215-E047-473C-8BD8-09C52860CC58}" dt="2022-01-12T12:35:03.923" v="1461" actId="14100"/>
        <pc:sldMkLst>
          <pc:docMk/>
          <pc:sldMk cId="463834088" sldId="788"/>
        </pc:sldMkLst>
        <pc:spChg chg="mod">
          <ac:chgData name="Koksrud Andreas" userId="9d9beba6-c052-407a-8599-c781a677a996" providerId="ADAL" clId="{E52AF215-E047-473C-8BD8-09C52860CC58}" dt="2022-01-12T12:34:25.440" v="1451" actId="20577"/>
          <ac:spMkLst>
            <pc:docMk/>
            <pc:sldMk cId="463834088" sldId="788"/>
            <ac:spMk id="181" creationId="{00000000-0000-0000-0000-000000000000}"/>
          </ac:spMkLst>
        </pc:spChg>
        <pc:picChg chg="add mod modCrop">
          <ac:chgData name="Koksrud Andreas" userId="9d9beba6-c052-407a-8599-c781a677a996" providerId="ADAL" clId="{E52AF215-E047-473C-8BD8-09C52860CC58}" dt="2022-01-12T12:35:03.923" v="1461" actId="14100"/>
          <ac:picMkLst>
            <pc:docMk/>
            <pc:sldMk cId="463834088" sldId="788"/>
            <ac:picMk id="3" creationId="{CF3E8DA7-7D7B-4287-B66E-A14C3D3765A4}"/>
          </ac:picMkLst>
        </pc:picChg>
      </pc:sldChg>
      <pc:sldChg chg="addSp modSp add mod">
        <pc:chgData name="Koksrud Andreas" userId="9d9beba6-c052-407a-8599-c781a677a996" providerId="ADAL" clId="{E52AF215-E047-473C-8BD8-09C52860CC58}" dt="2022-01-12T12:37:29.259" v="1495" actId="1076"/>
        <pc:sldMkLst>
          <pc:docMk/>
          <pc:sldMk cId="1168678729" sldId="789"/>
        </pc:sldMkLst>
        <pc:spChg chg="mod">
          <ac:chgData name="Koksrud Andreas" userId="9d9beba6-c052-407a-8599-c781a677a996" providerId="ADAL" clId="{E52AF215-E047-473C-8BD8-09C52860CC58}" dt="2022-01-12T12:37:10.812" v="1490" actId="20577"/>
          <ac:spMkLst>
            <pc:docMk/>
            <pc:sldMk cId="1168678729" sldId="789"/>
            <ac:spMk id="181" creationId="{00000000-0000-0000-0000-000000000000}"/>
          </ac:spMkLst>
        </pc:spChg>
        <pc:picChg chg="add mod">
          <ac:chgData name="Koksrud Andreas" userId="9d9beba6-c052-407a-8599-c781a677a996" providerId="ADAL" clId="{E52AF215-E047-473C-8BD8-09C52860CC58}" dt="2022-01-12T12:37:29.259" v="1495" actId="1076"/>
          <ac:picMkLst>
            <pc:docMk/>
            <pc:sldMk cId="1168678729" sldId="789"/>
            <ac:picMk id="3" creationId="{BBB1361F-D2B9-44EE-935B-47FEA609BC31}"/>
          </ac:picMkLst>
        </pc:picChg>
      </pc:sldChg>
      <pc:sldChg chg="addSp delSp modSp add mod">
        <pc:chgData name="Koksrud Andreas" userId="9d9beba6-c052-407a-8599-c781a677a996" providerId="ADAL" clId="{E52AF215-E047-473C-8BD8-09C52860CC58}" dt="2022-01-12T13:18:46.495" v="2072" actId="962"/>
        <pc:sldMkLst>
          <pc:docMk/>
          <pc:sldMk cId="2352117430" sldId="790"/>
        </pc:sldMkLst>
        <pc:spChg chg="mod">
          <ac:chgData name="Koksrud Andreas" userId="9d9beba6-c052-407a-8599-c781a677a996" providerId="ADAL" clId="{E52AF215-E047-473C-8BD8-09C52860CC58}" dt="2022-01-12T13:18:25.632" v="2068" actId="20577"/>
          <ac:spMkLst>
            <pc:docMk/>
            <pc:sldMk cId="2352117430" sldId="790"/>
            <ac:spMk id="181" creationId="{00000000-0000-0000-0000-000000000000}"/>
          </ac:spMkLst>
        </pc:spChg>
        <pc:picChg chg="del">
          <ac:chgData name="Koksrud Andreas" userId="9d9beba6-c052-407a-8599-c781a677a996" providerId="ADAL" clId="{E52AF215-E047-473C-8BD8-09C52860CC58}" dt="2022-01-12T13:18:16.743" v="2039" actId="478"/>
          <ac:picMkLst>
            <pc:docMk/>
            <pc:sldMk cId="2352117430" sldId="790"/>
            <ac:picMk id="3" creationId="{2C264051-1B5B-441B-9E81-2D5D65FB9DEB}"/>
          </ac:picMkLst>
        </pc:picChg>
        <pc:picChg chg="add mod">
          <ac:chgData name="Koksrud Andreas" userId="9d9beba6-c052-407a-8599-c781a677a996" providerId="ADAL" clId="{E52AF215-E047-473C-8BD8-09C52860CC58}" dt="2022-01-12T13:18:46.495" v="2072" actId="962"/>
          <ac:picMkLst>
            <pc:docMk/>
            <pc:sldMk cId="2352117430" sldId="790"/>
            <ac:picMk id="4" creationId="{383C1008-F758-4A4D-9BD7-AFD94B4A630A}"/>
          </ac:picMkLst>
        </pc:picChg>
        <pc:picChg chg="del">
          <ac:chgData name="Koksrud Andreas" userId="9d9beba6-c052-407a-8599-c781a677a996" providerId="ADAL" clId="{E52AF215-E047-473C-8BD8-09C52860CC58}" dt="2022-01-12T13:18:16.014" v="2038" actId="478"/>
          <ac:picMkLst>
            <pc:docMk/>
            <pc:sldMk cId="2352117430" sldId="790"/>
            <ac:picMk id="5" creationId="{DF3FF874-F6AA-4745-A042-751C31DA95D6}"/>
          </ac:picMkLst>
        </pc:picChg>
      </pc:sldChg>
      <pc:sldChg chg="addSp modSp add mod">
        <pc:chgData name="Koksrud Andreas" userId="9d9beba6-c052-407a-8599-c781a677a996" providerId="ADAL" clId="{E52AF215-E047-473C-8BD8-09C52860CC58}" dt="2022-01-13T07:39:17.946" v="3027" actId="20577"/>
        <pc:sldMkLst>
          <pc:docMk/>
          <pc:sldMk cId="1582857246" sldId="791"/>
        </pc:sldMkLst>
        <pc:spChg chg="add mod">
          <ac:chgData name="Koksrud Andreas" userId="9d9beba6-c052-407a-8599-c781a677a996" providerId="ADAL" clId="{E52AF215-E047-473C-8BD8-09C52860CC58}" dt="2022-01-13T07:35:20.873" v="2953" actId="14100"/>
          <ac:spMkLst>
            <pc:docMk/>
            <pc:sldMk cId="1582857246" sldId="791"/>
            <ac:spMk id="8" creationId="{94AD9D46-A267-4ABB-A0CE-927CA5FD5892}"/>
          </ac:spMkLst>
        </pc:spChg>
        <pc:spChg chg="mod">
          <ac:chgData name="Koksrud Andreas" userId="9d9beba6-c052-407a-8599-c781a677a996" providerId="ADAL" clId="{E52AF215-E047-473C-8BD8-09C52860CC58}" dt="2022-01-13T07:39:17.946" v="3027" actId="20577"/>
          <ac:spMkLst>
            <pc:docMk/>
            <pc:sldMk cId="1582857246" sldId="791"/>
            <ac:spMk id="181" creationId="{00000000-0000-0000-0000-000000000000}"/>
          </ac:spMkLst>
        </pc:spChg>
        <pc:picChg chg="add mod">
          <ac:chgData name="Koksrud Andreas" userId="9d9beba6-c052-407a-8599-c781a677a996" providerId="ADAL" clId="{E52AF215-E047-473C-8BD8-09C52860CC58}" dt="2022-01-13T07:34:39.037" v="2949" actId="1076"/>
          <ac:picMkLst>
            <pc:docMk/>
            <pc:sldMk cId="1582857246" sldId="791"/>
            <ac:picMk id="3" creationId="{3E12D5D4-6E70-4241-A580-34CAD7E62E57}"/>
          </ac:picMkLst>
        </pc:picChg>
      </pc:sldChg>
      <pc:sldChg chg="addSp modSp add mod">
        <pc:chgData name="Koksrud Andreas" userId="9d9beba6-c052-407a-8599-c781a677a996" providerId="ADAL" clId="{E52AF215-E047-473C-8BD8-09C52860CC58}" dt="2022-01-13T09:47:31.703" v="3704" actId="1036"/>
        <pc:sldMkLst>
          <pc:docMk/>
          <pc:sldMk cId="95454940" sldId="792"/>
        </pc:sldMkLst>
        <pc:spChg chg="add mod">
          <ac:chgData name="Koksrud Andreas" userId="9d9beba6-c052-407a-8599-c781a677a996" providerId="ADAL" clId="{E52AF215-E047-473C-8BD8-09C52860CC58}" dt="2022-01-13T09:43:03.005" v="3681" actId="14100"/>
          <ac:spMkLst>
            <pc:docMk/>
            <pc:sldMk cId="95454940" sldId="792"/>
            <ac:spMk id="10" creationId="{140F3AD6-0FE8-45C3-808E-D3A05ACC11D0}"/>
          </ac:spMkLst>
        </pc:spChg>
        <pc:spChg chg="mod">
          <ac:chgData name="Koksrud Andreas" userId="9d9beba6-c052-407a-8599-c781a677a996" providerId="ADAL" clId="{E52AF215-E047-473C-8BD8-09C52860CC58}" dt="2022-01-13T09:47:27.108" v="3702" actId="20577"/>
          <ac:spMkLst>
            <pc:docMk/>
            <pc:sldMk cId="95454940" sldId="792"/>
            <ac:spMk id="181" creationId="{00000000-0000-0000-0000-000000000000}"/>
          </ac:spMkLst>
        </pc:spChg>
        <pc:picChg chg="add mod modCrop">
          <ac:chgData name="Koksrud Andreas" userId="9d9beba6-c052-407a-8599-c781a677a996" providerId="ADAL" clId="{E52AF215-E047-473C-8BD8-09C52860CC58}" dt="2022-01-13T09:39:25.570" v="3636" actId="1035"/>
          <ac:picMkLst>
            <pc:docMk/>
            <pc:sldMk cId="95454940" sldId="792"/>
            <ac:picMk id="3" creationId="{AC7014D7-98FE-4D47-A62F-979FDF92EC8B}"/>
          </ac:picMkLst>
        </pc:picChg>
        <pc:picChg chg="add mod">
          <ac:chgData name="Koksrud Andreas" userId="9d9beba6-c052-407a-8599-c781a677a996" providerId="ADAL" clId="{E52AF215-E047-473C-8BD8-09C52860CC58}" dt="2022-01-13T09:42:25.914" v="3647" actId="1036"/>
          <ac:picMkLst>
            <pc:docMk/>
            <pc:sldMk cId="95454940" sldId="792"/>
            <ac:picMk id="5" creationId="{5926915C-05D7-466A-9558-78B7057F127B}"/>
          </ac:picMkLst>
        </pc:picChg>
        <pc:picChg chg="add mod">
          <ac:chgData name="Koksrud Andreas" userId="9d9beba6-c052-407a-8599-c781a677a996" providerId="ADAL" clId="{E52AF215-E047-473C-8BD8-09C52860CC58}" dt="2022-01-13T09:45:29.854" v="3685" actId="1076"/>
          <ac:picMkLst>
            <pc:docMk/>
            <pc:sldMk cId="95454940" sldId="792"/>
            <ac:picMk id="7" creationId="{02FC3D8F-4579-422C-A5AB-94FD920F2F6E}"/>
          </ac:picMkLst>
        </pc:picChg>
        <pc:picChg chg="add mod">
          <ac:chgData name="Koksrud Andreas" userId="9d9beba6-c052-407a-8599-c781a677a996" providerId="ADAL" clId="{E52AF215-E047-473C-8BD8-09C52860CC58}" dt="2022-01-13T09:47:31.703" v="3704" actId="1036"/>
          <ac:picMkLst>
            <pc:docMk/>
            <pc:sldMk cId="95454940" sldId="792"/>
            <ac:picMk id="9" creationId="{C0827C10-B728-4DB4-87D6-54594D39723B}"/>
          </ac:picMkLst>
        </pc:picChg>
      </pc:sldChg>
      <pc:sldChg chg="addSp delSp modSp add mod ord">
        <pc:chgData name="Koksrud Andreas" userId="9d9beba6-c052-407a-8599-c781a677a996" providerId="ADAL" clId="{E52AF215-E047-473C-8BD8-09C52860CC58}" dt="2022-01-13T10:04:38.993" v="3813" actId="478"/>
        <pc:sldMkLst>
          <pc:docMk/>
          <pc:sldMk cId="2873046022" sldId="793"/>
        </pc:sldMkLst>
        <pc:spChg chg="del">
          <ac:chgData name="Koksrud Andreas" userId="9d9beba6-c052-407a-8599-c781a677a996" providerId="ADAL" clId="{E52AF215-E047-473C-8BD8-09C52860CC58}" dt="2022-01-13T10:04:29.638" v="3807" actId="478"/>
          <ac:spMkLst>
            <pc:docMk/>
            <pc:sldMk cId="2873046022" sldId="793"/>
            <ac:spMk id="14" creationId="{FA8A2802-E3EA-468F-8B21-46F72456FABA}"/>
          </ac:spMkLst>
        </pc:spChg>
        <pc:spChg chg="del">
          <ac:chgData name="Koksrud Andreas" userId="9d9beba6-c052-407a-8599-c781a677a996" providerId="ADAL" clId="{E52AF215-E047-473C-8BD8-09C52860CC58}" dt="2022-01-13T10:04:35.215" v="3811" actId="478"/>
          <ac:spMkLst>
            <pc:docMk/>
            <pc:sldMk cId="2873046022" sldId="793"/>
            <ac:spMk id="16" creationId="{D6BC44B5-DD0F-44B4-B151-7222B77BF6F0}"/>
          </ac:spMkLst>
        </pc:spChg>
        <pc:spChg chg="del">
          <ac:chgData name="Koksrud Andreas" userId="9d9beba6-c052-407a-8599-c781a677a996" providerId="ADAL" clId="{E52AF215-E047-473C-8BD8-09C52860CC58}" dt="2022-01-13T10:04:38.993" v="3813" actId="478"/>
          <ac:spMkLst>
            <pc:docMk/>
            <pc:sldMk cId="2873046022" sldId="793"/>
            <ac:spMk id="19" creationId="{5D456D15-BECC-4AA9-909E-81B3C7B91D77}"/>
          </ac:spMkLst>
        </pc:spChg>
        <pc:spChg chg="mod">
          <ac:chgData name="Koksrud Andreas" userId="9d9beba6-c052-407a-8599-c781a677a996" providerId="ADAL" clId="{E52AF215-E047-473C-8BD8-09C52860CC58}" dt="2022-01-13T10:03:52.134" v="3804" actId="20577"/>
          <ac:spMkLst>
            <pc:docMk/>
            <pc:sldMk cId="2873046022" sldId="793"/>
            <ac:spMk id="180" creationId="{00000000-0000-0000-0000-000000000000}"/>
          </ac:spMkLst>
        </pc:spChg>
        <pc:picChg chg="add del mod modCrop">
          <ac:chgData name="Koksrud Andreas" userId="9d9beba6-c052-407a-8599-c781a677a996" providerId="ADAL" clId="{E52AF215-E047-473C-8BD8-09C52860CC58}" dt="2022-01-13T10:04:32.965" v="3810" actId="478"/>
          <ac:picMkLst>
            <pc:docMk/>
            <pc:sldMk cId="2873046022" sldId="793"/>
            <ac:picMk id="3" creationId="{0EB07F1A-0579-48E0-9FB1-3362147C34B4}"/>
          </ac:picMkLst>
        </pc:picChg>
        <pc:picChg chg="del">
          <ac:chgData name="Koksrud Andreas" userId="9d9beba6-c052-407a-8599-c781a677a996" providerId="ADAL" clId="{E52AF215-E047-473C-8BD8-09C52860CC58}" dt="2022-01-13T10:04:37.065" v="3812" actId="478"/>
          <ac:picMkLst>
            <pc:docMk/>
            <pc:sldMk cId="2873046022" sldId="793"/>
            <ac:picMk id="18" creationId="{82FBB2CF-FD0D-468E-A54F-86B9E9FE8D36}"/>
          </ac:picMkLst>
        </pc:picChg>
        <pc:cxnChg chg="del mod">
          <ac:chgData name="Koksrud Andreas" userId="9d9beba6-c052-407a-8599-c781a677a996" providerId="ADAL" clId="{E52AF215-E047-473C-8BD8-09C52860CC58}" dt="2022-01-13T10:04:30.451" v="3808" actId="478"/>
          <ac:cxnSpMkLst>
            <pc:docMk/>
            <pc:sldMk cId="2873046022" sldId="793"/>
            <ac:cxnSpMk id="17" creationId="{7519B5C2-7D81-4925-8953-0549C33CE3DB}"/>
          </ac:cxnSpMkLst>
        </pc:cxnChg>
      </pc:sldChg>
    </pc:docChg>
  </pc:docChgLst>
  <pc:docChgLst>
    <pc:chgData name="Koksrud Andreas" userId="9d9beba6-c052-407a-8599-c781a677a996" providerId="ADAL" clId="{A12B80E5-82E9-4617-B0D5-DF0FC4BDED9A}"/>
    <pc:docChg chg="undo custSel addSld modSld">
      <pc:chgData name="Koksrud Andreas" userId="9d9beba6-c052-407a-8599-c781a677a996" providerId="ADAL" clId="{A12B80E5-82E9-4617-B0D5-DF0FC4BDED9A}" dt="2022-01-14T10:17:10.042" v="502" actId="1036"/>
      <pc:docMkLst>
        <pc:docMk/>
      </pc:docMkLst>
      <pc:sldChg chg="addSp modSp mod">
        <pc:chgData name="Koksrud Andreas" userId="9d9beba6-c052-407a-8599-c781a677a996" providerId="ADAL" clId="{A12B80E5-82E9-4617-B0D5-DF0FC4BDED9A}" dt="2022-01-14T09:54:35.855" v="55" actId="962"/>
        <pc:sldMkLst>
          <pc:docMk/>
          <pc:sldMk cId="662028914" sldId="756"/>
        </pc:sldMkLst>
        <pc:spChg chg="mod">
          <ac:chgData name="Koksrud Andreas" userId="9d9beba6-c052-407a-8599-c781a677a996" providerId="ADAL" clId="{A12B80E5-82E9-4617-B0D5-DF0FC4BDED9A}" dt="2022-01-14T09:53:17.586" v="52" actId="6549"/>
          <ac:spMkLst>
            <pc:docMk/>
            <pc:sldMk cId="662028914" sldId="756"/>
            <ac:spMk id="181" creationId="{00000000-0000-0000-0000-000000000000}"/>
          </ac:spMkLst>
        </pc:spChg>
        <pc:picChg chg="add mod">
          <ac:chgData name="Koksrud Andreas" userId="9d9beba6-c052-407a-8599-c781a677a996" providerId="ADAL" clId="{A12B80E5-82E9-4617-B0D5-DF0FC4BDED9A}" dt="2022-01-14T09:54:35.855" v="55" actId="962"/>
          <ac:picMkLst>
            <pc:docMk/>
            <pc:sldMk cId="662028914" sldId="756"/>
            <ac:picMk id="3" creationId="{CA340183-2C69-459C-B076-84B2B0C7CE08}"/>
          </ac:picMkLst>
        </pc:picChg>
      </pc:sldChg>
      <pc:sldChg chg="modSp mod">
        <pc:chgData name="Koksrud Andreas" userId="9d9beba6-c052-407a-8599-c781a677a996" providerId="ADAL" clId="{A12B80E5-82E9-4617-B0D5-DF0FC4BDED9A}" dt="2022-01-14T10:05:45.246" v="210" actId="20577"/>
        <pc:sldMkLst>
          <pc:docMk/>
          <pc:sldMk cId="2706780473" sldId="758"/>
        </pc:sldMkLst>
        <pc:spChg chg="mod">
          <ac:chgData name="Koksrud Andreas" userId="9d9beba6-c052-407a-8599-c781a677a996" providerId="ADAL" clId="{A12B80E5-82E9-4617-B0D5-DF0FC4BDED9A}" dt="2022-01-14T10:05:45.246" v="210" actId="20577"/>
          <ac:spMkLst>
            <pc:docMk/>
            <pc:sldMk cId="2706780473" sldId="758"/>
            <ac:spMk id="181" creationId="{00000000-0000-0000-0000-000000000000}"/>
          </ac:spMkLst>
        </pc:spChg>
      </pc:sldChg>
      <pc:sldChg chg="addSp modSp mod">
        <pc:chgData name="Koksrud Andreas" userId="9d9beba6-c052-407a-8599-c781a677a996" providerId="ADAL" clId="{A12B80E5-82E9-4617-B0D5-DF0FC4BDED9A}" dt="2022-01-14T10:07:58.673" v="308" actId="14100"/>
        <pc:sldMkLst>
          <pc:docMk/>
          <pc:sldMk cId="2616277657" sldId="759"/>
        </pc:sldMkLst>
        <pc:spChg chg="add mod">
          <ac:chgData name="Koksrud Andreas" userId="9d9beba6-c052-407a-8599-c781a677a996" providerId="ADAL" clId="{A12B80E5-82E9-4617-B0D5-DF0FC4BDED9A}" dt="2022-01-14T10:07:28.262" v="262" actId="1037"/>
          <ac:spMkLst>
            <pc:docMk/>
            <pc:sldMk cId="2616277657" sldId="759"/>
            <ac:spMk id="7" creationId="{057256A9-CE24-48F0-B224-87E513B25626}"/>
          </ac:spMkLst>
        </pc:spChg>
        <pc:spChg chg="add mod">
          <ac:chgData name="Koksrud Andreas" userId="9d9beba6-c052-407a-8599-c781a677a996" providerId="ADAL" clId="{A12B80E5-82E9-4617-B0D5-DF0FC4BDED9A}" dt="2022-01-14T10:07:58.673" v="308" actId="14100"/>
          <ac:spMkLst>
            <pc:docMk/>
            <pc:sldMk cId="2616277657" sldId="759"/>
            <ac:spMk id="11" creationId="{2B79CFAE-1AF3-4F63-B7DA-B503CC9BE65E}"/>
          </ac:spMkLst>
        </pc:spChg>
        <pc:cxnChg chg="add">
          <ac:chgData name="Koksrud Andreas" userId="9d9beba6-c052-407a-8599-c781a677a996" providerId="ADAL" clId="{A12B80E5-82E9-4617-B0D5-DF0FC4BDED9A}" dt="2022-01-14T10:07:32.823" v="263" actId="11529"/>
          <ac:cxnSpMkLst>
            <pc:docMk/>
            <pc:sldMk cId="2616277657" sldId="759"/>
            <ac:cxnSpMk id="3" creationId="{9B8BD417-2D1A-48D1-B774-052B723D5C3A}"/>
          </ac:cxnSpMkLst>
        </pc:cxnChg>
      </pc:sldChg>
      <pc:sldChg chg="addSp modSp mod">
        <pc:chgData name="Koksrud Andreas" userId="9d9beba6-c052-407a-8599-c781a677a996" providerId="ADAL" clId="{A12B80E5-82E9-4617-B0D5-DF0FC4BDED9A}" dt="2022-01-14T10:15:05.999" v="446" actId="6549"/>
        <pc:sldMkLst>
          <pc:docMk/>
          <pc:sldMk cId="2033200031" sldId="766"/>
        </pc:sldMkLst>
        <pc:spChg chg="add mod">
          <ac:chgData name="Koksrud Andreas" userId="9d9beba6-c052-407a-8599-c781a677a996" providerId="ADAL" clId="{A12B80E5-82E9-4617-B0D5-DF0FC4BDED9A}" dt="2022-01-14T10:14:46.657" v="378" actId="20577"/>
          <ac:spMkLst>
            <pc:docMk/>
            <pc:sldMk cId="2033200031" sldId="766"/>
            <ac:spMk id="10" creationId="{BCB9F054-B12F-4A4C-9B7C-930E06BD0252}"/>
          </ac:spMkLst>
        </pc:spChg>
        <pc:spChg chg="add mod">
          <ac:chgData name="Koksrud Andreas" userId="9d9beba6-c052-407a-8599-c781a677a996" providerId="ADAL" clId="{A12B80E5-82E9-4617-B0D5-DF0FC4BDED9A}" dt="2022-01-14T10:15:05.999" v="446" actId="6549"/>
          <ac:spMkLst>
            <pc:docMk/>
            <pc:sldMk cId="2033200031" sldId="766"/>
            <ac:spMk id="11" creationId="{1E896A30-11CF-47AD-8A97-3DCB9ECDFEFF}"/>
          </ac:spMkLst>
        </pc:spChg>
        <pc:picChg chg="mod modCrop">
          <ac:chgData name="Koksrud Andreas" userId="9d9beba6-c052-407a-8599-c781a677a996" providerId="ADAL" clId="{A12B80E5-82E9-4617-B0D5-DF0FC4BDED9A}" dt="2022-01-14T10:13:48.193" v="312" actId="732"/>
          <ac:picMkLst>
            <pc:docMk/>
            <pc:sldMk cId="2033200031" sldId="766"/>
            <ac:picMk id="5" creationId="{C120A39A-9846-4024-B787-3853C5C0B5A8}"/>
          </ac:picMkLst>
        </pc:picChg>
        <pc:picChg chg="mod modCrop">
          <ac:chgData name="Koksrud Andreas" userId="9d9beba6-c052-407a-8599-c781a677a996" providerId="ADAL" clId="{A12B80E5-82E9-4617-B0D5-DF0FC4BDED9A}" dt="2022-01-14T10:13:42.641" v="311" actId="732"/>
          <ac:picMkLst>
            <pc:docMk/>
            <pc:sldMk cId="2033200031" sldId="766"/>
            <ac:picMk id="9" creationId="{DD0B6692-207D-4B02-B2CA-CC747FA17DA7}"/>
          </ac:picMkLst>
        </pc:picChg>
      </pc:sldChg>
      <pc:sldChg chg="modSp mod">
        <pc:chgData name="Koksrud Andreas" userId="9d9beba6-c052-407a-8599-c781a677a996" providerId="ADAL" clId="{A12B80E5-82E9-4617-B0D5-DF0FC4BDED9A}" dt="2022-01-14T10:17:10.042" v="502" actId="1036"/>
        <pc:sldMkLst>
          <pc:docMk/>
          <pc:sldMk cId="1447749266" sldId="777"/>
        </pc:sldMkLst>
        <pc:spChg chg="mod">
          <ac:chgData name="Koksrud Andreas" userId="9d9beba6-c052-407a-8599-c781a677a996" providerId="ADAL" clId="{A12B80E5-82E9-4617-B0D5-DF0FC4BDED9A}" dt="2022-01-14T10:17:03.468" v="470" actId="1037"/>
          <ac:spMkLst>
            <pc:docMk/>
            <pc:sldMk cId="1447749266" sldId="777"/>
            <ac:spMk id="8" creationId="{7E7FA496-1702-4376-A6B2-72E053A5EE4B}"/>
          </ac:spMkLst>
        </pc:spChg>
        <pc:spChg chg="mod">
          <ac:chgData name="Koksrud Andreas" userId="9d9beba6-c052-407a-8599-c781a677a996" providerId="ADAL" clId="{A12B80E5-82E9-4617-B0D5-DF0FC4BDED9A}" dt="2022-01-14T10:17:10.042" v="502" actId="1036"/>
          <ac:spMkLst>
            <pc:docMk/>
            <pc:sldMk cId="1447749266" sldId="777"/>
            <ac:spMk id="9" creationId="{CABFDFC9-A0FF-4792-AAAD-D7E9A29CFAA8}"/>
          </ac:spMkLst>
        </pc:spChg>
        <pc:spChg chg="mod">
          <ac:chgData name="Koksrud Andreas" userId="9d9beba6-c052-407a-8599-c781a677a996" providerId="ADAL" clId="{A12B80E5-82E9-4617-B0D5-DF0FC4BDED9A}" dt="2022-01-14T10:16:59.257" v="463" actId="14100"/>
          <ac:spMkLst>
            <pc:docMk/>
            <pc:sldMk cId="1447749266" sldId="777"/>
            <ac:spMk id="10" creationId="{6191245A-69F8-4C43-8AE6-53AD07302FBD}"/>
          </ac:spMkLst>
        </pc:spChg>
        <pc:cxnChg chg="mod">
          <ac:chgData name="Koksrud Andreas" userId="9d9beba6-c052-407a-8599-c781a677a996" providerId="ADAL" clId="{A12B80E5-82E9-4617-B0D5-DF0FC4BDED9A}" dt="2022-01-14T10:17:03.468" v="470" actId="1037"/>
          <ac:cxnSpMkLst>
            <pc:docMk/>
            <pc:sldMk cId="1447749266" sldId="777"/>
            <ac:cxnSpMk id="5" creationId="{595E27D7-7678-4C96-B013-A18348C68427}"/>
          </ac:cxnSpMkLst>
        </pc:cxnChg>
        <pc:cxnChg chg="mod">
          <ac:chgData name="Koksrud Andreas" userId="9d9beba6-c052-407a-8599-c781a677a996" providerId="ADAL" clId="{A12B80E5-82E9-4617-B0D5-DF0FC4BDED9A}" dt="2022-01-14T10:17:10.042" v="502" actId="1036"/>
          <ac:cxnSpMkLst>
            <pc:docMk/>
            <pc:sldMk cId="1447749266" sldId="777"/>
            <ac:cxnSpMk id="13" creationId="{D44EB26A-9958-4DE7-B20E-8234BE7C7FFF}"/>
          </ac:cxnSpMkLst>
        </pc:cxnChg>
      </pc:sldChg>
      <pc:sldChg chg="modSp mod">
        <pc:chgData name="Koksrud Andreas" userId="9d9beba6-c052-407a-8599-c781a677a996" providerId="ADAL" clId="{A12B80E5-82E9-4617-B0D5-DF0FC4BDED9A}" dt="2022-01-14T10:06:45.306" v="254" actId="20577"/>
        <pc:sldMkLst>
          <pc:docMk/>
          <pc:sldMk cId="2324317775" sldId="781"/>
        </pc:sldMkLst>
        <pc:spChg chg="mod">
          <ac:chgData name="Koksrud Andreas" userId="9d9beba6-c052-407a-8599-c781a677a996" providerId="ADAL" clId="{A12B80E5-82E9-4617-B0D5-DF0FC4BDED9A}" dt="2022-01-14T10:06:45.306" v="254" actId="20577"/>
          <ac:spMkLst>
            <pc:docMk/>
            <pc:sldMk cId="2324317775" sldId="781"/>
            <ac:spMk id="181" creationId="{00000000-0000-0000-0000-000000000000}"/>
          </ac:spMkLst>
        </pc:spChg>
      </pc:sldChg>
      <pc:sldChg chg="modSp mod">
        <pc:chgData name="Koksrud Andreas" userId="9d9beba6-c052-407a-8599-c781a677a996" providerId="ADAL" clId="{A12B80E5-82E9-4617-B0D5-DF0FC4BDED9A}" dt="2022-01-14T10:05:13.063" v="148" actId="21"/>
        <pc:sldMkLst>
          <pc:docMk/>
          <pc:sldMk cId="2272527178" sldId="783"/>
        </pc:sldMkLst>
        <pc:spChg chg="mod">
          <ac:chgData name="Koksrud Andreas" userId="9d9beba6-c052-407a-8599-c781a677a996" providerId="ADAL" clId="{A12B80E5-82E9-4617-B0D5-DF0FC4BDED9A}" dt="2022-01-14T10:05:13.063" v="148" actId="21"/>
          <ac:spMkLst>
            <pc:docMk/>
            <pc:sldMk cId="2272527178" sldId="783"/>
            <ac:spMk id="181" creationId="{00000000-0000-0000-0000-000000000000}"/>
          </ac:spMkLst>
        </pc:spChg>
      </pc:sldChg>
      <pc:sldChg chg="addSp delSp modSp add mod">
        <pc:chgData name="Koksrud Andreas" userId="9d9beba6-c052-407a-8599-c781a677a996" providerId="ADAL" clId="{A12B80E5-82E9-4617-B0D5-DF0FC4BDED9A}" dt="2022-01-14T10:02:43.043" v="70" actId="1076"/>
        <pc:sldMkLst>
          <pc:docMk/>
          <pc:sldMk cId="178375220" sldId="794"/>
        </pc:sldMkLst>
        <pc:picChg chg="add del mod">
          <ac:chgData name="Koksrud Andreas" userId="9d9beba6-c052-407a-8599-c781a677a996" providerId="ADAL" clId="{A12B80E5-82E9-4617-B0D5-DF0FC4BDED9A}" dt="2022-01-14T09:57:13.164" v="62" actId="478"/>
          <ac:picMkLst>
            <pc:docMk/>
            <pc:sldMk cId="178375220" sldId="794"/>
            <ac:picMk id="3" creationId="{6665FD54-BB39-46B9-B77D-A9F2036C8748}"/>
          </ac:picMkLst>
        </pc:picChg>
        <pc:picChg chg="add mod">
          <ac:chgData name="Koksrud Andreas" userId="9d9beba6-c052-407a-8599-c781a677a996" providerId="ADAL" clId="{A12B80E5-82E9-4617-B0D5-DF0FC4BDED9A}" dt="2022-01-14T10:02:43.043" v="70" actId="1076"/>
          <ac:picMkLst>
            <pc:docMk/>
            <pc:sldMk cId="178375220" sldId="794"/>
            <ac:picMk id="1026" creationId="{FD279545-D83C-4684-B5FC-7C6FD76C2327}"/>
          </ac:picMkLst>
        </pc:picChg>
      </pc:sldChg>
    </pc:docChg>
  </pc:docChgLst>
  <pc:docChgLst>
    <pc:chgData name="Andreas Koksrud" userId="9d9beba6-c052-407a-8599-c781a677a996" providerId="ADAL" clId="{4C89AD2D-B60A-479F-9F95-9D423A06FAEA}"/>
    <pc:docChg chg="undo redo custSel addSld delSld modSld sldOrd modSection">
      <pc:chgData name="Andreas Koksrud" userId="9d9beba6-c052-407a-8599-c781a677a996" providerId="ADAL" clId="{4C89AD2D-B60A-479F-9F95-9D423A06FAEA}" dt="2024-08-06T18:29:33.046" v="40740" actId="20577"/>
      <pc:docMkLst>
        <pc:docMk/>
      </pc:docMkLst>
      <pc:sldChg chg="del">
        <pc:chgData name="Andreas Koksrud" userId="9d9beba6-c052-407a-8599-c781a677a996" providerId="ADAL" clId="{4C89AD2D-B60A-479F-9F95-9D423A06FAEA}" dt="2024-06-09T16:13:18.629" v="2169" actId="47"/>
        <pc:sldMkLst>
          <pc:docMk/>
          <pc:sldMk cId="0" sldId="269"/>
        </pc:sldMkLst>
      </pc:sldChg>
      <pc:sldChg chg="addSp delSp modSp mod setBg">
        <pc:chgData name="Andreas Koksrud" userId="9d9beba6-c052-407a-8599-c781a677a996" providerId="ADAL" clId="{4C89AD2D-B60A-479F-9F95-9D423A06FAEA}" dt="2024-07-24T19:54:22.180" v="27580"/>
        <pc:sldMkLst>
          <pc:docMk/>
          <pc:sldMk cId="697137886" sldId="679"/>
        </pc:sldMkLst>
        <pc:spChg chg="mod">
          <ac:chgData name="Andreas Koksrud" userId="9d9beba6-c052-407a-8599-c781a677a996" providerId="ADAL" clId="{4C89AD2D-B60A-479F-9F95-9D423A06FAEA}" dt="2024-06-09T15:46:44.206" v="47" actId="20577"/>
          <ac:spMkLst>
            <pc:docMk/>
            <pc:sldMk cId="697137886" sldId="679"/>
            <ac:spMk id="2" creationId="{00000000-0000-0000-0000-000000000000}"/>
          </ac:spMkLst>
        </pc:spChg>
        <pc:spChg chg="mod">
          <ac:chgData name="Andreas Koksrud" userId="9d9beba6-c052-407a-8599-c781a677a996" providerId="ADAL" clId="{4C89AD2D-B60A-479F-9F95-9D423A06FAEA}" dt="2024-06-09T15:47:07.884" v="106" actId="20577"/>
          <ac:spMkLst>
            <pc:docMk/>
            <pc:sldMk cId="697137886" sldId="679"/>
            <ac:spMk id="3" creationId="{00000000-0000-0000-0000-000000000000}"/>
          </ac:spMkLst>
        </pc:spChg>
        <pc:picChg chg="add del mod">
          <ac:chgData name="Andreas Koksrud" userId="9d9beba6-c052-407a-8599-c781a677a996" providerId="ADAL" clId="{4C89AD2D-B60A-479F-9F95-9D423A06FAEA}" dt="2024-07-24T19:52:21.115" v="27578" actId="478"/>
          <ac:picMkLst>
            <pc:docMk/>
            <pc:sldMk cId="697137886" sldId="679"/>
            <ac:picMk id="8" creationId="{2693EAA6-B667-FDD8-E9B9-0580175D1E43}"/>
          </ac:picMkLst>
        </pc:picChg>
      </pc:sldChg>
      <pc:sldChg chg="addSp delSp modSp mod">
        <pc:chgData name="Andreas Koksrud" userId="9d9beba6-c052-407a-8599-c781a677a996" providerId="ADAL" clId="{4C89AD2D-B60A-479F-9F95-9D423A06FAEA}" dt="2024-06-14T18:12:29.291" v="5927" actId="20577"/>
        <pc:sldMkLst>
          <pc:docMk/>
          <pc:sldMk cId="2087783305" sldId="730"/>
        </pc:sldMkLst>
        <pc:spChg chg="mod">
          <ac:chgData name="Andreas Koksrud" userId="9d9beba6-c052-407a-8599-c781a677a996" providerId="ADAL" clId="{4C89AD2D-B60A-479F-9F95-9D423A06FAEA}" dt="2024-06-09T15:49:38.702" v="243" actId="13926"/>
          <ac:spMkLst>
            <pc:docMk/>
            <pc:sldMk cId="2087783305" sldId="730"/>
            <ac:spMk id="2" creationId="{E83F8947-299D-4698-B80E-56B8E23125F0}"/>
          </ac:spMkLst>
        </pc:spChg>
        <pc:spChg chg="add del mod">
          <ac:chgData name="Andreas Koksrud" userId="9d9beba6-c052-407a-8599-c781a677a996" providerId="ADAL" clId="{4C89AD2D-B60A-479F-9F95-9D423A06FAEA}" dt="2024-06-14T17:57:49.342" v="5770" actId="478"/>
          <ac:spMkLst>
            <pc:docMk/>
            <pc:sldMk cId="2087783305" sldId="730"/>
            <ac:spMk id="4" creationId="{85BBD901-9B43-B2F7-9C7C-9B7CE4F7DF8F}"/>
          </ac:spMkLst>
        </pc:spChg>
        <pc:spChg chg="mod ord">
          <ac:chgData name="Andreas Koksrud" userId="9d9beba6-c052-407a-8599-c781a677a996" providerId="ADAL" clId="{4C89AD2D-B60A-479F-9F95-9D423A06FAEA}" dt="2024-06-14T18:01:13.844" v="5807" actId="20577"/>
          <ac:spMkLst>
            <pc:docMk/>
            <pc:sldMk cId="2087783305" sldId="730"/>
            <ac:spMk id="7" creationId="{E3B8F25C-58B8-BCEA-1FD1-B670F6D36B73}"/>
          </ac:spMkLst>
        </pc:spChg>
        <pc:spChg chg="mod">
          <ac:chgData name="Andreas Koksrud" userId="9d9beba6-c052-407a-8599-c781a677a996" providerId="ADAL" clId="{4C89AD2D-B60A-479F-9F95-9D423A06FAEA}" dt="2024-06-09T15:47:36.572" v="146" actId="20577"/>
          <ac:spMkLst>
            <pc:docMk/>
            <pc:sldMk cId="2087783305" sldId="730"/>
            <ac:spMk id="8" creationId="{F6664A8B-FDC6-48AB-8C23-E58136970003}"/>
          </ac:spMkLst>
        </pc:spChg>
        <pc:spChg chg="add del mod">
          <ac:chgData name="Andreas Koksrud" userId="9d9beba6-c052-407a-8599-c781a677a996" providerId="ADAL" clId="{4C89AD2D-B60A-479F-9F95-9D423A06FAEA}" dt="2024-06-14T18:11:27.839" v="5888" actId="478"/>
          <ac:spMkLst>
            <pc:docMk/>
            <pc:sldMk cId="2087783305" sldId="730"/>
            <ac:spMk id="9" creationId="{6C4F6838-4189-D674-68AB-E39F52FBA9FA}"/>
          </ac:spMkLst>
        </pc:spChg>
        <pc:spChg chg="add mod">
          <ac:chgData name="Andreas Koksrud" userId="9d9beba6-c052-407a-8599-c781a677a996" providerId="ADAL" clId="{4C89AD2D-B60A-479F-9F95-9D423A06FAEA}" dt="2024-06-14T18:12:19.145" v="5916"/>
          <ac:spMkLst>
            <pc:docMk/>
            <pc:sldMk cId="2087783305" sldId="730"/>
            <ac:spMk id="10" creationId="{3CE22A0E-0DEC-ABBF-1895-E07BE58FA06F}"/>
          </ac:spMkLst>
        </pc:spChg>
        <pc:spChg chg="add mod">
          <ac:chgData name="Andreas Koksrud" userId="9d9beba6-c052-407a-8599-c781a677a996" providerId="ADAL" clId="{4C89AD2D-B60A-479F-9F95-9D423A06FAEA}" dt="2024-06-14T18:12:29.291" v="5927" actId="20577"/>
          <ac:spMkLst>
            <pc:docMk/>
            <pc:sldMk cId="2087783305" sldId="730"/>
            <ac:spMk id="11" creationId="{BC16604C-3BD7-8EF2-D7B7-67F43348E4AF}"/>
          </ac:spMkLst>
        </pc:spChg>
      </pc:sldChg>
      <pc:sldChg chg="addSp modSp add mod">
        <pc:chgData name="Andreas Koksrud" userId="9d9beba6-c052-407a-8599-c781a677a996" providerId="ADAL" clId="{4C89AD2D-B60A-479F-9F95-9D423A06FAEA}" dt="2024-08-06T13:19:16.560" v="38946" actId="20577"/>
        <pc:sldMkLst>
          <pc:docMk/>
          <pc:sldMk cId="1205429650" sldId="740"/>
        </pc:sldMkLst>
        <pc:spChg chg="mod">
          <ac:chgData name="Andreas Koksrud" userId="9d9beba6-c052-407a-8599-c781a677a996" providerId="ADAL" clId="{4C89AD2D-B60A-479F-9F95-9D423A06FAEA}" dt="2024-08-06T13:19:16.560" v="38946" actId="20577"/>
          <ac:spMkLst>
            <pc:docMk/>
            <pc:sldMk cId="1205429650" sldId="740"/>
            <ac:spMk id="4" creationId="{9941A77A-F3E5-48EB-A326-C1427FFD684B}"/>
          </ac:spMkLst>
        </pc:spChg>
        <pc:spChg chg="add mod">
          <ac:chgData name="Andreas Koksrud" userId="9d9beba6-c052-407a-8599-c781a677a996" providerId="ADAL" clId="{4C89AD2D-B60A-479F-9F95-9D423A06FAEA}" dt="2024-06-14T18:19:16.066" v="6419"/>
          <ac:spMkLst>
            <pc:docMk/>
            <pc:sldMk cId="1205429650" sldId="740"/>
            <ac:spMk id="5" creationId="{38FB9DFA-3157-1960-D22E-E946DC4CBC44}"/>
          </ac:spMkLst>
        </pc:spChg>
        <pc:spChg chg="add mod">
          <ac:chgData name="Andreas Koksrud" userId="9d9beba6-c052-407a-8599-c781a677a996" providerId="ADAL" clId="{4C89AD2D-B60A-479F-9F95-9D423A06FAEA}" dt="2024-06-14T18:19:16.066" v="6419"/>
          <ac:spMkLst>
            <pc:docMk/>
            <pc:sldMk cId="1205429650" sldId="740"/>
            <ac:spMk id="7" creationId="{6F84CC48-36DF-35F3-EBA0-316CF1C39A4C}"/>
          </ac:spMkLst>
        </pc:spChg>
      </pc:sldChg>
      <pc:sldChg chg="addSp modSp mod">
        <pc:chgData name="Andreas Koksrud" userId="9d9beba6-c052-407a-8599-c781a677a996" providerId="ADAL" clId="{4C89AD2D-B60A-479F-9F95-9D423A06FAEA}" dt="2024-07-25T22:05:46.513" v="29178" actId="404"/>
        <pc:sldMkLst>
          <pc:docMk/>
          <pc:sldMk cId="4184721091" sldId="775"/>
        </pc:sldMkLst>
        <pc:spChg chg="add mod">
          <ac:chgData name="Andreas Koksrud" userId="9d9beba6-c052-407a-8599-c781a677a996" providerId="ADAL" clId="{4C89AD2D-B60A-479F-9F95-9D423A06FAEA}" dt="2024-06-14T18:10:43.231" v="5882" actId="2085"/>
          <ac:spMkLst>
            <pc:docMk/>
            <pc:sldMk cId="4184721091" sldId="775"/>
            <ac:spMk id="3" creationId="{BD00FE5D-B8B5-06EB-5F49-5279FC1C36DE}"/>
          </ac:spMkLst>
        </pc:spChg>
        <pc:spChg chg="add mod">
          <ac:chgData name="Andreas Koksrud" userId="9d9beba6-c052-407a-8599-c781a677a996" providerId="ADAL" clId="{4C89AD2D-B60A-479F-9F95-9D423A06FAEA}" dt="2024-06-14T18:10:17.091" v="5880" actId="14100"/>
          <ac:spMkLst>
            <pc:docMk/>
            <pc:sldMk cId="4184721091" sldId="775"/>
            <ac:spMk id="4" creationId="{34AE7BAD-0DF0-29EF-7772-CE754090A522}"/>
          </ac:spMkLst>
        </pc:spChg>
        <pc:spChg chg="mod">
          <ac:chgData name="Andreas Koksrud" userId="9d9beba6-c052-407a-8599-c781a677a996" providerId="ADAL" clId="{4C89AD2D-B60A-479F-9F95-9D423A06FAEA}" dt="2024-06-09T16:03:18.560" v="1128" actId="20577"/>
          <ac:spMkLst>
            <pc:docMk/>
            <pc:sldMk cId="4184721091" sldId="775"/>
            <ac:spMk id="180" creationId="{00000000-0000-0000-0000-000000000000}"/>
          </ac:spMkLst>
        </pc:spChg>
        <pc:spChg chg="mod">
          <ac:chgData name="Andreas Koksrud" userId="9d9beba6-c052-407a-8599-c781a677a996" providerId="ADAL" clId="{4C89AD2D-B60A-479F-9F95-9D423A06FAEA}" dt="2024-07-25T22:05:46.513" v="29178" actId="404"/>
          <ac:spMkLst>
            <pc:docMk/>
            <pc:sldMk cId="4184721091" sldId="775"/>
            <ac:spMk id="181" creationId="{00000000-0000-0000-0000-000000000000}"/>
          </ac:spMkLst>
        </pc:spChg>
      </pc:sldChg>
      <pc:sldChg chg="addSp modSp add mod">
        <pc:chgData name="Andreas Koksrud" userId="9d9beba6-c052-407a-8599-c781a677a996" providerId="ADAL" clId="{4C89AD2D-B60A-479F-9F95-9D423A06FAEA}" dt="2024-07-20T18:52:53.407" v="26040" actId="6549"/>
        <pc:sldMkLst>
          <pc:docMk/>
          <pc:sldMk cId="267941889" sldId="776"/>
        </pc:sldMkLst>
        <pc:spChg chg="mod">
          <ac:chgData name="Andreas Koksrud" userId="9d9beba6-c052-407a-8599-c781a677a996" providerId="ADAL" clId="{4C89AD2D-B60A-479F-9F95-9D423A06FAEA}" dt="2024-07-20T18:52:53.407" v="26040" actId="6549"/>
          <ac:spMkLst>
            <pc:docMk/>
            <pc:sldMk cId="267941889" sldId="776"/>
            <ac:spMk id="2" creationId="{9DFEA761-9758-CCB6-454F-76D77B537567}"/>
          </ac:spMkLst>
        </pc:spChg>
        <pc:spChg chg="add mod">
          <ac:chgData name="Andreas Koksrud" userId="9d9beba6-c052-407a-8599-c781a677a996" providerId="ADAL" clId="{4C89AD2D-B60A-479F-9F95-9D423A06FAEA}" dt="2024-06-14T18:14:32.506" v="6028"/>
          <ac:spMkLst>
            <pc:docMk/>
            <pc:sldMk cId="267941889" sldId="776"/>
            <ac:spMk id="3" creationId="{33FADA52-EBEB-C29C-496C-53DF122E58B4}"/>
          </ac:spMkLst>
        </pc:spChg>
        <pc:spChg chg="add mod">
          <ac:chgData name="Andreas Koksrud" userId="9d9beba6-c052-407a-8599-c781a677a996" providerId="ADAL" clId="{4C89AD2D-B60A-479F-9F95-9D423A06FAEA}" dt="2024-06-14T18:14:32.506" v="6028"/>
          <ac:spMkLst>
            <pc:docMk/>
            <pc:sldMk cId="267941889" sldId="776"/>
            <ac:spMk id="4" creationId="{F9DB0C90-B6D8-52E7-390C-D3D22D279FEE}"/>
          </ac:spMkLst>
        </pc:spChg>
        <pc:spChg chg="mod">
          <ac:chgData name="Andreas Koksrud" userId="9d9beba6-c052-407a-8599-c781a677a996" providerId="ADAL" clId="{4C89AD2D-B60A-479F-9F95-9D423A06FAEA}" dt="2024-06-30T09:31:36.736" v="12514" actId="6549"/>
          <ac:spMkLst>
            <pc:docMk/>
            <pc:sldMk cId="267941889" sldId="776"/>
            <ac:spMk id="180" creationId="{00000000-0000-0000-0000-000000000000}"/>
          </ac:spMkLst>
        </pc:spChg>
      </pc:sldChg>
      <pc:sldChg chg="addSp modSp add">
        <pc:chgData name="Andreas Koksrud" userId="9d9beba6-c052-407a-8599-c781a677a996" providerId="ADAL" clId="{4C89AD2D-B60A-479F-9F95-9D423A06FAEA}" dt="2024-06-14T18:22:37.535" v="6646"/>
        <pc:sldMkLst>
          <pc:docMk/>
          <pc:sldMk cId="2950788596" sldId="780"/>
        </pc:sldMkLst>
        <pc:spChg chg="add mod">
          <ac:chgData name="Andreas Koksrud" userId="9d9beba6-c052-407a-8599-c781a677a996" providerId="ADAL" clId="{4C89AD2D-B60A-479F-9F95-9D423A06FAEA}" dt="2024-06-14T18:22:37.535" v="6646"/>
          <ac:spMkLst>
            <pc:docMk/>
            <pc:sldMk cId="2950788596" sldId="780"/>
            <ac:spMk id="2" creationId="{97A8DECF-0343-9081-BE7E-C205BB729575}"/>
          </ac:spMkLst>
        </pc:spChg>
        <pc:spChg chg="add mod">
          <ac:chgData name="Andreas Koksrud" userId="9d9beba6-c052-407a-8599-c781a677a996" providerId="ADAL" clId="{4C89AD2D-B60A-479F-9F95-9D423A06FAEA}" dt="2024-06-14T18:22:37.535" v="6646"/>
          <ac:spMkLst>
            <pc:docMk/>
            <pc:sldMk cId="2950788596" sldId="780"/>
            <ac:spMk id="3" creationId="{65BFA69C-2B17-A145-93FB-2D22A8B48CE7}"/>
          </ac:spMkLst>
        </pc:spChg>
      </pc:sldChg>
      <pc:sldChg chg="addSp modSp add">
        <pc:chgData name="Andreas Koksrud" userId="9d9beba6-c052-407a-8599-c781a677a996" providerId="ADAL" clId="{4C89AD2D-B60A-479F-9F95-9D423A06FAEA}" dt="2024-06-14T18:19:53.113" v="6482"/>
        <pc:sldMkLst>
          <pc:docMk/>
          <pc:sldMk cId="1603511548" sldId="781"/>
        </pc:sldMkLst>
        <pc:spChg chg="add mod">
          <ac:chgData name="Andreas Koksrud" userId="9d9beba6-c052-407a-8599-c781a677a996" providerId="ADAL" clId="{4C89AD2D-B60A-479F-9F95-9D423A06FAEA}" dt="2024-06-14T18:19:53.113" v="6482"/>
          <ac:spMkLst>
            <pc:docMk/>
            <pc:sldMk cId="1603511548" sldId="781"/>
            <ac:spMk id="2" creationId="{C6056E56-2136-241A-E9BB-D9D23937A808}"/>
          </ac:spMkLst>
        </pc:spChg>
        <pc:spChg chg="add mod">
          <ac:chgData name="Andreas Koksrud" userId="9d9beba6-c052-407a-8599-c781a677a996" providerId="ADAL" clId="{4C89AD2D-B60A-479F-9F95-9D423A06FAEA}" dt="2024-06-14T18:19:53.113" v="6482"/>
          <ac:spMkLst>
            <pc:docMk/>
            <pc:sldMk cId="1603511548" sldId="781"/>
            <ac:spMk id="4" creationId="{C9FF8FE2-F07B-41C2-BAF8-C948892DF32C}"/>
          </ac:spMkLst>
        </pc:spChg>
      </pc:sldChg>
      <pc:sldChg chg="addSp modSp add">
        <pc:chgData name="Andreas Koksrud" userId="9d9beba6-c052-407a-8599-c781a677a996" providerId="ADAL" clId="{4C89AD2D-B60A-479F-9F95-9D423A06FAEA}" dt="2024-06-14T18:22:39.188" v="6647"/>
        <pc:sldMkLst>
          <pc:docMk/>
          <pc:sldMk cId="1881751481" sldId="782"/>
        </pc:sldMkLst>
        <pc:spChg chg="add mod">
          <ac:chgData name="Andreas Koksrud" userId="9d9beba6-c052-407a-8599-c781a677a996" providerId="ADAL" clId="{4C89AD2D-B60A-479F-9F95-9D423A06FAEA}" dt="2024-06-14T18:22:39.188" v="6647"/>
          <ac:spMkLst>
            <pc:docMk/>
            <pc:sldMk cId="1881751481" sldId="782"/>
            <ac:spMk id="2" creationId="{A8E454D4-7513-76FE-F0F9-AA83FB817781}"/>
          </ac:spMkLst>
        </pc:spChg>
        <pc:spChg chg="add mod">
          <ac:chgData name="Andreas Koksrud" userId="9d9beba6-c052-407a-8599-c781a677a996" providerId="ADAL" clId="{4C89AD2D-B60A-479F-9F95-9D423A06FAEA}" dt="2024-06-14T18:22:39.188" v="6647"/>
          <ac:spMkLst>
            <pc:docMk/>
            <pc:sldMk cId="1881751481" sldId="782"/>
            <ac:spMk id="3" creationId="{A33B68D5-760E-F568-4EA0-B1F9D33D110F}"/>
          </ac:spMkLst>
        </pc:spChg>
      </pc:sldChg>
      <pc:sldChg chg="addSp delSp modSp add del mod">
        <pc:chgData name="Andreas Koksrud" userId="9d9beba6-c052-407a-8599-c781a677a996" providerId="ADAL" clId="{4C89AD2D-B60A-479F-9F95-9D423A06FAEA}" dt="2024-08-04T15:57:33.603" v="36362" actId="20577"/>
        <pc:sldMkLst>
          <pc:docMk/>
          <pc:sldMk cId="590634226" sldId="798"/>
        </pc:sldMkLst>
        <pc:spChg chg="mod">
          <ac:chgData name="Andreas Koksrud" userId="9d9beba6-c052-407a-8599-c781a677a996" providerId="ADAL" clId="{4C89AD2D-B60A-479F-9F95-9D423A06FAEA}" dt="2024-07-15T20:57:50.370" v="23718" actId="404"/>
          <ac:spMkLst>
            <pc:docMk/>
            <pc:sldMk cId="590634226" sldId="798"/>
            <ac:spMk id="2" creationId="{E5D5B057-1D39-AC88-396C-0D888288A2E9}"/>
          </ac:spMkLst>
        </pc:spChg>
        <pc:spChg chg="add mod">
          <ac:chgData name="Andreas Koksrud" userId="9d9beba6-c052-407a-8599-c781a677a996" providerId="ADAL" clId="{4C89AD2D-B60A-479F-9F95-9D423A06FAEA}" dt="2024-06-14T18:17:49.410" v="6341"/>
          <ac:spMkLst>
            <pc:docMk/>
            <pc:sldMk cId="590634226" sldId="798"/>
            <ac:spMk id="3" creationId="{65105C58-F9B3-32B8-AC18-CA5E62777ECE}"/>
          </ac:spMkLst>
        </pc:spChg>
        <pc:spChg chg="add mod">
          <ac:chgData name="Andreas Koksrud" userId="9d9beba6-c052-407a-8599-c781a677a996" providerId="ADAL" clId="{4C89AD2D-B60A-479F-9F95-9D423A06FAEA}" dt="2024-06-14T18:17:49.410" v="6341"/>
          <ac:spMkLst>
            <pc:docMk/>
            <pc:sldMk cId="590634226" sldId="798"/>
            <ac:spMk id="6" creationId="{679A8908-ECF9-1656-E1DA-33446131C695}"/>
          </ac:spMkLst>
        </pc:spChg>
        <pc:spChg chg="mod">
          <ac:chgData name="Andreas Koksrud" userId="9d9beba6-c052-407a-8599-c781a677a996" providerId="ADAL" clId="{4C89AD2D-B60A-479F-9F95-9D423A06FAEA}" dt="2024-08-04T15:57:33.603" v="36362" actId="20577"/>
          <ac:spMkLst>
            <pc:docMk/>
            <pc:sldMk cId="590634226" sldId="798"/>
            <ac:spMk id="180" creationId="{00000000-0000-0000-0000-000000000000}"/>
          </ac:spMkLst>
        </pc:spChg>
        <pc:spChg chg="mod">
          <ac:chgData name="Andreas Koksrud" userId="9d9beba6-c052-407a-8599-c781a677a996" providerId="ADAL" clId="{4C89AD2D-B60A-479F-9F95-9D423A06FAEA}" dt="2024-07-16T13:32:19.981" v="24159" actId="5793"/>
          <ac:spMkLst>
            <pc:docMk/>
            <pc:sldMk cId="590634226" sldId="798"/>
            <ac:spMk id="181" creationId="{00000000-0000-0000-0000-000000000000}"/>
          </ac:spMkLst>
        </pc:spChg>
        <pc:picChg chg="del">
          <ac:chgData name="Andreas Koksrud" userId="9d9beba6-c052-407a-8599-c781a677a996" providerId="ADAL" clId="{4C89AD2D-B60A-479F-9F95-9D423A06FAEA}" dt="2024-07-15T20:55:53.766" v="23702" actId="478"/>
          <ac:picMkLst>
            <pc:docMk/>
            <pc:sldMk cId="590634226" sldId="798"/>
            <ac:picMk id="4" creationId="{3268E2CD-034A-0355-88E6-A9987142F20D}"/>
          </ac:picMkLst>
        </pc:picChg>
        <pc:picChg chg="add mod modCrop">
          <ac:chgData name="Andreas Koksrud" userId="9d9beba6-c052-407a-8599-c781a677a996" providerId="ADAL" clId="{4C89AD2D-B60A-479F-9F95-9D423A06FAEA}" dt="2024-07-15T20:57:56.055" v="23719" actId="1076"/>
          <ac:picMkLst>
            <pc:docMk/>
            <pc:sldMk cId="590634226" sldId="798"/>
            <ac:picMk id="10" creationId="{32062C49-EE1A-B42F-C945-526DDE8B3BB7}"/>
          </ac:picMkLst>
        </pc:picChg>
        <pc:picChg chg="add mod modCrop">
          <ac:chgData name="Andreas Koksrud" userId="9d9beba6-c052-407a-8599-c781a677a996" providerId="ADAL" clId="{4C89AD2D-B60A-479F-9F95-9D423A06FAEA}" dt="2024-07-15T20:57:56.055" v="23719" actId="1076"/>
          <ac:picMkLst>
            <pc:docMk/>
            <pc:sldMk cId="590634226" sldId="798"/>
            <ac:picMk id="12" creationId="{58E439F5-9799-5244-4021-072A0EB3A078}"/>
          </ac:picMkLst>
        </pc:picChg>
        <pc:picChg chg="add mod modCrop">
          <ac:chgData name="Andreas Koksrud" userId="9d9beba6-c052-407a-8599-c781a677a996" providerId="ADAL" clId="{4C89AD2D-B60A-479F-9F95-9D423A06FAEA}" dt="2024-07-15T20:57:56.055" v="23719" actId="1076"/>
          <ac:picMkLst>
            <pc:docMk/>
            <pc:sldMk cId="590634226" sldId="798"/>
            <ac:picMk id="14" creationId="{36ACF21A-7A5D-44E6-B3C7-1E008C1217E1}"/>
          </ac:picMkLst>
        </pc:picChg>
        <pc:cxnChg chg="add mod">
          <ac:chgData name="Andreas Koksrud" userId="9d9beba6-c052-407a-8599-c781a677a996" providerId="ADAL" clId="{4C89AD2D-B60A-479F-9F95-9D423A06FAEA}" dt="2024-07-15T20:28:05.943" v="23404" actId="14100"/>
          <ac:cxnSpMkLst>
            <pc:docMk/>
            <pc:sldMk cId="590634226" sldId="798"/>
            <ac:cxnSpMk id="7" creationId="{1D6E6058-6EBE-6103-C0FD-6FBE407F3CF1}"/>
          </ac:cxnSpMkLst>
        </pc:cxnChg>
      </pc:sldChg>
      <pc:sldChg chg="addSp delSp modSp mod">
        <pc:chgData name="Andreas Koksrud" userId="9d9beba6-c052-407a-8599-c781a677a996" providerId="ADAL" clId="{4C89AD2D-B60A-479F-9F95-9D423A06FAEA}" dt="2024-07-19T20:03:31.327" v="25952" actId="167"/>
        <pc:sldMkLst>
          <pc:docMk/>
          <pc:sldMk cId="2075912972" sldId="800"/>
        </pc:sldMkLst>
        <pc:spChg chg="add del mod">
          <ac:chgData name="Andreas Koksrud" userId="9d9beba6-c052-407a-8599-c781a677a996" providerId="ADAL" clId="{4C89AD2D-B60A-479F-9F95-9D423A06FAEA}" dt="2024-06-10T18:31:57.897" v="4313" actId="478"/>
          <ac:spMkLst>
            <pc:docMk/>
            <pc:sldMk cId="2075912972" sldId="800"/>
            <ac:spMk id="2" creationId="{3693B6DF-812A-D30B-07C5-483797096BC1}"/>
          </ac:spMkLst>
        </pc:spChg>
        <pc:spChg chg="add del mod">
          <ac:chgData name="Andreas Koksrud" userId="9d9beba6-c052-407a-8599-c781a677a996" providerId="ADAL" clId="{4C89AD2D-B60A-479F-9F95-9D423A06FAEA}" dt="2024-07-15T14:37:07.043" v="21485" actId="478"/>
          <ac:spMkLst>
            <pc:docMk/>
            <pc:sldMk cId="2075912972" sldId="800"/>
            <ac:spMk id="3" creationId="{53B799D0-11CB-460D-375B-AEFC12E824D8}"/>
          </ac:spMkLst>
        </pc:spChg>
        <pc:spChg chg="add del mod">
          <ac:chgData name="Andreas Koksrud" userId="9d9beba6-c052-407a-8599-c781a677a996" providerId="ADAL" clId="{4C89AD2D-B60A-479F-9F95-9D423A06FAEA}" dt="2024-06-14T18:11:16.122" v="5883" actId="478"/>
          <ac:spMkLst>
            <pc:docMk/>
            <pc:sldMk cId="2075912972" sldId="800"/>
            <ac:spMk id="3" creationId="{E1AEC3BE-3C95-DB99-E10A-7615495970F7}"/>
          </ac:spMkLst>
        </pc:spChg>
        <pc:spChg chg="add mod">
          <ac:chgData name="Andreas Koksrud" userId="9d9beba6-c052-407a-8599-c781a677a996" providerId="ADAL" clId="{4C89AD2D-B60A-479F-9F95-9D423A06FAEA}" dt="2024-06-14T18:11:55.283" v="5897" actId="20577"/>
          <ac:spMkLst>
            <pc:docMk/>
            <pc:sldMk cId="2075912972" sldId="800"/>
            <ac:spMk id="4" creationId="{1ED5E891-40ED-B09A-E89F-65D35B591082}"/>
          </ac:spMkLst>
        </pc:spChg>
        <pc:spChg chg="del">
          <ac:chgData name="Andreas Koksrud" userId="9d9beba6-c052-407a-8599-c781a677a996" providerId="ADAL" clId="{4C89AD2D-B60A-479F-9F95-9D423A06FAEA}" dt="2024-06-09T15:50:53.717" v="425" actId="478"/>
          <ac:spMkLst>
            <pc:docMk/>
            <pc:sldMk cId="2075912972" sldId="800"/>
            <ac:spMk id="4" creationId="{1F0030D3-C16D-0458-39A0-65E4C91CE228}"/>
          </ac:spMkLst>
        </pc:spChg>
        <pc:spChg chg="add del mod">
          <ac:chgData name="Andreas Koksrud" userId="9d9beba6-c052-407a-8599-c781a677a996" providerId="ADAL" clId="{4C89AD2D-B60A-479F-9F95-9D423A06FAEA}" dt="2024-07-15T14:37:02.720" v="21484" actId="478"/>
          <ac:spMkLst>
            <pc:docMk/>
            <pc:sldMk cId="2075912972" sldId="800"/>
            <ac:spMk id="5" creationId="{06C331F7-EF3E-5E7F-9901-C355F1A9896B}"/>
          </ac:spMkLst>
        </pc:spChg>
        <pc:spChg chg="add mod">
          <ac:chgData name="Andreas Koksrud" userId="9d9beba6-c052-407a-8599-c781a677a996" providerId="ADAL" clId="{4C89AD2D-B60A-479F-9F95-9D423A06FAEA}" dt="2024-06-14T18:12:59.308" v="5968" actId="20577"/>
          <ac:spMkLst>
            <pc:docMk/>
            <pc:sldMk cId="2075912972" sldId="800"/>
            <ac:spMk id="6" creationId="{76CBA57A-5365-481F-765B-D59ED8E8E32B}"/>
          </ac:spMkLst>
        </pc:spChg>
        <pc:spChg chg="add del mod">
          <ac:chgData name="Andreas Koksrud" userId="9d9beba6-c052-407a-8599-c781a677a996" providerId="ADAL" clId="{4C89AD2D-B60A-479F-9F95-9D423A06FAEA}" dt="2024-07-15T14:43:53.700" v="21558" actId="1038"/>
          <ac:spMkLst>
            <pc:docMk/>
            <pc:sldMk cId="2075912972" sldId="800"/>
            <ac:spMk id="10" creationId="{6EB95855-BA56-A1F6-5B13-3868BD47F00C}"/>
          </ac:spMkLst>
        </pc:spChg>
        <pc:spChg chg="del mod">
          <ac:chgData name="Andreas Koksrud" userId="9d9beba6-c052-407a-8599-c781a677a996" providerId="ADAL" clId="{4C89AD2D-B60A-479F-9F95-9D423A06FAEA}" dt="2024-07-15T14:42:06" v="21497" actId="478"/>
          <ac:spMkLst>
            <pc:docMk/>
            <pc:sldMk cId="2075912972" sldId="800"/>
            <ac:spMk id="180" creationId="{00000000-0000-0000-0000-000000000000}"/>
          </ac:spMkLst>
        </pc:spChg>
        <pc:graphicFrameChg chg="del">
          <ac:chgData name="Andreas Koksrud" userId="9d9beba6-c052-407a-8599-c781a677a996" providerId="ADAL" clId="{4C89AD2D-B60A-479F-9F95-9D423A06FAEA}" dt="2024-06-09T15:49:17.961" v="199" actId="478"/>
          <ac:graphicFrameMkLst>
            <pc:docMk/>
            <pc:sldMk cId="2075912972" sldId="800"/>
            <ac:graphicFrameMk id="3" creationId="{9988BFF9-164F-39C7-5576-A1BE9BB1B8AA}"/>
          </ac:graphicFrameMkLst>
        </pc:graphicFrameChg>
        <pc:picChg chg="add del">
          <ac:chgData name="Andreas Koksrud" userId="9d9beba6-c052-407a-8599-c781a677a996" providerId="ADAL" clId="{4C89AD2D-B60A-479F-9F95-9D423A06FAEA}" dt="2024-07-15T14:37:44.324" v="21487" actId="478"/>
          <ac:picMkLst>
            <pc:docMk/>
            <pc:sldMk cId="2075912972" sldId="800"/>
            <ac:picMk id="8" creationId="{62167B15-F5E3-E583-EC16-9CAF70336E54}"/>
          </ac:picMkLst>
        </pc:picChg>
        <pc:picChg chg="add del mod">
          <ac:chgData name="Andreas Koksrud" userId="9d9beba6-c052-407a-8599-c781a677a996" providerId="ADAL" clId="{4C89AD2D-B60A-479F-9F95-9D423A06FAEA}" dt="2024-07-15T16:15:16.965" v="21559" actId="478"/>
          <ac:picMkLst>
            <pc:docMk/>
            <pc:sldMk cId="2075912972" sldId="800"/>
            <ac:picMk id="1025" creationId="{6FBDA781-1268-1576-E4ED-765D8F09E366}"/>
          </ac:picMkLst>
        </pc:picChg>
        <pc:picChg chg="add mod">
          <ac:chgData name="Andreas Koksrud" userId="9d9beba6-c052-407a-8599-c781a677a996" providerId="ADAL" clId="{4C89AD2D-B60A-479F-9F95-9D423A06FAEA}" dt="2024-07-19T20:03:31.327" v="25952" actId="167"/>
          <ac:picMkLst>
            <pc:docMk/>
            <pc:sldMk cId="2075912972" sldId="800"/>
            <ac:picMk id="1026" creationId="{04162DF8-DA6B-0C05-E682-1ACFDB6ABE61}"/>
          </ac:picMkLst>
        </pc:picChg>
      </pc:sldChg>
      <pc:sldChg chg="addSp modSp add">
        <pc:chgData name="Andreas Koksrud" userId="9d9beba6-c052-407a-8599-c781a677a996" providerId="ADAL" clId="{4C89AD2D-B60A-479F-9F95-9D423A06FAEA}" dt="2024-06-14T18:19:57.129" v="6485"/>
        <pc:sldMkLst>
          <pc:docMk/>
          <pc:sldMk cId="1498060418" sldId="802"/>
        </pc:sldMkLst>
        <pc:spChg chg="add mod">
          <ac:chgData name="Andreas Koksrud" userId="9d9beba6-c052-407a-8599-c781a677a996" providerId="ADAL" clId="{4C89AD2D-B60A-479F-9F95-9D423A06FAEA}" dt="2024-06-14T18:19:57.129" v="6485"/>
          <ac:spMkLst>
            <pc:docMk/>
            <pc:sldMk cId="1498060418" sldId="802"/>
            <ac:spMk id="2" creationId="{1506A2A6-01BE-3807-1B4A-B4198C00C4E9}"/>
          </ac:spMkLst>
        </pc:spChg>
        <pc:spChg chg="add mod">
          <ac:chgData name="Andreas Koksrud" userId="9d9beba6-c052-407a-8599-c781a677a996" providerId="ADAL" clId="{4C89AD2D-B60A-479F-9F95-9D423A06FAEA}" dt="2024-06-14T18:19:57.129" v="6485"/>
          <ac:spMkLst>
            <pc:docMk/>
            <pc:sldMk cId="1498060418" sldId="802"/>
            <ac:spMk id="4" creationId="{99B9AFAD-6D20-4299-CD50-D8A4B3C2D385}"/>
          </ac:spMkLst>
        </pc:spChg>
      </pc:sldChg>
      <pc:sldChg chg="addSp modSp add del">
        <pc:chgData name="Andreas Koksrud" userId="9d9beba6-c052-407a-8599-c781a677a996" providerId="ADAL" clId="{4C89AD2D-B60A-479F-9F95-9D423A06FAEA}" dt="2024-06-17T18:10:13.163" v="11224" actId="47"/>
        <pc:sldMkLst>
          <pc:docMk/>
          <pc:sldMk cId="2074140981" sldId="806"/>
        </pc:sldMkLst>
        <pc:spChg chg="add mod">
          <ac:chgData name="Andreas Koksrud" userId="9d9beba6-c052-407a-8599-c781a677a996" providerId="ADAL" clId="{4C89AD2D-B60A-479F-9F95-9D423A06FAEA}" dt="2024-06-14T18:13:57.536" v="6012"/>
          <ac:spMkLst>
            <pc:docMk/>
            <pc:sldMk cId="2074140981" sldId="806"/>
            <ac:spMk id="2" creationId="{A0A3E52D-E5C4-439F-2168-A42F84116653}"/>
          </ac:spMkLst>
        </pc:spChg>
        <pc:spChg chg="add mod">
          <ac:chgData name="Andreas Koksrud" userId="9d9beba6-c052-407a-8599-c781a677a996" providerId="ADAL" clId="{4C89AD2D-B60A-479F-9F95-9D423A06FAEA}" dt="2024-06-14T18:13:57.536" v="6012"/>
          <ac:spMkLst>
            <pc:docMk/>
            <pc:sldMk cId="2074140981" sldId="806"/>
            <ac:spMk id="5" creationId="{AF748C7A-0731-52F6-CE04-41EDF11833D2}"/>
          </ac:spMkLst>
        </pc:spChg>
      </pc:sldChg>
      <pc:sldChg chg="addSp delSp modSp add mod">
        <pc:chgData name="Andreas Koksrud" userId="9d9beba6-c052-407a-8599-c781a677a996" providerId="ADAL" clId="{4C89AD2D-B60A-479F-9F95-9D423A06FAEA}" dt="2024-08-03T09:37:53.405" v="35379" actId="20577"/>
        <pc:sldMkLst>
          <pc:docMk/>
          <pc:sldMk cId="3317680748" sldId="807"/>
        </pc:sldMkLst>
        <pc:spChg chg="add mod">
          <ac:chgData name="Andreas Koksrud" userId="9d9beba6-c052-407a-8599-c781a677a996" providerId="ADAL" clId="{4C89AD2D-B60A-479F-9F95-9D423A06FAEA}" dt="2024-08-03T09:37:53.405" v="35379" actId="20577"/>
          <ac:spMkLst>
            <pc:docMk/>
            <pc:sldMk cId="3317680748" sldId="807"/>
            <ac:spMk id="2" creationId="{E790474C-3E04-C03F-BF67-0BA659D86857}"/>
          </ac:spMkLst>
        </pc:spChg>
        <pc:spChg chg="add mod">
          <ac:chgData name="Andreas Koksrud" userId="9d9beba6-c052-407a-8599-c781a677a996" providerId="ADAL" clId="{4C89AD2D-B60A-479F-9F95-9D423A06FAEA}" dt="2024-06-17T18:12:10.157" v="11233" actId="11530"/>
          <ac:spMkLst>
            <pc:docMk/>
            <pc:sldMk cId="3317680748" sldId="807"/>
            <ac:spMk id="7" creationId="{C4CCF74F-5A2B-0D8E-CDA1-81EAB6E74DC1}"/>
          </ac:spMkLst>
        </pc:spChg>
        <pc:spChg chg="add mod">
          <ac:chgData name="Andreas Koksrud" userId="9d9beba6-c052-407a-8599-c781a677a996" providerId="ADAL" clId="{4C89AD2D-B60A-479F-9F95-9D423A06FAEA}" dt="2024-06-17T18:16:54.441" v="11272" actId="1036"/>
          <ac:spMkLst>
            <pc:docMk/>
            <pc:sldMk cId="3317680748" sldId="807"/>
            <ac:spMk id="10" creationId="{65387593-585B-34A1-F056-D012757079DC}"/>
          </ac:spMkLst>
        </pc:spChg>
        <pc:spChg chg="add mod">
          <ac:chgData name="Andreas Koksrud" userId="9d9beba6-c052-407a-8599-c781a677a996" providerId="ADAL" clId="{4C89AD2D-B60A-479F-9F95-9D423A06FAEA}" dt="2024-06-14T18:13:59.279" v="6013"/>
          <ac:spMkLst>
            <pc:docMk/>
            <pc:sldMk cId="3317680748" sldId="807"/>
            <ac:spMk id="11" creationId="{4F97F8D0-C9FD-DEEA-8FAF-2FA72AB0D3C6}"/>
          </ac:spMkLst>
        </pc:spChg>
        <pc:spChg chg="add mod">
          <ac:chgData name="Andreas Koksrud" userId="9d9beba6-c052-407a-8599-c781a677a996" providerId="ADAL" clId="{4C89AD2D-B60A-479F-9F95-9D423A06FAEA}" dt="2024-06-14T18:13:59.279" v="6013"/>
          <ac:spMkLst>
            <pc:docMk/>
            <pc:sldMk cId="3317680748" sldId="807"/>
            <ac:spMk id="12" creationId="{F1558967-4E8F-A5E3-17A5-DF5F57A5BB0E}"/>
          </ac:spMkLst>
        </pc:spChg>
        <pc:spChg chg="add mod">
          <ac:chgData name="Andreas Koksrud" userId="9d9beba6-c052-407a-8599-c781a677a996" providerId="ADAL" clId="{4C89AD2D-B60A-479F-9F95-9D423A06FAEA}" dt="2024-06-17T18:17:01.876" v="11275" actId="1036"/>
          <ac:spMkLst>
            <pc:docMk/>
            <pc:sldMk cId="3317680748" sldId="807"/>
            <ac:spMk id="13" creationId="{9A0364D7-2F9D-221D-179C-B5C437DDEDAE}"/>
          </ac:spMkLst>
        </pc:spChg>
        <pc:picChg chg="mod modCrop">
          <ac:chgData name="Andreas Koksrud" userId="9d9beba6-c052-407a-8599-c781a677a996" providerId="ADAL" clId="{4C89AD2D-B60A-479F-9F95-9D423A06FAEA}" dt="2024-06-17T18:15:56.168" v="11244" actId="732"/>
          <ac:picMkLst>
            <pc:docMk/>
            <pc:sldMk cId="3317680748" sldId="807"/>
            <ac:picMk id="3" creationId="{EEE812BB-94BC-E75C-8D73-F5325A8C9C2F}"/>
          </ac:picMkLst>
        </pc:picChg>
        <pc:picChg chg="mod">
          <ac:chgData name="Andreas Koksrud" userId="9d9beba6-c052-407a-8599-c781a677a996" providerId="ADAL" clId="{4C89AD2D-B60A-479F-9F95-9D423A06FAEA}" dt="2024-06-17T18:15:39.707" v="11240" actId="14100"/>
          <ac:picMkLst>
            <pc:docMk/>
            <pc:sldMk cId="3317680748" sldId="807"/>
            <ac:picMk id="4" creationId="{86EF8AC2-1FA4-0668-002B-4B6191EFAA6F}"/>
          </ac:picMkLst>
        </pc:picChg>
        <pc:picChg chg="del">
          <ac:chgData name="Andreas Koksrud" userId="9d9beba6-c052-407a-8599-c781a677a996" providerId="ADAL" clId="{4C89AD2D-B60A-479F-9F95-9D423A06FAEA}" dt="2024-06-17T18:15:25.651" v="11234" actId="478"/>
          <ac:picMkLst>
            <pc:docMk/>
            <pc:sldMk cId="3317680748" sldId="807"/>
            <ac:picMk id="5" creationId="{22851178-26BC-966B-A70F-54643C45EFE4}"/>
          </ac:picMkLst>
        </pc:picChg>
        <pc:picChg chg="add mod">
          <ac:chgData name="Andreas Koksrud" userId="9d9beba6-c052-407a-8599-c781a677a996" providerId="ADAL" clId="{4C89AD2D-B60A-479F-9F95-9D423A06FAEA}" dt="2024-07-31T19:35:30.676" v="31937" actId="1035"/>
          <ac:picMkLst>
            <pc:docMk/>
            <pc:sldMk cId="3317680748" sldId="807"/>
            <ac:picMk id="9" creationId="{3ECBF583-91C0-AB3A-CE19-5A3DEFBD8BFD}"/>
          </ac:picMkLst>
        </pc:picChg>
        <pc:cxnChg chg="add mod">
          <ac:chgData name="Andreas Koksrud" userId="9d9beba6-c052-407a-8599-c781a677a996" providerId="ADAL" clId="{4C89AD2D-B60A-479F-9F95-9D423A06FAEA}" dt="2024-06-14T14:56:19.291" v="5372" actId="14100"/>
          <ac:cxnSpMkLst>
            <pc:docMk/>
            <pc:sldMk cId="3317680748" sldId="807"/>
            <ac:cxnSpMk id="6" creationId="{BDFC12F6-9CA7-A05A-3CB7-614F06B779EE}"/>
          </ac:cxnSpMkLst>
        </pc:cxnChg>
      </pc:sldChg>
      <pc:sldChg chg="addSp delSp modSp add mod">
        <pc:chgData name="Andreas Koksrud" userId="9d9beba6-c052-407a-8599-c781a677a996" providerId="ADAL" clId="{4C89AD2D-B60A-479F-9F95-9D423A06FAEA}" dt="2024-06-17T18:36:44.785" v="11283" actId="478"/>
        <pc:sldMkLst>
          <pc:docMk/>
          <pc:sldMk cId="197388729" sldId="808"/>
        </pc:sldMkLst>
        <pc:spChg chg="add mod">
          <ac:chgData name="Andreas Koksrud" userId="9d9beba6-c052-407a-8599-c781a677a996" providerId="ADAL" clId="{4C89AD2D-B60A-479F-9F95-9D423A06FAEA}" dt="2024-06-14T18:14:00.897" v="6014"/>
          <ac:spMkLst>
            <pc:docMk/>
            <pc:sldMk cId="197388729" sldId="808"/>
            <ac:spMk id="4" creationId="{A58682F4-4B56-74F7-AAB1-BFAA25487457}"/>
          </ac:spMkLst>
        </pc:spChg>
        <pc:spChg chg="add mod">
          <ac:chgData name="Andreas Koksrud" userId="9d9beba6-c052-407a-8599-c781a677a996" providerId="ADAL" clId="{4C89AD2D-B60A-479F-9F95-9D423A06FAEA}" dt="2024-06-14T18:14:00.897" v="6014"/>
          <ac:spMkLst>
            <pc:docMk/>
            <pc:sldMk cId="197388729" sldId="808"/>
            <ac:spMk id="5" creationId="{4E339DD2-A12E-A0D1-41B4-089F9F222ED1}"/>
          </ac:spMkLst>
        </pc:spChg>
        <pc:spChg chg="del mod">
          <ac:chgData name="Andreas Koksrud" userId="9d9beba6-c052-407a-8599-c781a677a996" providerId="ADAL" clId="{4C89AD2D-B60A-479F-9F95-9D423A06FAEA}" dt="2024-06-17T18:36:44.785" v="11283" actId="478"/>
          <ac:spMkLst>
            <pc:docMk/>
            <pc:sldMk cId="197388729" sldId="808"/>
            <ac:spMk id="6" creationId="{368EF28D-23AD-D8A3-05B5-AAD612FE36D2}"/>
          </ac:spMkLst>
        </pc:spChg>
      </pc:sldChg>
      <pc:sldChg chg="addSp modSp add del">
        <pc:chgData name="Andreas Koksrud" userId="9d9beba6-c052-407a-8599-c781a677a996" providerId="ADAL" clId="{4C89AD2D-B60A-479F-9F95-9D423A06FAEA}" dt="2024-06-17T18:10:10.247" v="11223" actId="47"/>
        <pc:sldMkLst>
          <pc:docMk/>
          <pc:sldMk cId="1335476865" sldId="813"/>
        </pc:sldMkLst>
        <pc:spChg chg="add mod">
          <ac:chgData name="Andreas Koksrud" userId="9d9beba6-c052-407a-8599-c781a677a996" providerId="ADAL" clId="{4C89AD2D-B60A-479F-9F95-9D423A06FAEA}" dt="2024-06-14T18:13:56.306" v="6011"/>
          <ac:spMkLst>
            <pc:docMk/>
            <pc:sldMk cId="1335476865" sldId="813"/>
            <ac:spMk id="5" creationId="{E5FA0D71-A021-C3A2-17ED-CB5FA788F074}"/>
          </ac:spMkLst>
        </pc:spChg>
        <pc:spChg chg="add mod">
          <ac:chgData name="Andreas Koksrud" userId="9d9beba6-c052-407a-8599-c781a677a996" providerId="ADAL" clId="{4C89AD2D-B60A-479F-9F95-9D423A06FAEA}" dt="2024-06-14T18:13:56.306" v="6011"/>
          <ac:spMkLst>
            <pc:docMk/>
            <pc:sldMk cId="1335476865" sldId="813"/>
            <ac:spMk id="6" creationId="{116329B5-A283-2AFA-F431-7D8812DA7345}"/>
          </ac:spMkLst>
        </pc:spChg>
      </pc:sldChg>
      <pc:sldChg chg="addSp modSp add mod">
        <pc:chgData name="Andreas Koksrud" userId="9d9beba6-c052-407a-8599-c781a677a996" providerId="ADAL" clId="{4C89AD2D-B60A-479F-9F95-9D423A06FAEA}" dt="2024-08-04T16:07:44.965" v="36508" actId="20577"/>
        <pc:sldMkLst>
          <pc:docMk/>
          <pc:sldMk cId="248187023" sldId="814"/>
        </pc:sldMkLst>
        <pc:spChg chg="add mod">
          <ac:chgData name="Andreas Koksrud" userId="9d9beba6-c052-407a-8599-c781a677a996" providerId="ADAL" clId="{4C89AD2D-B60A-479F-9F95-9D423A06FAEA}" dt="2024-06-14T18:18:10.943" v="6344"/>
          <ac:spMkLst>
            <pc:docMk/>
            <pc:sldMk cId="248187023" sldId="814"/>
            <ac:spMk id="4" creationId="{982AC858-077B-83FC-1056-2C3D9285BC8E}"/>
          </ac:spMkLst>
        </pc:spChg>
        <pc:spChg chg="add mod">
          <ac:chgData name="Andreas Koksrud" userId="9d9beba6-c052-407a-8599-c781a677a996" providerId="ADAL" clId="{4C89AD2D-B60A-479F-9F95-9D423A06FAEA}" dt="2024-06-14T18:18:10.943" v="6344"/>
          <ac:spMkLst>
            <pc:docMk/>
            <pc:sldMk cId="248187023" sldId="814"/>
            <ac:spMk id="5" creationId="{9D69FA28-12F4-38E1-C193-CC0429BD3868}"/>
          </ac:spMkLst>
        </pc:spChg>
        <pc:spChg chg="add mod">
          <ac:chgData name="Andreas Koksrud" userId="9d9beba6-c052-407a-8599-c781a677a996" providerId="ADAL" clId="{4C89AD2D-B60A-479F-9F95-9D423A06FAEA}" dt="2024-07-16T13:30:47.733" v="24069" actId="1035"/>
          <ac:spMkLst>
            <pc:docMk/>
            <pc:sldMk cId="248187023" sldId="814"/>
            <ac:spMk id="6" creationId="{DFB21DF8-CA64-640D-BF47-5EE194339520}"/>
          </ac:spMkLst>
        </pc:spChg>
        <pc:spChg chg="add mod">
          <ac:chgData name="Andreas Koksrud" userId="9d9beba6-c052-407a-8599-c781a677a996" providerId="ADAL" clId="{4C89AD2D-B60A-479F-9F95-9D423A06FAEA}" dt="2024-07-16T13:31:28.367" v="24093" actId="14100"/>
          <ac:spMkLst>
            <pc:docMk/>
            <pc:sldMk cId="248187023" sldId="814"/>
            <ac:spMk id="7" creationId="{6F25A99D-8ED4-7119-D181-E4DE2A17A1BE}"/>
          </ac:spMkLst>
        </pc:spChg>
        <pc:spChg chg="mod">
          <ac:chgData name="Andreas Koksrud" userId="9d9beba6-c052-407a-8599-c781a677a996" providerId="ADAL" clId="{4C89AD2D-B60A-479F-9F95-9D423A06FAEA}" dt="2024-08-04T16:07:44.965" v="36508" actId="20577"/>
          <ac:spMkLst>
            <pc:docMk/>
            <pc:sldMk cId="248187023" sldId="814"/>
            <ac:spMk id="180" creationId="{00000000-0000-0000-0000-000000000000}"/>
          </ac:spMkLst>
        </pc:spChg>
      </pc:sldChg>
      <pc:sldChg chg="addSp modSp add mod">
        <pc:chgData name="Andreas Koksrud" userId="9d9beba6-c052-407a-8599-c781a677a996" providerId="ADAL" clId="{4C89AD2D-B60A-479F-9F95-9D423A06FAEA}" dt="2024-08-04T16:07:33.827" v="36485" actId="20577"/>
        <pc:sldMkLst>
          <pc:docMk/>
          <pc:sldMk cId="2920848915" sldId="815"/>
        </pc:sldMkLst>
        <pc:spChg chg="add mod">
          <ac:chgData name="Andreas Koksrud" userId="9d9beba6-c052-407a-8599-c781a677a996" providerId="ADAL" clId="{4C89AD2D-B60A-479F-9F95-9D423A06FAEA}" dt="2024-06-14T18:18:12.240" v="6345"/>
          <ac:spMkLst>
            <pc:docMk/>
            <pc:sldMk cId="2920848915" sldId="815"/>
            <ac:spMk id="3" creationId="{135AE391-0AC2-8879-72DE-D0FE148306CD}"/>
          </ac:spMkLst>
        </pc:spChg>
        <pc:spChg chg="add mod">
          <ac:chgData name="Andreas Koksrud" userId="9d9beba6-c052-407a-8599-c781a677a996" providerId="ADAL" clId="{4C89AD2D-B60A-479F-9F95-9D423A06FAEA}" dt="2024-06-14T18:18:12.240" v="6345"/>
          <ac:spMkLst>
            <pc:docMk/>
            <pc:sldMk cId="2920848915" sldId="815"/>
            <ac:spMk id="4" creationId="{F58B80D0-A570-42EB-0004-4602DD0F1A72}"/>
          </ac:spMkLst>
        </pc:spChg>
        <pc:spChg chg="add mod">
          <ac:chgData name="Andreas Koksrud" userId="9d9beba6-c052-407a-8599-c781a677a996" providerId="ADAL" clId="{4C89AD2D-B60A-479F-9F95-9D423A06FAEA}" dt="2024-07-16T13:29:10.662" v="24035" actId="208"/>
          <ac:spMkLst>
            <pc:docMk/>
            <pc:sldMk cId="2920848915" sldId="815"/>
            <ac:spMk id="5" creationId="{AA9519E6-5413-DC1F-D112-E1E955109FC5}"/>
          </ac:spMkLst>
        </pc:spChg>
        <pc:spChg chg="add mod">
          <ac:chgData name="Andreas Koksrud" userId="9d9beba6-c052-407a-8599-c781a677a996" providerId="ADAL" clId="{4C89AD2D-B60A-479F-9F95-9D423A06FAEA}" dt="2024-07-16T13:33:45.409" v="24161" actId="14100"/>
          <ac:spMkLst>
            <pc:docMk/>
            <pc:sldMk cId="2920848915" sldId="815"/>
            <ac:spMk id="6" creationId="{EA7435AB-135C-8823-3B7C-480E86BC08A5}"/>
          </ac:spMkLst>
        </pc:spChg>
        <pc:spChg chg="mod">
          <ac:chgData name="Andreas Koksrud" userId="9d9beba6-c052-407a-8599-c781a677a996" providerId="ADAL" clId="{4C89AD2D-B60A-479F-9F95-9D423A06FAEA}" dt="2024-08-04T16:07:33.827" v="36485" actId="20577"/>
          <ac:spMkLst>
            <pc:docMk/>
            <pc:sldMk cId="2920848915" sldId="815"/>
            <ac:spMk id="180" creationId="{00000000-0000-0000-0000-000000000000}"/>
          </ac:spMkLst>
        </pc:spChg>
      </pc:sldChg>
      <pc:sldChg chg="addSp delSp modSp add mod">
        <pc:chgData name="Andreas Koksrud" userId="9d9beba6-c052-407a-8599-c781a677a996" providerId="ADAL" clId="{4C89AD2D-B60A-479F-9F95-9D423A06FAEA}" dt="2024-08-04T16:07:28.213" v="36468" actId="20577"/>
        <pc:sldMkLst>
          <pc:docMk/>
          <pc:sldMk cId="2825686732" sldId="816"/>
        </pc:sldMkLst>
        <pc:spChg chg="add mod">
          <ac:chgData name="Andreas Koksrud" userId="9d9beba6-c052-407a-8599-c781a677a996" providerId="ADAL" clId="{4C89AD2D-B60A-479F-9F95-9D423A06FAEA}" dt="2024-06-14T18:18:13.939" v="6346"/>
          <ac:spMkLst>
            <pc:docMk/>
            <pc:sldMk cId="2825686732" sldId="816"/>
            <ac:spMk id="2" creationId="{AE75409C-3DD4-ADA2-A349-837645746B45}"/>
          </ac:spMkLst>
        </pc:spChg>
        <pc:spChg chg="add mod">
          <ac:chgData name="Andreas Koksrud" userId="9d9beba6-c052-407a-8599-c781a677a996" providerId="ADAL" clId="{4C89AD2D-B60A-479F-9F95-9D423A06FAEA}" dt="2024-06-14T18:18:13.939" v="6346"/>
          <ac:spMkLst>
            <pc:docMk/>
            <pc:sldMk cId="2825686732" sldId="816"/>
            <ac:spMk id="5" creationId="{FC6163A4-D287-BE29-35BF-ECAFB86F98FC}"/>
          </ac:spMkLst>
        </pc:spChg>
        <pc:spChg chg="mod">
          <ac:chgData name="Andreas Koksrud" userId="9d9beba6-c052-407a-8599-c781a677a996" providerId="ADAL" clId="{4C89AD2D-B60A-479F-9F95-9D423A06FAEA}" dt="2024-08-04T16:07:28.213" v="36468" actId="20577"/>
          <ac:spMkLst>
            <pc:docMk/>
            <pc:sldMk cId="2825686732" sldId="816"/>
            <ac:spMk id="180" creationId="{00000000-0000-0000-0000-000000000000}"/>
          </ac:spMkLst>
        </pc:spChg>
        <pc:picChg chg="del mod modCrop">
          <ac:chgData name="Andreas Koksrud" userId="9d9beba6-c052-407a-8599-c781a677a996" providerId="ADAL" clId="{4C89AD2D-B60A-479F-9F95-9D423A06FAEA}" dt="2024-07-16T14:14:37.817" v="25392" actId="478"/>
          <ac:picMkLst>
            <pc:docMk/>
            <pc:sldMk cId="2825686732" sldId="816"/>
            <ac:picMk id="7" creationId="{051CF5BC-80FB-B094-F159-E8B283C64781}"/>
          </ac:picMkLst>
        </pc:picChg>
        <pc:picChg chg="add mod">
          <ac:chgData name="Andreas Koksrud" userId="9d9beba6-c052-407a-8599-c781a677a996" providerId="ADAL" clId="{4C89AD2D-B60A-479F-9F95-9D423A06FAEA}" dt="2024-07-16T14:13:56.726" v="25361" actId="14100"/>
          <ac:picMkLst>
            <pc:docMk/>
            <pc:sldMk cId="2825686732" sldId="816"/>
            <ac:picMk id="8" creationId="{439A1436-276C-00CE-D626-B41FB74BE9FB}"/>
          </ac:picMkLst>
        </pc:picChg>
        <pc:picChg chg="add mod">
          <ac:chgData name="Andreas Koksrud" userId="9d9beba6-c052-407a-8599-c781a677a996" providerId="ADAL" clId="{4C89AD2D-B60A-479F-9F95-9D423A06FAEA}" dt="2024-07-16T14:15:07.540" v="25397" actId="1076"/>
          <ac:picMkLst>
            <pc:docMk/>
            <pc:sldMk cId="2825686732" sldId="816"/>
            <ac:picMk id="10" creationId="{BD160440-249F-7C67-C979-F9A5BA242F98}"/>
          </ac:picMkLst>
        </pc:picChg>
      </pc:sldChg>
      <pc:sldChg chg="addSp modSp add mod">
        <pc:chgData name="Andreas Koksrud" userId="9d9beba6-c052-407a-8599-c781a677a996" providerId="ADAL" clId="{4C89AD2D-B60A-479F-9F95-9D423A06FAEA}" dt="2024-08-04T16:07:14.857" v="36422" actId="20577"/>
        <pc:sldMkLst>
          <pc:docMk/>
          <pc:sldMk cId="3012956304" sldId="817"/>
        </pc:sldMkLst>
        <pc:spChg chg="add mod">
          <ac:chgData name="Andreas Koksrud" userId="9d9beba6-c052-407a-8599-c781a677a996" providerId="ADAL" clId="{4C89AD2D-B60A-479F-9F95-9D423A06FAEA}" dt="2024-06-14T18:18:16.014" v="6347"/>
          <ac:spMkLst>
            <pc:docMk/>
            <pc:sldMk cId="3012956304" sldId="817"/>
            <ac:spMk id="3" creationId="{D30D5FEC-AFFE-2542-B83F-F3783C0A52A8}"/>
          </ac:spMkLst>
        </pc:spChg>
        <pc:spChg chg="add mod">
          <ac:chgData name="Andreas Koksrud" userId="9d9beba6-c052-407a-8599-c781a677a996" providerId="ADAL" clId="{4C89AD2D-B60A-479F-9F95-9D423A06FAEA}" dt="2024-06-14T18:18:16.014" v="6347"/>
          <ac:spMkLst>
            <pc:docMk/>
            <pc:sldMk cId="3012956304" sldId="817"/>
            <ac:spMk id="4" creationId="{782EE758-968B-A34F-9A95-9495D1837EC8}"/>
          </ac:spMkLst>
        </pc:spChg>
        <pc:spChg chg="add mod">
          <ac:chgData name="Andreas Koksrud" userId="9d9beba6-c052-407a-8599-c781a677a996" providerId="ADAL" clId="{4C89AD2D-B60A-479F-9F95-9D423A06FAEA}" dt="2024-07-16T14:23:11.805" v="25412" actId="1038"/>
          <ac:spMkLst>
            <pc:docMk/>
            <pc:sldMk cId="3012956304" sldId="817"/>
            <ac:spMk id="5" creationId="{D3387783-D64E-1205-7EB0-0EEC7313F540}"/>
          </ac:spMkLst>
        </pc:spChg>
        <pc:spChg chg="mod">
          <ac:chgData name="Andreas Koksrud" userId="9d9beba6-c052-407a-8599-c781a677a996" providerId="ADAL" clId="{4C89AD2D-B60A-479F-9F95-9D423A06FAEA}" dt="2024-08-04T16:07:14.857" v="36422" actId="20577"/>
          <ac:spMkLst>
            <pc:docMk/>
            <pc:sldMk cId="3012956304" sldId="817"/>
            <ac:spMk id="180" creationId="{00000000-0000-0000-0000-000000000000}"/>
          </ac:spMkLst>
        </pc:spChg>
        <pc:spChg chg="mod">
          <ac:chgData name="Andreas Koksrud" userId="9d9beba6-c052-407a-8599-c781a677a996" providerId="ADAL" clId="{4C89AD2D-B60A-479F-9F95-9D423A06FAEA}" dt="2024-07-05T19:30:37.591" v="20671" actId="6549"/>
          <ac:spMkLst>
            <pc:docMk/>
            <pc:sldMk cId="3012956304" sldId="817"/>
            <ac:spMk id="181" creationId="{00000000-0000-0000-0000-000000000000}"/>
          </ac:spMkLst>
        </pc:spChg>
      </pc:sldChg>
      <pc:sldChg chg="addSp modSp add mod">
        <pc:chgData name="Andreas Koksrud" userId="9d9beba6-c052-407a-8599-c781a677a996" providerId="ADAL" clId="{4C89AD2D-B60A-479F-9F95-9D423A06FAEA}" dt="2024-08-04T16:07:21.167" v="36445" actId="20577"/>
        <pc:sldMkLst>
          <pc:docMk/>
          <pc:sldMk cId="958133851" sldId="818"/>
        </pc:sldMkLst>
        <pc:spChg chg="add mod">
          <ac:chgData name="Andreas Koksrud" userId="9d9beba6-c052-407a-8599-c781a677a996" providerId="ADAL" clId="{4C89AD2D-B60A-479F-9F95-9D423A06FAEA}" dt="2024-06-14T18:18:17.044" v="6348"/>
          <ac:spMkLst>
            <pc:docMk/>
            <pc:sldMk cId="958133851" sldId="818"/>
            <ac:spMk id="2" creationId="{817F8C65-9EDB-6E79-B7B3-D68730854EA7}"/>
          </ac:spMkLst>
        </pc:spChg>
        <pc:spChg chg="mod">
          <ac:chgData name="Andreas Koksrud" userId="9d9beba6-c052-407a-8599-c781a677a996" providerId="ADAL" clId="{4C89AD2D-B60A-479F-9F95-9D423A06FAEA}" dt="2024-07-05T19:31:05.544" v="20714" actId="20577"/>
          <ac:spMkLst>
            <pc:docMk/>
            <pc:sldMk cId="958133851" sldId="818"/>
            <ac:spMk id="4" creationId="{37EF3563-5B7A-5CA5-59AD-483E13C51ACD}"/>
          </ac:spMkLst>
        </pc:spChg>
        <pc:spChg chg="add mod">
          <ac:chgData name="Andreas Koksrud" userId="9d9beba6-c052-407a-8599-c781a677a996" providerId="ADAL" clId="{4C89AD2D-B60A-479F-9F95-9D423A06FAEA}" dt="2024-06-14T18:18:17.044" v="6348"/>
          <ac:spMkLst>
            <pc:docMk/>
            <pc:sldMk cId="958133851" sldId="818"/>
            <ac:spMk id="5" creationId="{C751BA6C-2C9E-F12C-680F-73722C63B520}"/>
          </ac:spMkLst>
        </pc:spChg>
        <pc:spChg chg="mod">
          <ac:chgData name="Andreas Koksrud" userId="9d9beba6-c052-407a-8599-c781a677a996" providerId="ADAL" clId="{4C89AD2D-B60A-479F-9F95-9D423A06FAEA}" dt="2024-08-04T16:07:21.167" v="36445" actId="20577"/>
          <ac:spMkLst>
            <pc:docMk/>
            <pc:sldMk cId="958133851" sldId="818"/>
            <ac:spMk id="180" creationId="{00000000-0000-0000-0000-000000000000}"/>
          </ac:spMkLst>
        </pc:spChg>
      </pc:sldChg>
      <pc:sldChg chg="addSp modSp add mod">
        <pc:chgData name="Andreas Koksrud" userId="9d9beba6-c052-407a-8599-c781a677a996" providerId="ADAL" clId="{4C89AD2D-B60A-479F-9F95-9D423A06FAEA}" dt="2024-08-04T16:16:32.358" v="36547" actId="20577"/>
        <pc:sldMkLst>
          <pc:docMk/>
          <pc:sldMk cId="3123567294" sldId="819"/>
        </pc:sldMkLst>
        <pc:spChg chg="add mod">
          <ac:chgData name="Andreas Koksrud" userId="9d9beba6-c052-407a-8599-c781a677a996" providerId="ADAL" clId="{4C89AD2D-B60A-479F-9F95-9D423A06FAEA}" dt="2024-06-14T18:18:18.830" v="6349"/>
          <ac:spMkLst>
            <pc:docMk/>
            <pc:sldMk cId="3123567294" sldId="819"/>
            <ac:spMk id="2" creationId="{ADA53732-5FDD-BE78-A650-670F214539DF}"/>
          </ac:spMkLst>
        </pc:spChg>
        <pc:spChg chg="add mod">
          <ac:chgData name="Andreas Koksrud" userId="9d9beba6-c052-407a-8599-c781a677a996" providerId="ADAL" clId="{4C89AD2D-B60A-479F-9F95-9D423A06FAEA}" dt="2024-06-14T18:18:18.830" v="6349"/>
          <ac:spMkLst>
            <pc:docMk/>
            <pc:sldMk cId="3123567294" sldId="819"/>
            <ac:spMk id="3" creationId="{41465CF4-20DA-163A-99C6-1D2297ACF95C}"/>
          </ac:spMkLst>
        </pc:spChg>
        <pc:spChg chg="mod">
          <ac:chgData name="Andreas Koksrud" userId="9d9beba6-c052-407a-8599-c781a677a996" providerId="ADAL" clId="{4C89AD2D-B60A-479F-9F95-9D423A06FAEA}" dt="2024-08-04T16:16:32.358" v="36547" actId="20577"/>
          <ac:spMkLst>
            <pc:docMk/>
            <pc:sldMk cId="3123567294" sldId="819"/>
            <ac:spMk id="180" creationId="{00000000-0000-0000-0000-000000000000}"/>
          </ac:spMkLst>
        </pc:spChg>
      </pc:sldChg>
      <pc:sldChg chg="addSp delSp modSp add mod">
        <pc:chgData name="Andreas Koksrud" userId="9d9beba6-c052-407a-8599-c781a677a996" providerId="ADAL" clId="{4C89AD2D-B60A-479F-9F95-9D423A06FAEA}" dt="2024-08-06T13:18:56.286" v="38929" actId="20577"/>
        <pc:sldMkLst>
          <pc:docMk/>
          <pc:sldMk cId="2810975730" sldId="820"/>
        </pc:sldMkLst>
        <pc:spChg chg="del">
          <ac:chgData name="Andreas Koksrud" userId="9d9beba6-c052-407a-8599-c781a677a996" providerId="ADAL" clId="{4C89AD2D-B60A-479F-9F95-9D423A06FAEA}" dt="2024-08-06T13:18:47.882" v="38918" actId="478"/>
          <ac:spMkLst>
            <pc:docMk/>
            <pc:sldMk cId="2810975730" sldId="820"/>
            <ac:spMk id="2" creationId="{EFA6CF54-66C6-606A-C83D-78C65C5627AA}"/>
          </ac:spMkLst>
        </pc:spChg>
        <pc:spChg chg="mod">
          <ac:chgData name="Andreas Koksrud" userId="9d9beba6-c052-407a-8599-c781a677a996" providerId="ADAL" clId="{4C89AD2D-B60A-479F-9F95-9D423A06FAEA}" dt="2024-08-06T13:18:56.286" v="38929" actId="20577"/>
          <ac:spMkLst>
            <pc:docMk/>
            <pc:sldMk cId="2810975730" sldId="820"/>
            <ac:spMk id="4" creationId="{7B2B45CA-95BD-2704-AA56-E8D306F64CB7}"/>
          </ac:spMkLst>
        </pc:spChg>
        <pc:spChg chg="add mod">
          <ac:chgData name="Andreas Koksrud" userId="9d9beba6-c052-407a-8599-c781a677a996" providerId="ADAL" clId="{4C89AD2D-B60A-479F-9F95-9D423A06FAEA}" dt="2024-06-14T18:19:17.173" v="6420"/>
          <ac:spMkLst>
            <pc:docMk/>
            <pc:sldMk cId="2810975730" sldId="820"/>
            <ac:spMk id="6" creationId="{E608A65F-B9C5-1984-F17F-8C6358DBAB39}"/>
          </ac:spMkLst>
        </pc:spChg>
        <pc:spChg chg="add mod">
          <ac:chgData name="Andreas Koksrud" userId="9d9beba6-c052-407a-8599-c781a677a996" providerId="ADAL" clId="{4C89AD2D-B60A-479F-9F95-9D423A06FAEA}" dt="2024-06-14T18:19:17.173" v="6420"/>
          <ac:spMkLst>
            <pc:docMk/>
            <pc:sldMk cId="2810975730" sldId="820"/>
            <ac:spMk id="7" creationId="{4BBD0E0B-CE5A-A623-9813-5C4BAB3A6CC3}"/>
          </ac:spMkLst>
        </pc:spChg>
        <pc:spChg chg="mod">
          <ac:chgData name="Andreas Koksrud" userId="9d9beba6-c052-407a-8599-c781a677a996" providerId="ADAL" clId="{4C89AD2D-B60A-479F-9F95-9D423A06FAEA}" dt="2024-08-06T13:18:27.348" v="38917" actId="20577"/>
          <ac:spMkLst>
            <pc:docMk/>
            <pc:sldMk cId="2810975730" sldId="820"/>
            <ac:spMk id="181" creationId="{00000000-0000-0000-0000-000000000000}"/>
          </ac:spMkLst>
        </pc:spChg>
        <pc:cxnChg chg="del">
          <ac:chgData name="Andreas Koksrud" userId="9d9beba6-c052-407a-8599-c781a677a996" providerId="ADAL" clId="{4C89AD2D-B60A-479F-9F95-9D423A06FAEA}" dt="2024-08-06T13:18:49.476" v="38919" actId="478"/>
          <ac:cxnSpMkLst>
            <pc:docMk/>
            <pc:sldMk cId="2810975730" sldId="820"/>
            <ac:cxnSpMk id="5" creationId="{D14ABB27-D6A3-B3EE-DE7E-05B9153761CD}"/>
          </ac:cxnSpMkLst>
        </pc:cxnChg>
      </pc:sldChg>
      <pc:sldChg chg="addSp modSp add mod">
        <pc:chgData name="Andreas Koksrud" userId="9d9beba6-c052-407a-8599-c781a677a996" providerId="ADAL" clId="{4C89AD2D-B60A-479F-9F95-9D423A06FAEA}" dt="2024-08-06T13:20:32.911" v="39020" actId="6549"/>
        <pc:sldMkLst>
          <pc:docMk/>
          <pc:sldMk cId="484354108" sldId="821"/>
        </pc:sldMkLst>
        <pc:spChg chg="add mod">
          <ac:chgData name="Andreas Koksrud" userId="9d9beba6-c052-407a-8599-c781a677a996" providerId="ADAL" clId="{4C89AD2D-B60A-479F-9F95-9D423A06FAEA}" dt="2024-06-14T18:19:18.369" v="6421"/>
          <ac:spMkLst>
            <pc:docMk/>
            <pc:sldMk cId="484354108" sldId="821"/>
            <ac:spMk id="2" creationId="{46DF7738-42A1-8C66-D062-519011131894}"/>
          </ac:spMkLst>
        </pc:spChg>
        <pc:spChg chg="mod">
          <ac:chgData name="Andreas Koksrud" userId="9d9beba6-c052-407a-8599-c781a677a996" providerId="ADAL" clId="{4C89AD2D-B60A-479F-9F95-9D423A06FAEA}" dt="2024-08-06T13:20:32.911" v="39020" actId="6549"/>
          <ac:spMkLst>
            <pc:docMk/>
            <pc:sldMk cId="484354108" sldId="821"/>
            <ac:spMk id="5" creationId="{2B5F87C7-1A75-AE43-144E-BC06017C5C2F}"/>
          </ac:spMkLst>
        </pc:spChg>
        <pc:spChg chg="add mod">
          <ac:chgData name="Andreas Koksrud" userId="9d9beba6-c052-407a-8599-c781a677a996" providerId="ADAL" clId="{4C89AD2D-B60A-479F-9F95-9D423A06FAEA}" dt="2024-06-14T18:19:18.369" v="6421"/>
          <ac:spMkLst>
            <pc:docMk/>
            <pc:sldMk cId="484354108" sldId="821"/>
            <ac:spMk id="8" creationId="{8C1DF1F2-C95B-AB58-1B3A-7CE8CFCA2838}"/>
          </ac:spMkLst>
        </pc:spChg>
        <pc:spChg chg="mod">
          <ac:chgData name="Andreas Koksrud" userId="9d9beba6-c052-407a-8599-c781a677a996" providerId="ADAL" clId="{4C89AD2D-B60A-479F-9F95-9D423A06FAEA}" dt="2024-08-06T13:20:17.673" v="38988" actId="20577"/>
          <ac:spMkLst>
            <pc:docMk/>
            <pc:sldMk cId="484354108" sldId="821"/>
            <ac:spMk id="181" creationId="{00000000-0000-0000-0000-000000000000}"/>
          </ac:spMkLst>
        </pc:spChg>
      </pc:sldChg>
      <pc:sldChg chg="addSp modSp add mod">
        <pc:chgData name="Andreas Koksrud" userId="9d9beba6-c052-407a-8599-c781a677a996" providerId="ADAL" clId="{4C89AD2D-B60A-479F-9F95-9D423A06FAEA}" dt="2024-08-06T13:21:05.594" v="39028" actId="20577"/>
        <pc:sldMkLst>
          <pc:docMk/>
          <pc:sldMk cId="1297674930" sldId="822"/>
        </pc:sldMkLst>
        <pc:spChg chg="mod">
          <ac:chgData name="Andreas Koksrud" userId="9d9beba6-c052-407a-8599-c781a677a996" providerId="ADAL" clId="{4C89AD2D-B60A-479F-9F95-9D423A06FAEA}" dt="2024-08-06T13:21:05.594" v="39028" actId="20577"/>
          <ac:spMkLst>
            <pc:docMk/>
            <pc:sldMk cId="1297674930" sldId="822"/>
            <ac:spMk id="2" creationId="{021CA0C3-964C-194D-8088-55B4655C41AF}"/>
          </ac:spMkLst>
        </pc:spChg>
        <pc:spChg chg="add mod">
          <ac:chgData name="Andreas Koksrud" userId="9d9beba6-c052-407a-8599-c781a677a996" providerId="ADAL" clId="{4C89AD2D-B60A-479F-9F95-9D423A06FAEA}" dt="2024-06-14T18:19:19.348" v="6422"/>
          <ac:spMkLst>
            <pc:docMk/>
            <pc:sldMk cId="1297674930" sldId="822"/>
            <ac:spMk id="3" creationId="{FEECFD47-0A5B-3A2D-A459-D0216B72B1CD}"/>
          </ac:spMkLst>
        </pc:spChg>
        <pc:spChg chg="add mod">
          <ac:chgData name="Andreas Koksrud" userId="9d9beba6-c052-407a-8599-c781a677a996" providerId="ADAL" clId="{4C89AD2D-B60A-479F-9F95-9D423A06FAEA}" dt="2024-06-14T18:19:19.348" v="6422"/>
          <ac:spMkLst>
            <pc:docMk/>
            <pc:sldMk cId="1297674930" sldId="822"/>
            <ac:spMk id="5" creationId="{E23FCB6F-1649-E103-C32E-F510389E48C1}"/>
          </ac:spMkLst>
        </pc:spChg>
      </pc:sldChg>
      <pc:sldChg chg="addSp modSp add mod">
        <pc:chgData name="Andreas Koksrud" userId="9d9beba6-c052-407a-8599-c781a677a996" providerId="ADAL" clId="{4C89AD2D-B60A-479F-9F95-9D423A06FAEA}" dt="2024-08-06T13:24:46.495" v="39122" actId="1076"/>
        <pc:sldMkLst>
          <pc:docMk/>
          <pc:sldMk cId="3521479601" sldId="823"/>
        </pc:sldMkLst>
        <pc:spChg chg="add mod">
          <ac:chgData name="Andreas Koksrud" userId="9d9beba6-c052-407a-8599-c781a677a996" providerId="ADAL" clId="{4C89AD2D-B60A-479F-9F95-9D423A06FAEA}" dt="2024-06-14T18:19:22.126" v="6424"/>
          <ac:spMkLst>
            <pc:docMk/>
            <pc:sldMk cId="3521479601" sldId="823"/>
            <ac:spMk id="2" creationId="{0F6178F5-1298-A98B-1AF5-01C018926D40}"/>
          </ac:spMkLst>
        </pc:spChg>
        <pc:spChg chg="mod">
          <ac:chgData name="Andreas Koksrud" userId="9d9beba6-c052-407a-8599-c781a677a996" providerId="ADAL" clId="{4C89AD2D-B60A-479F-9F95-9D423A06FAEA}" dt="2024-08-06T13:21:48.390" v="39102" actId="1035"/>
          <ac:spMkLst>
            <pc:docMk/>
            <pc:sldMk cId="3521479601" sldId="823"/>
            <ac:spMk id="3" creationId="{5B84D8CD-3699-082C-152E-28FEBE383D06}"/>
          </ac:spMkLst>
        </pc:spChg>
        <pc:spChg chg="mod">
          <ac:chgData name="Andreas Koksrud" userId="9d9beba6-c052-407a-8599-c781a677a996" providerId="ADAL" clId="{4C89AD2D-B60A-479F-9F95-9D423A06FAEA}" dt="2024-08-06T13:24:28.674" v="39118" actId="6549"/>
          <ac:spMkLst>
            <pc:docMk/>
            <pc:sldMk cId="3521479601" sldId="823"/>
            <ac:spMk id="6" creationId="{5485B025-69EF-89C1-6489-284E2DAA1110}"/>
          </ac:spMkLst>
        </pc:spChg>
        <pc:spChg chg="add mod">
          <ac:chgData name="Andreas Koksrud" userId="9d9beba6-c052-407a-8599-c781a677a996" providerId="ADAL" clId="{4C89AD2D-B60A-479F-9F95-9D423A06FAEA}" dt="2024-06-14T18:19:22.126" v="6424"/>
          <ac:spMkLst>
            <pc:docMk/>
            <pc:sldMk cId="3521479601" sldId="823"/>
            <ac:spMk id="7" creationId="{5AC3D159-A1AF-77AF-BA96-70EF6E15A645}"/>
          </ac:spMkLst>
        </pc:spChg>
        <pc:spChg chg="add mod">
          <ac:chgData name="Andreas Koksrud" userId="9d9beba6-c052-407a-8599-c781a677a996" providerId="ADAL" clId="{4C89AD2D-B60A-479F-9F95-9D423A06FAEA}" dt="2024-08-06T13:24:46.495" v="39122" actId="1076"/>
          <ac:spMkLst>
            <pc:docMk/>
            <pc:sldMk cId="3521479601" sldId="823"/>
            <ac:spMk id="8" creationId="{AF125154-FF28-E889-26A8-37F002C05585}"/>
          </ac:spMkLst>
        </pc:spChg>
        <pc:spChg chg="mod">
          <ac:chgData name="Andreas Koksrud" userId="9d9beba6-c052-407a-8599-c781a677a996" providerId="ADAL" clId="{4C89AD2D-B60A-479F-9F95-9D423A06FAEA}" dt="2024-08-06T13:21:48.390" v="39102" actId="1035"/>
          <ac:spMkLst>
            <pc:docMk/>
            <pc:sldMk cId="3521479601" sldId="823"/>
            <ac:spMk id="13" creationId="{6D90923C-5B02-5202-B617-D637F611C890}"/>
          </ac:spMkLst>
        </pc:spChg>
        <pc:spChg chg="mod">
          <ac:chgData name="Andreas Koksrud" userId="9d9beba6-c052-407a-8599-c781a677a996" providerId="ADAL" clId="{4C89AD2D-B60A-479F-9F95-9D423A06FAEA}" dt="2024-08-06T13:21:48.390" v="39102" actId="1035"/>
          <ac:spMkLst>
            <pc:docMk/>
            <pc:sldMk cId="3521479601" sldId="823"/>
            <ac:spMk id="14" creationId="{56541B24-C848-8F6F-6A81-0F1D7B266046}"/>
          </ac:spMkLst>
        </pc:spChg>
        <pc:spChg chg="mod">
          <ac:chgData name="Andreas Koksrud" userId="9d9beba6-c052-407a-8599-c781a677a996" providerId="ADAL" clId="{4C89AD2D-B60A-479F-9F95-9D423A06FAEA}" dt="2024-08-06T13:21:48.390" v="39102" actId="1035"/>
          <ac:spMkLst>
            <pc:docMk/>
            <pc:sldMk cId="3521479601" sldId="823"/>
            <ac:spMk id="15" creationId="{B5E62DE7-E302-48D4-811E-8E03D2522C9A}"/>
          </ac:spMkLst>
        </pc:spChg>
        <pc:spChg chg="mod">
          <ac:chgData name="Andreas Koksrud" userId="9d9beba6-c052-407a-8599-c781a677a996" providerId="ADAL" clId="{4C89AD2D-B60A-479F-9F95-9D423A06FAEA}" dt="2024-08-06T13:21:26.014" v="39075" actId="20577"/>
          <ac:spMkLst>
            <pc:docMk/>
            <pc:sldMk cId="3521479601" sldId="823"/>
            <ac:spMk id="180" creationId="{00000000-0000-0000-0000-000000000000}"/>
          </ac:spMkLst>
        </pc:spChg>
        <pc:cxnChg chg="add mod">
          <ac:chgData name="Andreas Koksrud" userId="9d9beba6-c052-407a-8599-c781a677a996" providerId="ADAL" clId="{4C89AD2D-B60A-479F-9F95-9D423A06FAEA}" dt="2024-08-06T13:24:42.178" v="39121" actId="14100"/>
          <ac:cxnSpMkLst>
            <pc:docMk/>
            <pc:sldMk cId="3521479601" sldId="823"/>
            <ac:cxnSpMk id="17" creationId="{CECFD2C6-9826-76E0-BF92-8BD7B35BE476}"/>
          </ac:cxnSpMkLst>
        </pc:cxnChg>
      </pc:sldChg>
      <pc:sldChg chg="addSp modSp add mod">
        <pc:chgData name="Andreas Koksrud" userId="9d9beba6-c052-407a-8599-c781a677a996" providerId="ADAL" clId="{4C89AD2D-B60A-479F-9F95-9D423A06FAEA}" dt="2024-08-06T13:27:45.034" v="39256" actId="6549"/>
        <pc:sldMkLst>
          <pc:docMk/>
          <pc:sldMk cId="4106763092" sldId="826"/>
        </pc:sldMkLst>
        <pc:spChg chg="add mod">
          <ac:chgData name="Andreas Koksrud" userId="9d9beba6-c052-407a-8599-c781a677a996" providerId="ADAL" clId="{4C89AD2D-B60A-479F-9F95-9D423A06FAEA}" dt="2024-06-14T18:19:24.951" v="6426"/>
          <ac:spMkLst>
            <pc:docMk/>
            <pc:sldMk cId="4106763092" sldId="826"/>
            <ac:spMk id="2" creationId="{3A684846-05F9-019F-0AB8-1E3490D063D1}"/>
          </ac:spMkLst>
        </pc:spChg>
        <pc:spChg chg="add mod">
          <ac:chgData name="Andreas Koksrud" userId="9d9beba6-c052-407a-8599-c781a677a996" providerId="ADAL" clId="{4C89AD2D-B60A-479F-9F95-9D423A06FAEA}" dt="2024-06-14T18:19:24.951" v="6426"/>
          <ac:spMkLst>
            <pc:docMk/>
            <pc:sldMk cId="4106763092" sldId="826"/>
            <ac:spMk id="3" creationId="{4A714335-A3B1-3224-D787-9F867DA11134}"/>
          </ac:spMkLst>
        </pc:spChg>
        <pc:spChg chg="mod">
          <ac:chgData name="Andreas Koksrud" userId="9d9beba6-c052-407a-8599-c781a677a996" providerId="ADAL" clId="{4C89AD2D-B60A-479F-9F95-9D423A06FAEA}" dt="2024-08-06T13:27:45.034" v="39256" actId="6549"/>
          <ac:spMkLst>
            <pc:docMk/>
            <pc:sldMk cId="4106763092" sldId="826"/>
            <ac:spMk id="180" creationId="{00000000-0000-0000-0000-000000000000}"/>
          </ac:spMkLst>
        </pc:spChg>
      </pc:sldChg>
      <pc:sldChg chg="addSp modSp add mod">
        <pc:chgData name="Andreas Koksrud" userId="9d9beba6-c052-407a-8599-c781a677a996" providerId="ADAL" clId="{4C89AD2D-B60A-479F-9F95-9D423A06FAEA}" dt="2024-08-06T13:21:19.321" v="39062" actId="20577"/>
        <pc:sldMkLst>
          <pc:docMk/>
          <pc:sldMk cId="1118305278" sldId="829"/>
        </pc:sldMkLst>
        <pc:spChg chg="mod">
          <ac:chgData name="Andreas Koksrud" userId="9d9beba6-c052-407a-8599-c781a677a996" providerId="ADAL" clId="{4C89AD2D-B60A-479F-9F95-9D423A06FAEA}" dt="2024-08-06T13:21:19.321" v="39062" actId="20577"/>
          <ac:spMkLst>
            <pc:docMk/>
            <pc:sldMk cId="1118305278" sldId="829"/>
            <ac:spMk id="2" creationId="{021CA0C3-964C-194D-8088-55B4655C41AF}"/>
          </ac:spMkLst>
        </pc:spChg>
        <pc:spChg chg="add mod">
          <ac:chgData name="Andreas Koksrud" userId="9d9beba6-c052-407a-8599-c781a677a996" providerId="ADAL" clId="{4C89AD2D-B60A-479F-9F95-9D423A06FAEA}" dt="2024-06-14T18:19:20.470" v="6423"/>
          <ac:spMkLst>
            <pc:docMk/>
            <pc:sldMk cId="1118305278" sldId="829"/>
            <ac:spMk id="3" creationId="{32A26D00-A83A-231C-2CD1-4A49BE33F3E0}"/>
          </ac:spMkLst>
        </pc:spChg>
        <pc:spChg chg="add mod">
          <ac:chgData name="Andreas Koksrud" userId="9d9beba6-c052-407a-8599-c781a677a996" providerId="ADAL" clId="{4C89AD2D-B60A-479F-9F95-9D423A06FAEA}" dt="2024-06-14T18:19:20.470" v="6423"/>
          <ac:spMkLst>
            <pc:docMk/>
            <pc:sldMk cId="1118305278" sldId="829"/>
            <ac:spMk id="4" creationId="{18A7D459-E93F-07CF-F7AB-816123700A2E}"/>
          </ac:spMkLst>
        </pc:spChg>
      </pc:sldChg>
      <pc:sldChg chg="addSp modSp add">
        <pc:chgData name="Andreas Koksrud" userId="9d9beba6-c052-407a-8599-c781a677a996" providerId="ADAL" clId="{4C89AD2D-B60A-479F-9F95-9D423A06FAEA}" dt="2024-06-14T18:19:58.440" v="6486"/>
        <pc:sldMkLst>
          <pc:docMk/>
          <pc:sldMk cId="1212745208" sldId="830"/>
        </pc:sldMkLst>
        <pc:spChg chg="add mod">
          <ac:chgData name="Andreas Koksrud" userId="9d9beba6-c052-407a-8599-c781a677a996" providerId="ADAL" clId="{4C89AD2D-B60A-479F-9F95-9D423A06FAEA}" dt="2024-06-14T18:19:58.440" v="6486"/>
          <ac:spMkLst>
            <pc:docMk/>
            <pc:sldMk cId="1212745208" sldId="830"/>
            <ac:spMk id="2" creationId="{6CD92190-7E72-A822-5523-83391FA0DD00}"/>
          </ac:spMkLst>
        </pc:spChg>
        <pc:spChg chg="add mod">
          <ac:chgData name="Andreas Koksrud" userId="9d9beba6-c052-407a-8599-c781a677a996" providerId="ADAL" clId="{4C89AD2D-B60A-479F-9F95-9D423A06FAEA}" dt="2024-06-14T18:19:58.440" v="6486"/>
          <ac:spMkLst>
            <pc:docMk/>
            <pc:sldMk cId="1212745208" sldId="830"/>
            <ac:spMk id="3" creationId="{3C64FD93-5E17-435B-A8B7-30E45CAB7A1A}"/>
          </ac:spMkLst>
        </pc:spChg>
      </pc:sldChg>
      <pc:sldChg chg="addSp modSp add">
        <pc:chgData name="Andreas Koksrud" userId="9d9beba6-c052-407a-8599-c781a677a996" providerId="ADAL" clId="{4C89AD2D-B60A-479F-9F95-9D423A06FAEA}" dt="2024-06-14T18:23:22.924" v="6655"/>
        <pc:sldMkLst>
          <pc:docMk/>
          <pc:sldMk cId="1070812493" sldId="839"/>
        </pc:sldMkLst>
        <pc:spChg chg="add mod">
          <ac:chgData name="Andreas Koksrud" userId="9d9beba6-c052-407a-8599-c781a677a996" providerId="ADAL" clId="{4C89AD2D-B60A-479F-9F95-9D423A06FAEA}" dt="2024-06-14T18:23:22.924" v="6655"/>
          <ac:spMkLst>
            <pc:docMk/>
            <pc:sldMk cId="1070812493" sldId="839"/>
            <ac:spMk id="3" creationId="{781865DB-979E-A472-5B70-DC12F9AC15E4}"/>
          </ac:spMkLst>
        </pc:spChg>
        <pc:spChg chg="add mod">
          <ac:chgData name="Andreas Koksrud" userId="9d9beba6-c052-407a-8599-c781a677a996" providerId="ADAL" clId="{4C89AD2D-B60A-479F-9F95-9D423A06FAEA}" dt="2024-06-14T18:23:22.924" v="6655"/>
          <ac:spMkLst>
            <pc:docMk/>
            <pc:sldMk cId="1070812493" sldId="839"/>
            <ac:spMk id="5" creationId="{A2CF3805-D6FD-714C-9A6B-AFA86E5B2AB5}"/>
          </ac:spMkLst>
        </pc:spChg>
      </pc:sldChg>
      <pc:sldChg chg="addSp modSp add">
        <pc:chgData name="Andreas Koksrud" userId="9d9beba6-c052-407a-8599-c781a677a996" providerId="ADAL" clId="{4C89AD2D-B60A-479F-9F95-9D423A06FAEA}" dt="2024-06-14T18:23:23.814" v="6656"/>
        <pc:sldMkLst>
          <pc:docMk/>
          <pc:sldMk cId="2685798531" sldId="840"/>
        </pc:sldMkLst>
        <pc:spChg chg="add mod">
          <ac:chgData name="Andreas Koksrud" userId="9d9beba6-c052-407a-8599-c781a677a996" providerId="ADAL" clId="{4C89AD2D-B60A-479F-9F95-9D423A06FAEA}" dt="2024-06-14T18:23:23.814" v="6656"/>
          <ac:spMkLst>
            <pc:docMk/>
            <pc:sldMk cId="2685798531" sldId="840"/>
            <ac:spMk id="3" creationId="{08C7673B-E3E0-9470-D646-ED5473BEDB16}"/>
          </ac:spMkLst>
        </pc:spChg>
        <pc:spChg chg="add mod">
          <ac:chgData name="Andreas Koksrud" userId="9d9beba6-c052-407a-8599-c781a677a996" providerId="ADAL" clId="{4C89AD2D-B60A-479F-9F95-9D423A06FAEA}" dt="2024-06-14T18:23:23.814" v="6656"/>
          <ac:spMkLst>
            <pc:docMk/>
            <pc:sldMk cId="2685798531" sldId="840"/>
            <ac:spMk id="4" creationId="{EB181041-1161-2B01-DE20-AD482C234CFA}"/>
          </ac:spMkLst>
        </pc:spChg>
      </pc:sldChg>
      <pc:sldChg chg="addSp modSp add">
        <pc:chgData name="Andreas Koksrud" userId="9d9beba6-c052-407a-8599-c781a677a996" providerId="ADAL" clId="{4C89AD2D-B60A-479F-9F95-9D423A06FAEA}" dt="2024-06-14T18:23:24.750" v="6657"/>
        <pc:sldMkLst>
          <pc:docMk/>
          <pc:sldMk cId="2309282967" sldId="841"/>
        </pc:sldMkLst>
        <pc:spChg chg="add mod">
          <ac:chgData name="Andreas Koksrud" userId="9d9beba6-c052-407a-8599-c781a677a996" providerId="ADAL" clId="{4C89AD2D-B60A-479F-9F95-9D423A06FAEA}" dt="2024-06-14T18:23:24.750" v="6657"/>
          <ac:spMkLst>
            <pc:docMk/>
            <pc:sldMk cId="2309282967" sldId="841"/>
            <ac:spMk id="3" creationId="{9AEE8B7C-BD41-15D8-13FE-D8F48DDFD54E}"/>
          </ac:spMkLst>
        </pc:spChg>
        <pc:spChg chg="add mod">
          <ac:chgData name="Andreas Koksrud" userId="9d9beba6-c052-407a-8599-c781a677a996" providerId="ADAL" clId="{4C89AD2D-B60A-479F-9F95-9D423A06FAEA}" dt="2024-06-14T18:23:24.750" v="6657"/>
          <ac:spMkLst>
            <pc:docMk/>
            <pc:sldMk cId="2309282967" sldId="841"/>
            <ac:spMk id="5" creationId="{8F917B6D-EE89-89D3-0154-00B1D6E17564}"/>
          </ac:spMkLst>
        </pc:spChg>
      </pc:sldChg>
      <pc:sldChg chg="addSp modSp add">
        <pc:chgData name="Andreas Koksrud" userId="9d9beba6-c052-407a-8599-c781a677a996" providerId="ADAL" clId="{4C89AD2D-B60A-479F-9F95-9D423A06FAEA}" dt="2024-06-14T18:23:26.913" v="6659"/>
        <pc:sldMkLst>
          <pc:docMk/>
          <pc:sldMk cId="685011829" sldId="842"/>
        </pc:sldMkLst>
        <pc:spChg chg="add mod">
          <ac:chgData name="Andreas Koksrud" userId="9d9beba6-c052-407a-8599-c781a677a996" providerId="ADAL" clId="{4C89AD2D-B60A-479F-9F95-9D423A06FAEA}" dt="2024-06-14T18:23:26.913" v="6659"/>
          <ac:spMkLst>
            <pc:docMk/>
            <pc:sldMk cId="685011829" sldId="842"/>
            <ac:spMk id="3" creationId="{7DF3C111-068D-584C-0E8F-BA160EF98A02}"/>
          </ac:spMkLst>
        </pc:spChg>
        <pc:spChg chg="add mod">
          <ac:chgData name="Andreas Koksrud" userId="9d9beba6-c052-407a-8599-c781a677a996" providerId="ADAL" clId="{4C89AD2D-B60A-479F-9F95-9D423A06FAEA}" dt="2024-06-14T18:23:26.913" v="6659"/>
          <ac:spMkLst>
            <pc:docMk/>
            <pc:sldMk cId="685011829" sldId="842"/>
            <ac:spMk id="5" creationId="{2FA9B7CB-E864-E446-314E-EC229B1AD001}"/>
          </ac:spMkLst>
        </pc:spChg>
      </pc:sldChg>
      <pc:sldChg chg="del">
        <pc:chgData name="Andreas Koksrud" userId="9d9beba6-c052-407a-8599-c781a677a996" providerId="ADAL" clId="{4C89AD2D-B60A-479F-9F95-9D423A06FAEA}" dt="2024-06-09T16:12:39.230" v="2166" actId="47"/>
        <pc:sldMkLst>
          <pc:docMk/>
          <pc:sldMk cId="798825500" sldId="844"/>
        </pc:sldMkLst>
      </pc:sldChg>
      <pc:sldChg chg="addSp modSp add">
        <pc:chgData name="Andreas Koksrud" userId="9d9beba6-c052-407a-8599-c781a677a996" providerId="ADAL" clId="{4C89AD2D-B60A-479F-9F95-9D423A06FAEA}" dt="2024-06-14T18:23:27.956" v="6660"/>
        <pc:sldMkLst>
          <pc:docMk/>
          <pc:sldMk cId="3245717989" sldId="845"/>
        </pc:sldMkLst>
        <pc:spChg chg="add mod">
          <ac:chgData name="Andreas Koksrud" userId="9d9beba6-c052-407a-8599-c781a677a996" providerId="ADAL" clId="{4C89AD2D-B60A-479F-9F95-9D423A06FAEA}" dt="2024-06-14T18:23:27.956" v="6660"/>
          <ac:spMkLst>
            <pc:docMk/>
            <pc:sldMk cId="3245717989" sldId="845"/>
            <ac:spMk id="3" creationId="{9BACA49B-03FC-7198-519A-6F0CBCCF51B6}"/>
          </ac:spMkLst>
        </pc:spChg>
        <pc:spChg chg="add mod">
          <ac:chgData name="Andreas Koksrud" userId="9d9beba6-c052-407a-8599-c781a677a996" providerId="ADAL" clId="{4C89AD2D-B60A-479F-9F95-9D423A06FAEA}" dt="2024-06-14T18:23:27.956" v="6660"/>
          <ac:spMkLst>
            <pc:docMk/>
            <pc:sldMk cId="3245717989" sldId="845"/>
            <ac:spMk id="5" creationId="{0204AF9C-6E96-A87B-71BD-C92BDA105B7A}"/>
          </ac:spMkLst>
        </pc:spChg>
      </pc:sldChg>
      <pc:sldChg chg="addSp modSp add">
        <pc:chgData name="Andreas Koksrud" userId="9d9beba6-c052-407a-8599-c781a677a996" providerId="ADAL" clId="{4C89AD2D-B60A-479F-9F95-9D423A06FAEA}" dt="2024-06-14T18:23:30.403" v="6662"/>
        <pc:sldMkLst>
          <pc:docMk/>
          <pc:sldMk cId="3805266284" sldId="846"/>
        </pc:sldMkLst>
        <pc:spChg chg="add mod">
          <ac:chgData name="Andreas Koksrud" userId="9d9beba6-c052-407a-8599-c781a677a996" providerId="ADAL" clId="{4C89AD2D-B60A-479F-9F95-9D423A06FAEA}" dt="2024-06-14T18:23:30.403" v="6662"/>
          <ac:spMkLst>
            <pc:docMk/>
            <pc:sldMk cId="3805266284" sldId="846"/>
            <ac:spMk id="3" creationId="{E396A52E-D674-3BE9-A336-B97E1B785EA2}"/>
          </ac:spMkLst>
        </pc:spChg>
        <pc:spChg chg="add mod">
          <ac:chgData name="Andreas Koksrud" userId="9d9beba6-c052-407a-8599-c781a677a996" providerId="ADAL" clId="{4C89AD2D-B60A-479F-9F95-9D423A06FAEA}" dt="2024-06-14T18:23:30.403" v="6662"/>
          <ac:spMkLst>
            <pc:docMk/>
            <pc:sldMk cId="3805266284" sldId="846"/>
            <ac:spMk id="4" creationId="{E92ECE66-DCCA-FF66-1EEC-D4FB7DEE02AB}"/>
          </ac:spMkLst>
        </pc:spChg>
      </pc:sldChg>
      <pc:sldChg chg="addSp modSp add">
        <pc:chgData name="Andreas Koksrud" userId="9d9beba6-c052-407a-8599-c781a677a996" providerId="ADAL" clId="{4C89AD2D-B60A-479F-9F95-9D423A06FAEA}" dt="2024-06-14T18:23:31.741" v="6663"/>
        <pc:sldMkLst>
          <pc:docMk/>
          <pc:sldMk cId="1521086367" sldId="847"/>
        </pc:sldMkLst>
        <pc:spChg chg="add mod">
          <ac:chgData name="Andreas Koksrud" userId="9d9beba6-c052-407a-8599-c781a677a996" providerId="ADAL" clId="{4C89AD2D-B60A-479F-9F95-9D423A06FAEA}" dt="2024-06-14T18:23:31.741" v="6663"/>
          <ac:spMkLst>
            <pc:docMk/>
            <pc:sldMk cId="1521086367" sldId="847"/>
            <ac:spMk id="3" creationId="{AD684BEF-62FD-6E9C-F1A1-D85E6205E295}"/>
          </ac:spMkLst>
        </pc:spChg>
        <pc:spChg chg="add mod">
          <ac:chgData name="Andreas Koksrud" userId="9d9beba6-c052-407a-8599-c781a677a996" providerId="ADAL" clId="{4C89AD2D-B60A-479F-9F95-9D423A06FAEA}" dt="2024-06-14T18:23:31.741" v="6663"/>
          <ac:spMkLst>
            <pc:docMk/>
            <pc:sldMk cId="1521086367" sldId="847"/>
            <ac:spMk id="5" creationId="{48F777CE-2791-4E3C-77F9-87E6C2C0E520}"/>
          </ac:spMkLst>
        </pc:spChg>
      </pc:sldChg>
      <pc:sldChg chg="del">
        <pc:chgData name="Andreas Koksrud" userId="9d9beba6-c052-407a-8599-c781a677a996" providerId="ADAL" clId="{4C89AD2D-B60A-479F-9F95-9D423A06FAEA}" dt="2024-06-09T16:00:45.201" v="1096" actId="47"/>
        <pc:sldMkLst>
          <pc:docMk/>
          <pc:sldMk cId="2885639092" sldId="848"/>
        </pc:sldMkLst>
      </pc:sldChg>
      <pc:sldChg chg="del">
        <pc:chgData name="Andreas Koksrud" userId="9d9beba6-c052-407a-8599-c781a677a996" providerId="ADAL" clId="{4C89AD2D-B60A-479F-9F95-9D423A06FAEA}" dt="2024-06-09T16:00:48.044" v="1098" actId="47"/>
        <pc:sldMkLst>
          <pc:docMk/>
          <pc:sldMk cId="1110680622" sldId="849"/>
        </pc:sldMkLst>
      </pc:sldChg>
      <pc:sldChg chg="addSp delSp modSp add del mod">
        <pc:chgData name="Andreas Koksrud" userId="9d9beba6-c052-407a-8599-c781a677a996" providerId="ADAL" clId="{4C89AD2D-B60A-479F-9F95-9D423A06FAEA}" dt="2024-08-06T18:29:33.046" v="40740" actId="20577"/>
        <pc:sldMkLst>
          <pc:docMk/>
          <pc:sldMk cId="468106742" sldId="850"/>
        </pc:sldMkLst>
        <pc:spChg chg="del mod">
          <ac:chgData name="Andreas Koksrud" userId="9d9beba6-c052-407a-8599-c781a677a996" providerId="ADAL" clId="{4C89AD2D-B60A-479F-9F95-9D423A06FAEA}" dt="2024-07-01T04:37:47.036" v="15125" actId="478"/>
          <ac:spMkLst>
            <pc:docMk/>
            <pc:sldMk cId="468106742" sldId="850"/>
            <ac:spMk id="2" creationId="{E5D5B057-1D39-AC88-396C-0D888288A2E9}"/>
          </ac:spMkLst>
        </pc:spChg>
        <pc:spChg chg="add mod">
          <ac:chgData name="Andreas Koksrud" userId="9d9beba6-c052-407a-8599-c781a677a996" providerId="ADAL" clId="{4C89AD2D-B60A-479F-9F95-9D423A06FAEA}" dt="2024-06-14T18:20:18.050" v="6509"/>
          <ac:spMkLst>
            <pc:docMk/>
            <pc:sldMk cId="468106742" sldId="850"/>
            <ac:spMk id="3" creationId="{77FF1E93-AC1C-5651-2FC2-8ABE16F5AAA9}"/>
          </ac:spMkLst>
        </pc:spChg>
        <pc:spChg chg="add mod">
          <ac:chgData name="Andreas Koksrud" userId="9d9beba6-c052-407a-8599-c781a677a996" providerId="ADAL" clId="{4C89AD2D-B60A-479F-9F95-9D423A06FAEA}" dt="2024-06-14T18:20:18.050" v="6509"/>
          <ac:spMkLst>
            <pc:docMk/>
            <pc:sldMk cId="468106742" sldId="850"/>
            <ac:spMk id="6" creationId="{84F2DA91-90C9-C865-9D2D-3CEDE26E5AB0}"/>
          </ac:spMkLst>
        </pc:spChg>
        <pc:spChg chg="add mod">
          <ac:chgData name="Andreas Koksrud" userId="9d9beba6-c052-407a-8599-c781a677a996" providerId="ADAL" clId="{4C89AD2D-B60A-479F-9F95-9D423A06FAEA}" dt="2024-08-06T18:29:33.046" v="40740" actId="20577"/>
          <ac:spMkLst>
            <pc:docMk/>
            <pc:sldMk cId="468106742" sldId="850"/>
            <ac:spMk id="7" creationId="{F57809A5-5D18-E09A-D8A2-8E873756E594}"/>
          </ac:spMkLst>
        </pc:spChg>
        <pc:spChg chg="add mod">
          <ac:chgData name="Andreas Koksrud" userId="9d9beba6-c052-407a-8599-c781a677a996" providerId="ADAL" clId="{4C89AD2D-B60A-479F-9F95-9D423A06FAEA}" dt="2024-07-20T18:55:53.092" v="26075" actId="6549"/>
          <ac:spMkLst>
            <pc:docMk/>
            <pc:sldMk cId="468106742" sldId="850"/>
            <ac:spMk id="8" creationId="{8062001E-013F-DBFC-98EA-B07E339612BF}"/>
          </ac:spMkLst>
        </pc:spChg>
        <pc:spChg chg="add mod">
          <ac:chgData name="Andreas Koksrud" userId="9d9beba6-c052-407a-8599-c781a677a996" providerId="ADAL" clId="{4C89AD2D-B60A-479F-9F95-9D423A06FAEA}" dt="2024-07-20T18:55:50.422" v="26073" actId="14100"/>
          <ac:spMkLst>
            <pc:docMk/>
            <pc:sldMk cId="468106742" sldId="850"/>
            <ac:spMk id="9" creationId="{696415D3-221E-C514-59CA-A0A57109A27E}"/>
          </ac:spMkLst>
        </pc:spChg>
        <pc:spChg chg="add del mod">
          <ac:chgData name="Andreas Koksrud" userId="9d9beba6-c052-407a-8599-c781a677a996" providerId="ADAL" clId="{4C89AD2D-B60A-479F-9F95-9D423A06FAEA}" dt="2024-07-01T04:42:44.360" v="15204" actId="478"/>
          <ac:spMkLst>
            <pc:docMk/>
            <pc:sldMk cId="468106742" sldId="850"/>
            <ac:spMk id="10" creationId="{8DF4F21C-1551-0A8B-D49E-1F6539905306}"/>
          </ac:spMkLst>
        </pc:spChg>
        <pc:spChg chg="mod">
          <ac:chgData name="Andreas Koksrud" userId="9d9beba6-c052-407a-8599-c781a677a996" providerId="ADAL" clId="{4C89AD2D-B60A-479F-9F95-9D423A06FAEA}" dt="2024-06-30T17:17:54.557" v="14944" actId="20577"/>
          <ac:spMkLst>
            <pc:docMk/>
            <pc:sldMk cId="468106742" sldId="850"/>
            <ac:spMk id="180" creationId="{00000000-0000-0000-0000-000000000000}"/>
          </ac:spMkLst>
        </pc:spChg>
        <pc:spChg chg="mod">
          <ac:chgData name="Andreas Koksrud" userId="9d9beba6-c052-407a-8599-c781a677a996" providerId="ADAL" clId="{4C89AD2D-B60A-479F-9F95-9D423A06FAEA}" dt="2024-07-02T14:41:59.046" v="18057" actId="20577"/>
          <ac:spMkLst>
            <pc:docMk/>
            <pc:sldMk cId="468106742" sldId="850"/>
            <ac:spMk id="181" creationId="{00000000-0000-0000-0000-000000000000}"/>
          </ac:spMkLst>
        </pc:spChg>
        <pc:picChg chg="del mod">
          <ac:chgData name="Andreas Koksrud" userId="9d9beba6-c052-407a-8599-c781a677a996" providerId="ADAL" clId="{4C89AD2D-B60A-479F-9F95-9D423A06FAEA}" dt="2024-07-01T04:38:28.619" v="15127" actId="478"/>
          <ac:picMkLst>
            <pc:docMk/>
            <pc:sldMk cId="468106742" sldId="850"/>
            <ac:picMk id="4" creationId="{DAFB24D8-8A72-E60E-7452-B30CE6AA11AA}"/>
          </ac:picMkLst>
        </pc:picChg>
        <pc:picChg chg="add del mod">
          <ac:chgData name="Andreas Koksrud" userId="9d9beba6-c052-407a-8599-c781a677a996" providerId="ADAL" clId="{4C89AD2D-B60A-479F-9F95-9D423A06FAEA}" dt="2024-07-01T04:41:14.399" v="15140" actId="478"/>
          <ac:picMkLst>
            <pc:docMk/>
            <pc:sldMk cId="468106742" sldId="850"/>
            <ac:picMk id="5" creationId="{FA47A68D-31A9-8143-4430-AFA1669E398B}"/>
          </ac:picMkLst>
        </pc:picChg>
      </pc:sldChg>
      <pc:sldChg chg="del">
        <pc:chgData name="Andreas Koksrud" userId="9d9beba6-c052-407a-8599-c781a677a996" providerId="ADAL" clId="{4C89AD2D-B60A-479F-9F95-9D423A06FAEA}" dt="2024-06-09T16:00:52.985" v="1100" actId="47"/>
        <pc:sldMkLst>
          <pc:docMk/>
          <pc:sldMk cId="111200460" sldId="851"/>
        </pc:sldMkLst>
      </pc:sldChg>
      <pc:sldChg chg="addSp modSp add mod ord">
        <pc:chgData name="Andreas Koksrud" userId="9d9beba6-c052-407a-8599-c781a677a996" providerId="ADAL" clId="{4C89AD2D-B60A-479F-9F95-9D423A06FAEA}" dt="2024-08-04T16:22:15.768" v="37005" actId="20577"/>
        <pc:sldMkLst>
          <pc:docMk/>
          <pc:sldMk cId="3782901869" sldId="851"/>
        </pc:sldMkLst>
        <pc:spChg chg="mod">
          <ac:chgData name="Andreas Koksrud" userId="9d9beba6-c052-407a-8599-c781a677a996" providerId="ADAL" clId="{4C89AD2D-B60A-479F-9F95-9D423A06FAEA}" dt="2024-08-04T16:22:15.768" v="37005" actId="20577"/>
          <ac:spMkLst>
            <pc:docMk/>
            <pc:sldMk cId="3782901869" sldId="851"/>
            <ac:spMk id="2" creationId="{6B539DEF-BEF0-2AA6-A90D-BC67AC4C73CD}"/>
          </ac:spMkLst>
        </pc:spChg>
        <pc:spChg chg="add mod">
          <ac:chgData name="Andreas Koksrud" userId="9d9beba6-c052-407a-8599-c781a677a996" providerId="ADAL" clId="{4C89AD2D-B60A-479F-9F95-9D423A06FAEA}" dt="2024-06-14T18:18:50.751" v="6389"/>
          <ac:spMkLst>
            <pc:docMk/>
            <pc:sldMk cId="3782901869" sldId="851"/>
            <ac:spMk id="3" creationId="{F8FD1B85-22DC-934D-5228-6D7B720E5FDD}"/>
          </ac:spMkLst>
        </pc:spChg>
        <pc:spChg chg="add mod">
          <ac:chgData name="Andreas Koksrud" userId="9d9beba6-c052-407a-8599-c781a677a996" providerId="ADAL" clId="{4C89AD2D-B60A-479F-9F95-9D423A06FAEA}" dt="2024-06-14T18:18:50.751" v="6389"/>
          <ac:spMkLst>
            <pc:docMk/>
            <pc:sldMk cId="3782901869" sldId="851"/>
            <ac:spMk id="4" creationId="{802F7DCE-DF15-C44E-DF61-F162389FA51D}"/>
          </ac:spMkLst>
        </pc:spChg>
        <pc:spChg chg="mod">
          <ac:chgData name="Andreas Koksrud" userId="9d9beba6-c052-407a-8599-c781a677a996" providerId="ADAL" clId="{4C89AD2D-B60A-479F-9F95-9D423A06FAEA}" dt="2024-08-04T16:19:36.149" v="36664" actId="20577"/>
          <ac:spMkLst>
            <pc:docMk/>
            <pc:sldMk cId="3782901869" sldId="851"/>
            <ac:spMk id="180" creationId="{00000000-0000-0000-0000-000000000000}"/>
          </ac:spMkLst>
        </pc:spChg>
      </pc:sldChg>
      <pc:sldChg chg="del">
        <pc:chgData name="Andreas Koksrud" userId="9d9beba6-c052-407a-8599-c781a677a996" providerId="ADAL" clId="{4C89AD2D-B60A-479F-9F95-9D423A06FAEA}" dt="2024-06-09T16:00:54.814" v="1101" actId="47"/>
        <pc:sldMkLst>
          <pc:docMk/>
          <pc:sldMk cId="82959561" sldId="852"/>
        </pc:sldMkLst>
      </pc:sldChg>
      <pc:sldChg chg="addSp modSp add del mod ord">
        <pc:chgData name="Andreas Koksrud" userId="9d9beba6-c052-407a-8599-c781a677a996" providerId="ADAL" clId="{4C89AD2D-B60A-479F-9F95-9D423A06FAEA}" dt="2024-08-03T09:32:58.384" v="35108" actId="14100"/>
        <pc:sldMkLst>
          <pc:docMk/>
          <pc:sldMk cId="911993613" sldId="853"/>
        </pc:sldMkLst>
        <pc:spChg chg="add mod">
          <ac:chgData name="Andreas Koksrud" userId="9d9beba6-c052-407a-8599-c781a677a996" providerId="ADAL" clId="{4C89AD2D-B60A-479F-9F95-9D423A06FAEA}" dt="2024-06-14T18:14:59.914" v="6050"/>
          <ac:spMkLst>
            <pc:docMk/>
            <pc:sldMk cId="911993613" sldId="853"/>
            <ac:spMk id="3" creationId="{269C7226-9C95-711E-F117-7A0505174A1A}"/>
          </ac:spMkLst>
        </pc:spChg>
        <pc:spChg chg="add mod">
          <ac:chgData name="Andreas Koksrud" userId="9d9beba6-c052-407a-8599-c781a677a996" providerId="ADAL" clId="{4C89AD2D-B60A-479F-9F95-9D423A06FAEA}" dt="2024-06-14T18:14:59.914" v="6050"/>
          <ac:spMkLst>
            <pc:docMk/>
            <pc:sldMk cId="911993613" sldId="853"/>
            <ac:spMk id="4" creationId="{C072B529-5ED9-019E-B0F2-6ACB07EBF7C4}"/>
          </ac:spMkLst>
        </pc:spChg>
        <pc:spChg chg="mod">
          <ac:chgData name="Andreas Koksrud" userId="9d9beba6-c052-407a-8599-c781a677a996" providerId="ADAL" clId="{4C89AD2D-B60A-479F-9F95-9D423A06FAEA}" dt="2024-08-03T09:32:46.106" v="35105" actId="27636"/>
          <ac:spMkLst>
            <pc:docMk/>
            <pc:sldMk cId="911993613" sldId="853"/>
            <ac:spMk id="10" creationId="{54FB830F-DBF4-1B20-3C76-0E40DC07965B}"/>
          </ac:spMkLst>
        </pc:spChg>
        <pc:picChg chg="add mod">
          <ac:chgData name="Andreas Koksrud" userId="9d9beba6-c052-407a-8599-c781a677a996" providerId="ADAL" clId="{4C89AD2D-B60A-479F-9F95-9D423A06FAEA}" dt="2024-08-03T09:32:58.384" v="35108" actId="14100"/>
          <ac:picMkLst>
            <pc:docMk/>
            <pc:sldMk cId="911993613" sldId="853"/>
            <ac:picMk id="6" creationId="{4F0B5288-C520-F5EB-09DB-31AADDCB5F2B}"/>
          </ac:picMkLst>
        </pc:picChg>
      </pc:sldChg>
      <pc:sldChg chg="addSp modSp add del mod">
        <pc:chgData name="Andreas Koksrud" userId="9d9beba6-c052-407a-8599-c781a677a996" providerId="ADAL" clId="{4C89AD2D-B60A-479F-9F95-9D423A06FAEA}" dt="2024-08-06T18:27:42.806" v="40725" actId="20577"/>
        <pc:sldMkLst>
          <pc:docMk/>
          <pc:sldMk cId="3385289181" sldId="854"/>
        </pc:sldMkLst>
        <pc:spChg chg="add mod">
          <ac:chgData name="Andreas Koksrud" userId="9d9beba6-c052-407a-8599-c781a677a996" providerId="ADAL" clId="{4C89AD2D-B60A-479F-9F95-9D423A06FAEA}" dt="2024-06-14T18:20:16.719" v="6508"/>
          <ac:spMkLst>
            <pc:docMk/>
            <pc:sldMk cId="3385289181" sldId="854"/>
            <ac:spMk id="2" creationId="{77B193A8-0489-D0D8-DD7D-A9D19A927D92}"/>
          </ac:spMkLst>
        </pc:spChg>
        <pc:spChg chg="add mod">
          <ac:chgData name="Andreas Koksrud" userId="9d9beba6-c052-407a-8599-c781a677a996" providerId="ADAL" clId="{4C89AD2D-B60A-479F-9F95-9D423A06FAEA}" dt="2024-06-14T18:20:16.719" v="6508"/>
          <ac:spMkLst>
            <pc:docMk/>
            <pc:sldMk cId="3385289181" sldId="854"/>
            <ac:spMk id="3" creationId="{1E25DF2D-D2A1-6026-2A45-5B48A09582E5}"/>
          </ac:spMkLst>
        </pc:spChg>
        <pc:spChg chg="mod">
          <ac:chgData name="Andreas Koksrud" userId="9d9beba6-c052-407a-8599-c781a677a996" providerId="ADAL" clId="{4C89AD2D-B60A-479F-9F95-9D423A06FAEA}" dt="2024-08-06T17:57:34.949" v="39483" actId="20577"/>
          <ac:spMkLst>
            <pc:docMk/>
            <pc:sldMk cId="3385289181" sldId="854"/>
            <ac:spMk id="180" creationId="{00000000-0000-0000-0000-000000000000}"/>
          </ac:spMkLst>
        </pc:spChg>
        <pc:spChg chg="mod">
          <ac:chgData name="Andreas Koksrud" userId="9d9beba6-c052-407a-8599-c781a677a996" providerId="ADAL" clId="{4C89AD2D-B60A-479F-9F95-9D423A06FAEA}" dt="2024-08-06T18:27:42.806" v="40725" actId="20577"/>
          <ac:spMkLst>
            <pc:docMk/>
            <pc:sldMk cId="3385289181" sldId="854"/>
            <ac:spMk id="181" creationId="{00000000-0000-0000-0000-000000000000}"/>
          </ac:spMkLst>
        </pc:spChg>
        <pc:picChg chg="add mod">
          <ac:chgData name="Andreas Koksrud" userId="9d9beba6-c052-407a-8599-c781a677a996" providerId="ADAL" clId="{4C89AD2D-B60A-479F-9F95-9D423A06FAEA}" dt="2024-08-06T18:25:29.848" v="40427" actId="14100"/>
          <ac:picMkLst>
            <pc:docMk/>
            <pc:sldMk cId="3385289181" sldId="854"/>
            <ac:picMk id="5" creationId="{82DD04DF-520F-28F7-2148-51D7BB4981B2}"/>
          </ac:picMkLst>
        </pc:picChg>
      </pc:sldChg>
      <pc:sldChg chg="addSp delSp modSp add del mod">
        <pc:chgData name="Andreas Koksrud" userId="9d9beba6-c052-407a-8599-c781a677a996" providerId="ADAL" clId="{4C89AD2D-B60A-479F-9F95-9D423A06FAEA}" dt="2024-07-01T04:45:04.502" v="15241" actId="1076"/>
        <pc:sldMkLst>
          <pc:docMk/>
          <pc:sldMk cId="1250772557" sldId="855"/>
        </pc:sldMkLst>
        <pc:spChg chg="add mod">
          <ac:chgData name="Andreas Koksrud" userId="9d9beba6-c052-407a-8599-c781a677a996" providerId="ADAL" clId="{4C89AD2D-B60A-479F-9F95-9D423A06FAEA}" dt="2024-06-14T18:20:19.088" v="6510"/>
          <ac:spMkLst>
            <pc:docMk/>
            <pc:sldMk cId="1250772557" sldId="855"/>
            <ac:spMk id="2" creationId="{BCDEC502-98D2-2BE1-83D7-7542319A0029}"/>
          </ac:spMkLst>
        </pc:spChg>
        <pc:spChg chg="add mod">
          <ac:chgData name="Andreas Koksrud" userId="9d9beba6-c052-407a-8599-c781a677a996" providerId="ADAL" clId="{4C89AD2D-B60A-479F-9F95-9D423A06FAEA}" dt="2024-06-14T18:20:19.088" v="6510"/>
          <ac:spMkLst>
            <pc:docMk/>
            <pc:sldMk cId="1250772557" sldId="855"/>
            <ac:spMk id="3" creationId="{DBF78579-E9B0-3316-8A52-54306D0ECA8D}"/>
          </ac:spMkLst>
        </pc:spChg>
        <pc:spChg chg="mod">
          <ac:chgData name="Andreas Koksrud" userId="9d9beba6-c052-407a-8599-c781a677a996" providerId="ADAL" clId="{4C89AD2D-B60A-479F-9F95-9D423A06FAEA}" dt="2024-07-01T04:44:54.754" v="15237" actId="20577"/>
          <ac:spMkLst>
            <pc:docMk/>
            <pc:sldMk cId="1250772557" sldId="855"/>
            <ac:spMk id="180" creationId="{00000000-0000-0000-0000-000000000000}"/>
          </ac:spMkLst>
        </pc:spChg>
        <pc:spChg chg="mod">
          <ac:chgData name="Andreas Koksrud" userId="9d9beba6-c052-407a-8599-c781a677a996" providerId="ADAL" clId="{4C89AD2D-B60A-479F-9F95-9D423A06FAEA}" dt="2024-07-01T04:44:59.642" v="15239" actId="14"/>
          <ac:spMkLst>
            <pc:docMk/>
            <pc:sldMk cId="1250772557" sldId="855"/>
            <ac:spMk id="181" creationId="{00000000-0000-0000-0000-000000000000}"/>
          </ac:spMkLst>
        </pc:spChg>
        <pc:picChg chg="del">
          <ac:chgData name="Andreas Koksrud" userId="9d9beba6-c052-407a-8599-c781a677a996" providerId="ADAL" clId="{4C89AD2D-B60A-479F-9F95-9D423A06FAEA}" dt="2024-07-01T04:43:38.963" v="15206" actId="478"/>
          <ac:picMkLst>
            <pc:docMk/>
            <pc:sldMk cId="1250772557" sldId="855"/>
            <ac:picMk id="4" creationId="{B4BCA014-59EA-FBC9-531C-B503DB7A1835}"/>
          </ac:picMkLst>
        </pc:picChg>
        <pc:picChg chg="del">
          <ac:chgData name="Andreas Koksrud" userId="9d9beba6-c052-407a-8599-c781a677a996" providerId="ADAL" clId="{4C89AD2D-B60A-479F-9F95-9D423A06FAEA}" dt="2024-07-01T04:43:58.215" v="15209" actId="478"/>
          <ac:picMkLst>
            <pc:docMk/>
            <pc:sldMk cId="1250772557" sldId="855"/>
            <ac:picMk id="6" creationId="{5CC57537-A1FA-9DB1-6188-74325E50CE93}"/>
          </ac:picMkLst>
        </pc:picChg>
        <pc:picChg chg="add mod modCrop">
          <ac:chgData name="Andreas Koksrud" userId="9d9beba6-c052-407a-8599-c781a677a996" providerId="ADAL" clId="{4C89AD2D-B60A-479F-9F95-9D423A06FAEA}" dt="2024-07-01T04:45:02.799" v="15240" actId="1076"/>
          <ac:picMkLst>
            <pc:docMk/>
            <pc:sldMk cId="1250772557" sldId="855"/>
            <ac:picMk id="7" creationId="{7D670DAC-AB9A-4E67-B563-21F399B61E68}"/>
          </ac:picMkLst>
        </pc:picChg>
        <pc:picChg chg="add mod">
          <ac:chgData name="Andreas Koksrud" userId="9d9beba6-c052-407a-8599-c781a677a996" providerId="ADAL" clId="{4C89AD2D-B60A-479F-9F95-9D423A06FAEA}" dt="2024-07-01T04:45:04.502" v="15241" actId="1076"/>
          <ac:picMkLst>
            <pc:docMk/>
            <pc:sldMk cId="1250772557" sldId="855"/>
            <ac:picMk id="9" creationId="{A86868A0-95B8-7ADB-9EF3-DC56E2D3FA45}"/>
          </ac:picMkLst>
        </pc:picChg>
      </pc:sldChg>
      <pc:sldChg chg="addSp modSp add del mod">
        <pc:chgData name="Andreas Koksrud" userId="9d9beba6-c052-407a-8599-c781a677a996" providerId="ADAL" clId="{4C89AD2D-B60A-479F-9F95-9D423A06FAEA}" dt="2024-07-01T04:45:23.378" v="15244" actId="404"/>
        <pc:sldMkLst>
          <pc:docMk/>
          <pc:sldMk cId="879097217" sldId="856"/>
        </pc:sldMkLst>
        <pc:spChg chg="add mod">
          <ac:chgData name="Andreas Koksrud" userId="9d9beba6-c052-407a-8599-c781a677a996" providerId="ADAL" clId="{4C89AD2D-B60A-479F-9F95-9D423A06FAEA}" dt="2024-06-14T18:20:20.392" v="6511"/>
          <ac:spMkLst>
            <pc:docMk/>
            <pc:sldMk cId="879097217" sldId="856"/>
            <ac:spMk id="2" creationId="{0190F51F-81F8-0E60-769D-362E06E53CD4}"/>
          </ac:spMkLst>
        </pc:spChg>
        <pc:spChg chg="add mod">
          <ac:chgData name="Andreas Koksrud" userId="9d9beba6-c052-407a-8599-c781a677a996" providerId="ADAL" clId="{4C89AD2D-B60A-479F-9F95-9D423A06FAEA}" dt="2024-06-14T18:20:20.392" v="6511"/>
          <ac:spMkLst>
            <pc:docMk/>
            <pc:sldMk cId="879097217" sldId="856"/>
            <ac:spMk id="4" creationId="{2F340342-FF92-B5AF-4139-3E83B013C094}"/>
          </ac:spMkLst>
        </pc:spChg>
        <pc:spChg chg="mod">
          <ac:chgData name="Andreas Koksrud" userId="9d9beba6-c052-407a-8599-c781a677a996" providerId="ADAL" clId="{4C89AD2D-B60A-479F-9F95-9D423A06FAEA}" dt="2024-07-01T04:45:23.378" v="15244" actId="404"/>
          <ac:spMkLst>
            <pc:docMk/>
            <pc:sldMk cId="879097217" sldId="856"/>
            <ac:spMk id="181" creationId="{00000000-0000-0000-0000-000000000000}"/>
          </ac:spMkLst>
        </pc:spChg>
      </pc:sldChg>
      <pc:sldChg chg="addSp delSp modSp add mod">
        <pc:chgData name="Andreas Koksrud" userId="9d9beba6-c052-407a-8599-c781a677a996" providerId="ADAL" clId="{4C89AD2D-B60A-479F-9F95-9D423A06FAEA}" dt="2024-08-03T09:27:20.933" v="35042"/>
        <pc:sldMkLst>
          <pc:docMk/>
          <pc:sldMk cId="2658323505" sldId="857"/>
        </pc:sldMkLst>
        <pc:spChg chg="del">
          <ac:chgData name="Andreas Koksrud" userId="9d9beba6-c052-407a-8599-c781a677a996" providerId="ADAL" clId="{4C89AD2D-B60A-479F-9F95-9D423A06FAEA}" dt="2024-08-03T09:27:20.053" v="35041" actId="478"/>
          <ac:spMkLst>
            <pc:docMk/>
            <pc:sldMk cId="2658323505" sldId="857"/>
            <ac:spMk id="3" creationId="{D716D84C-92F8-0D97-658B-D580A9E686C2}"/>
          </ac:spMkLst>
        </pc:spChg>
        <pc:spChg chg="del">
          <ac:chgData name="Andreas Koksrud" userId="9d9beba6-c052-407a-8599-c781a677a996" providerId="ADAL" clId="{4C89AD2D-B60A-479F-9F95-9D423A06FAEA}" dt="2024-08-03T09:27:18.980" v="35040" actId="478"/>
          <ac:spMkLst>
            <pc:docMk/>
            <pc:sldMk cId="2658323505" sldId="857"/>
            <ac:spMk id="6" creationId="{F79AC7D6-9707-FA3C-4181-45142247410B}"/>
          </ac:spMkLst>
        </pc:spChg>
        <pc:spChg chg="add mod">
          <ac:chgData name="Andreas Koksrud" userId="9d9beba6-c052-407a-8599-c781a677a996" providerId="ADAL" clId="{4C89AD2D-B60A-479F-9F95-9D423A06FAEA}" dt="2024-08-03T09:27:20.933" v="35042"/>
          <ac:spMkLst>
            <pc:docMk/>
            <pc:sldMk cId="2658323505" sldId="857"/>
            <ac:spMk id="7" creationId="{597C3320-0183-0501-8E4E-B0AFA063C5A3}"/>
          </ac:spMkLst>
        </pc:spChg>
        <pc:spChg chg="add mod">
          <ac:chgData name="Andreas Koksrud" userId="9d9beba6-c052-407a-8599-c781a677a996" providerId="ADAL" clId="{4C89AD2D-B60A-479F-9F95-9D423A06FAEA}" dt="2024-08-03T09:27:20.933" v="35042"/>
          <ac:spMkLst>
            <pc:docMk/>
            <pc:sldMk cId="2658323505" sldId="857"/>
            <ac:spMk id="9" creationId="{C068577C-A0DF-795F-9771-BAE02C59CBB2}"/>
          </ac:spMkLst>
        </pc:spChg>
      </pc:sldChg>
      <pc:sldChg chg="addSp delSp modSp add del mod ord">
        <pc:chgData name="Andreas Koksrud" userId="9d9beba6-c052-407a-8599-c781a677a996" providerId="ADAL" clId="{4C89AD2D-B60A-479F-9F95-9D423A06FAEA}" dt="2024-08-03T09:24:05.449" v="34760" actId="2696"/>
        <pc:sldMkLst>
          <pc:docMk/>
          <pc:sldMk cId="2690209780" sldId="857"/>
        </pc:sldMkLst>
        <pc:spChg chg="mod ord">
          <ac:chgData name="Andreas Koksrud" userId="9d9beba6-c052-407a-8599-c781a677a996" providerId="ADAL" clId="{4C89AD2D-B60A-479F-9F95-9D423A06FAEA}" dt="2024-07-20T19:09:44.308" v="26169" actId="167"/>
          <ac:spMkLst>
            <pc:docMk/>
            <pc:sldMk cId="2690209780" sldId="857"/>
            <ac:spMk id="2" creationId="{9796E8C1-5924-9DB3-B51B-75296717F89F}"/>
          </ac:spMkLst>
        </pc:spChg>
        <pc:spChg chg="add mod">
          <ac:chgData name="Andreas Koksrud" userId="9d9beba6-c052-407a-8599-c781a677a996" providerId="ADAL" clId="{4C89AD2D-B60A-479F-9F95-9D423A06FAEA}" dt="2024-06-14T18:15:03.238" v="6052"/>
          <ac:spMkLst>
            <pc:docMk/>
            <pc:sldMk cId="2690209780" sldId="857"/>
            <ac:spMk id="3" creationId="{D716D84C-92F8-0D97-658B-D580A9E686C2}"/>
          </ac:spMkLst>
        </pc:spChg>
        <pc:spChg chg="add mod">
          <ac:chgData name="Andreas Koksrud" userId="9d9beba6-c052-407a-8599-c781a677a996" providerId="ADAL" clId="{4C89AD2D-B60A-479F-9F95-9D423A06FAEA}" dt="2024-06-14T18:15:03.238" v="6052"/>
          <ac:spMkLst>
            <pc:docMk/>
            <pc:sldMk cId="2690209780" sldId="857"/>
            <ac:spMk id="6" creationId="{F79AC7D6-9707-FA3C-4181-45142247410B}"/>
          </ac:spMkLst>
        </pc:spChg>
        <pc:picChg chg="add mod ord">
          <ac:chgData name="Andreas Koksrud" userId="9d9beba6-c052-407a-8599-c781a677a996" providerId="ADAL" clId="{4C89AD2D-B60A-479F-9F95-9D423A06FAEA}" dt="2024-07-20T19:09:47.450" v="26170" actId="14826"/>
          <ac:picMkLst>
            <pc:docMk/>
            <pc:sldMk cId="2690209780" sldId="857"/>
            <ac:picMk id="8" creationId="{C7A1E34A-DBAC-F62C-35CA-F9EE01DFEBE8}"/>
          </ac:picMkLst>
        </pc:picChg>
        <pc:picChg chg="mod">
          <ac:chgData name="Andreas Koksrud" userId="9d9beba6-c052-407a-8599-c781a677a996" providerId="ADAL" clId="{4C89AD2D-B60A-479F-9F95-9D423A06FAEA}" dt="2024-07-01T18:56:01.786" v="16964" actId="1076"/>
          <ac:picMkLst>
            <pc:docMk/>
            <pc:sldMk cId="2690209780" sldId="857"/>
            <ac:picMk id="15" creationId="{1BF73C7B-00A5-0A7B-F9E4-3746C6B79854}"/>
          </ac:picMkLst>
        </pc:picChg>
        <pc:picChg chg="del">
          <ac:chgData name="Andreas Koksrud" userId="9d9beba6-c052-407a-8599-c781a677a996" providerId="ADAL" clId="{4C89AD2D-B60A-479F-9F95-9D423A06FAEA}" dt="2024-07-01T18:49:35.156" v="16853" actId="478"/>
          <ac:picMkLst>
            <pc:docMk/>
            <pc:sldMk cId="2690209780" sldId="857"/>
            <ac:picMk id="24" creationId="{6263DC7D-E065-789D-21C4-A9E428D8B9F4}"/>
          </ac:picMkLst>
        </pc:picChg>
        <pc:cxnChg chg="add mod">
          <ac:chgData name="Andreas Koksrud" userId="9d9beba6-c052-407a-8599-c781a677a996" providerId="ADAL" clId="{4C89AD2D-B60A-479F-9F95-9D423A06FAEA}" dt="2024-07-01T18:51:59.160" v="16871" actId="14100"/>
          <ac:cxnSpMkLst>
            <pc:docMk/>
            <pc:sldMk cId="2690209780" sldId="857"/>
            <ac:cxnSpMk id="10" creationId="{23C6121A-FF67-1F42-432D-FEA6E5431A44}"/>
          </ac:cxnSpMkLst>
        </pc:cxnChg>
        <pc:cxnChg chg="mod">
          <ac:chgData name="Andreas Koksrud" userId="9d9beba6-c052-407a-8599-c781a677a996" providerId="ADAL" clId="{4C89AD2D-B60A-479F-9F95-9D423A06FAEA}" dt="2024-07-20T19:09:52.473" v="26171" actId="14100"/>
          <ac:cxnSpMkLst>
            <pc:docMk/>
            <pc:sldMk cId="2690209780" sldId="857"/>
            <ac:cxnSpMk id="16" creationId="{7EFC93E0-25A6-B0B4-FB10-D2643CD67A77}"/>
          </ac:cxnSpMkLst>
        </pc:cxnChg>
        <pc:cxnChg chg="del">
          <ac:chgData name="Andreas Koksrud" userId="9d9beba6-c052-407a-8599-c781a677a996" providerId="ADAL" clId="{4C89AD2D-B60A-479F-9F95-9D423A06FAEA}" dt="2024-07-01T18:49:37.237" v="16855" actId="478"/>
          <ac:cxnSpMkLst>
            <pc:docMk/>
            <pc:sldMk cId="2690209780" sldId="857"/>
            <ac:cxnSpMk id="25" creationId="{B3F0B22A-B8D3-2FF7-FC9C-8A25D093249B}"/>
          </ac:cxnSpMkLst>
        </pc:cxnChg>
        <pc:cxnChg chg="del">
          <ac:chgData name="Andreas Koksrud" userId="9d9beba6-c052-407a-8599-c781a677a996" providerId="ADAL" clId="{4C89AD2D-B60A-479F-9F95-9D423A06FAEA}" dt="2024-07-01T18:49:36.130" v="16854" actId="478"/>
          <ac:cxnSpMkLst>
            <pc:docMk/>
            <pc:sldMk cId="2690209780" sldId="857"/>
            <ac:cxnSpMk id="29" creationId="{0600D195-BEEC-493C-C0A2-CE3AD60141DA}"/>
          </ac:cxnSpMkLst>
        </pc:cxnChg>
      </pc:sldChg>
      <pc:sldChg chg="addSp modSp add del">
        <pc:chgData name="Andreas Koksrud" userId="9d9beba6-c052-407a-8599-c781a677a996" providerId="ADAL" clId="{4C89AD2D-B60A-479F-9F95-9D423A06FAEA}" dt="2024-06-30T17:03:41.264" v="14370" actId="47"/>
        <pc:sldMkLst>
          <pc:docMk/>
          <pc:sldMk cId="1987049343" sldId="858"/>
        </pc:sldMkLst>
        <pc:spChg chg="add mod">
          <ac:chgData name="Andreas Koksrud" userId="9d9beba6-c052-407a-8599-c781a677a996" providerId="ADAL" clId="{4C89AD2D-B60A-479F-9F95-9D423A06FAEA}" dt="2024-06-14T18:16:16.128" v="6161"/>
          <ac:spMkLst>
            <pc:docMk/>
            <pc:sldMk cId="1987049343" sldId="858"/>
            <ac:spMk id="3" creationId="{113ED18C-7F19-3470-4489-0085AEB656FF}"/>
          </ac:spMkLst>
        </pc:spChg>
        <pc:spChg chg="add mod">
          <ac:chgData name="Andreas Koksrud" userId="9d9beba6-c052-407a-8599-c781a677a996" providerId="ADAL" clId="{4C89AD2D-B60A-479F-9F95-9D423A06FAEA}" dt="2024-06-14T18:16:16.128" v="6161"/>
          <ac:spMkLst>
            <pc:docMk/>
            <pc:sldMk cId="1987049343" sldId="858"/>
            <ac:spMk id="4" creationId="{346630D4-45A8-BC5A-61D1-A8F82AB8160A}"/>
          </ac:spMkLst>
        </pc:spChg>
      </pc:sldChg>
      <pc:sldChg chg="addSp modSp add del ord">
        <pc:chgData name="Andreas Koksrud" userId="9d9beba6-c052-407a-8599-c781a677a996" providerId="ADAL" clId="{4C89AD2D-B60A-479F-9F95-9D423A06FAEA}" dt="2024-07-01T18:45:35.305" v="16766" actId="47"/>
        <pc:sldMkLst>
          <pc:docMk/>
          <pc:sldMk cId="2034020006" sldId="859"/>
        </pc:sldMkLst>
        <pc:spChg chg="add mod">
          <ac:chgData name="Andreas Koksrud" userId="9d9beba6-c052-407a-8599-c781a677a996" providerId="ADAL" clId="{4C89AD2D-B60A-479F-9F95-9D423A06FAEA}" dt="2024-06-14T18:16:22.252" v="6162"/>
          <ac:spMkLst>
            <pc:docMk/>
            <pc:sldMk cId="2034020006" sldId="859"/>
            <ac:spMk id="3" creationId="{F01B970F-9CE2-77DD-5E72-D3DD8BF8C571}"/>
          </ac:spMkLst>
        </pc:spChg>
        <pc:spChg chg="add mod">
          <ac:chgData name="Andreas Koksrud" userId="9d9beba6-c052-407a-8599-c781a677a996" providerId="ADAL" clId="{4C89AD2D-B60A-479F-9F95-9D423A06FAEA}" dt="2024-06-14T18:16:22.252" v="6162"/>
          <ac:spMkLst>
            <pc:docMk/>
            <pc:sldMk cId="2034020006" sldId="859"/>
            <ac:spMk id="5" creationId="{76B0C6ED-8786-4429-C561-D87FB4D97B85}"/>
          </ac:spMkLst>
        </pc:spChg>
      </pc:sldChg>
      <pc:sldChg chg="addSp delSp modSp add del mod ord">
        <pc:chgData name="Andreas Koksrud" userId="9d9beba6-c052-407a-8599-c781a677a996" providerId="ADAL" clId="{4C89AD2D-B60A-479F-9F95-9D423A06FAEA}" dt="2024-07-20T18:56:13.150" v="26081" actId="6549"/>
        <pc:sldMkLst>
          <pc:docMk/>
          <pc:sldMk cId="2554802186" sldId="861"/>
        </pc:sldMkLst>
        <pc:spChg chg="mod ord">
          <ac:chgData name="Andreas Koksrud" userId="9d9beba6-c052-407a-8599-c781a677a996" providerId="ADAL" clId="{4C89AD2D-B60A-479F-9F95-9D423A06FAEA}" dt="2024-07-02T14:53:13.175" v="18282" actId="20577"/>
          <ac:spMkLst>
            <pc:docMk/>
            <pc:sldMk cId="2554802186" sldId="861"/>
            <ac:spMk id="2" creationId="{9796E8C1-5924-9DB3-B51B-75296717F89F}"/>
          </ac:spMkLst>
        </pc:spChg>
        <pc:spChg chg="add mod">
          <ac:chgData name="Andreas Koksrud" userId="9d9beba6-c052-407a-8599-c781a677a996" providerId="ADAL" clId="{4C89AD2D-B60A-479F-9F95-9D423A06FAEA}" dt="2024-06-14T18:20:28.192" v="6512"/>
          <ac:spMkLst>
            <pc:docMk/>
            <pc:sldMk cId="2554802186" sldId="861"/>
            <ac:spMk id="3" creationId="{1A11297B-9D47-93B8-252D-68759FA77E1C}"/>
          </ac:spMkLst>
        </pc:spChg>
        <pc:spChg chg="add mod">
          <ac:chgData name="Andreas Koksrud" userId="9d9beba6-c052-407a-8599-c781a677a996" providerId="ADAL" clId="{4C89AD2D-B60A-479F-9F95-9D423A06FAEA}" dt="2024-06-14T18:20:28.192" v="6512"/>
          <ac:spMkLst>
            <pc:docMk/>
            <pc:sldMk cId="2554802186" sldId="861"/>
            <ac:spMk id="7" creationId="{E2DB7780-0CB7-A551-3EA7-484C310E45AD}"/>
          </ac:spMkLst>
        </pc:spChg>
        <pc:spChg chg="add mod ord">
          <ac:chgData name="Andreas Koksrud" userId="9d9beba6-c052-407a-8599-c781a677a996" providerId="ADAL" clId="{4C89AD2D-B60A-479F-9F95-9D423A06FAEA}" dt="2024-07-20T18:56:13.150" v="26081" actId="6549"/>
          <ac:spMkLst>
            <pc:docMk/>
            <pc:sldMk cId="2554802186" sldId="861"/>
            <ac:spMk id="9" creationId="{76667482-48B7-C29F-CD5F-748E1DA51AFA}"/>
          </ac:spMkLst>
        </pc:spChg>
        <pc:picChg chg="add del mod">
          <ac:chgData name="Andreas Koksrud" userId="9d9beba6-c052-407a-8599-c781a677a996" providerId="ADAL" clId="{4C89AD2D-B60A-479F-9F95-9D423A06FAEA}" dt="2024-07-02T14:42:44.121" v="18059" actId="478"/>
          <ac:picMkLst>
            <pc:docMk/>
            <pc:sldMk cId="2554802186" sldId="861"/>
            <ac:picMk id="4" creationId="{4A547D6D-809C-115D-7BF6-BE32EA1F17A4}"/>
          </ac:picMkLst>
        </pc:picChg>
        <pc:picChg chg="del">
          <ac:chgData name="Andreas Koksrud" userId="9d9beba6-c052-407a-8599-c781a677a996" providerId="ADAL" clId="{4C89AD2D-B60A-479F-9F95-9D423A06FAEA}" dt="2024-07-02T14:44:57.675" v="18100" actId="478"/>
          <ac:picMkLst>
            <pc:docMk/>
            <pc:sldMk cId="2554802186" sldId="861"/>
            <ac:picMk id="5" creationId="{BA0F6610-8D6A-ACFB-0475-F273EB8CF5F9}"/>
          </ac:picMkLst>
        </pc:picChg>
        <pc:picChg chg="del mod">
          <ac:chgData name="Andreas Koksrud" userId="9d9beba6-c052-407a-8599-c781a677a996" providerId="ADAL" clId="{4C89AD2D-B60A-479F-9F95-9D423A06FAEA}" dt="2024-07-02T14:42:39.080" v="18058" actId="478"/>
          <ac:picMkLst>
            <pc:docMk/>
            <pc:sldMk cId="2554802186" sldId="861"/>
            <ac:picMk id="6" creationId="{9E113B21-20FD-72C4-7760-43E1A6BC93F4}"/>
          </ac:picMkLst>
        </pc:picChg>
        <pc:picChg chg="add mod ord modCrop">
          <ac:chgData name="Andreas Koksrud" userId="9d9beba6-c052-407a-8599-c781a677a996" providerId="ADAL" clId="{4C89AD2D-B60A-479F-9F95-9D423A06FAEA}" dt="2024-07-02T14:48:59.633" v="18119" actId="1076"/>
          <ac:picMkLst>
            <pc:docMk/>
            <pc:sldMk cId="2554802186" sldId="861"/>
            <ac:picMk id="13" creationId="{3015E50D-B367-F00A-464A-7AD575C0650F}"/>
          </ac:picMkLst>
        </pc:picChg>
        <pc:picChg chg="add del mod ord">
          <ac:chgData name="Andreas Koksrud" userId="9d9beba6-c052-407a-8599-c781a677a996" providerId="ADAL" clId="{4C89AD2D-B60A-479F-9F95-9D423A06FAEA}" dt="2024-07-02T14:51:01.072" v="18171" actId="478"/>
          <ac:picMkLst>
            <pc:docMk/>
            <pc:sldMk cId="2554802186" sldId="861"/>
            <ac:picMk id="16" creationId="{214BDA52-F008-DCB6-4D3F-37B8C430BAC2}"/>
          </ac:picMkLst>
        </pc:picChg>
        <pc:picChg chg="del">
          <ac:chgData name="Andreas Koksrud" userId="9d9beba6-c052-407a-8599-c781a677a996" providerId="ADAL" clId="{4C89AD2D-B60A-479F-9F95-9D423A06FAEA}" dt="2024-07-02T14:45:56.020" v="18106" actId="478"/>
          <ac:picMkLst>
            <pc:docMk/>
            <pc:sldMk cId="2554802186" sldId="861"/>
            <ac:picMk id="18" creationId="{4909D0B2-92A8-C4D4-AA92-F48B2FB211AC}"/>
          </ac:picMkLst>
        </pc:picChg>
        <pc:picChg chg="add mod modCrop">
          <ac:chgData name="Andreas Koksrud" userId="9d9beba6-c052-407a-8599-c781a677a996" providerId="ADAL" clId="{4C89AD2D-B60A-479F-9F95-9D423A06FAEA}" dt="2024-07-02T14:50:14.748" v="18163" actId="1036"/>
          <ac:picMkLst>
            <pc:docMk/>
            <pc:sldMk cId="2554802186" sldId="861"/>
            <ac:picMk id="21" creationId="{062B4A05-916E-A35E-8CF6-67FE46A27FA1}"/>
          </ac:picMkLst>
        </pc:picChg>
        <pc:picChg chg="add mod">
          <ac:chgData name="Andreas Koksrud" userId="9d9beba6-c052-407a-8599-c781a677a996" providerId="ADAL" clId="{4C89AD2D-B60A-479F-9F95-9D423A06FAEA}" dt="2024-07-02T14:51:24.285" v="18189" actId="1076"/>
          <ac:picMkLst>
            <pc:docMk/>
            <pc:sldMk cId="2554802186" sldId="861"/>
            <ac:picMk id="23" creationId="{CA5F30C5-DF2C-3B95-27FE-FD055CD54F50}"/>
          </ac:picMkLst>
        </pc:picChg>
        <pc:picChg chg="add mod">
          <ac:chgData name="Andreas Koksrud" userId="9d9beba6-c052-407a-8599-c781a677a996" providerId="ADAL" clId="{4C89AD2D-B60A-479F-9F95-9D423A06FAEA}" dt="2024-07-02T14:53:29.730" v="18284" actId="1076"/>
          <ac:picMkLst>
            <pc:docMk/>
            <pc:sldMk cId="2554802186" sldId="861"/>
            <ac:picMk id="28" creationId="{4F842464-3A0A-B8C8-C4F9-2F7A194E41A2}"/>
          </ac:picMkLst>
        </pc:picChg>
        <pc:cxnChg chg="mod">
          <ac:chgData name="Andreas Koksrud" userId="9d9beba6-c052-407a-8599-c781a677a996" providerId="ADAL" clId="{4C89AD2D-B60A-479F-9F95-9D423A06FAEA}" dt="2024-07-02T14:51:32.001" v="18190" actId="14100"/>
          <ac:cxnSpMkLst>
            <pc:docMk/>
            <pc:sldMk cId="2554802186" sldId="861"/>
            <ac:cxnSpMk id="8" creationId="{87407839-F583-F4F8-6870-7596EB34EDF4}"/>
          </ac:cxnSpMkLst>
        </pc:cxnChg>
        <pc:cxnChg chg="mod ord">
          <ac:chgData name="Andreas Koksrud" userId="9d9beba6-c052-407a-8599-c781a677a996" providerId="ADAL" clId="{4C89AD2D-B60A-479F-9F95-9D423A06FAEA}" dt="2024-07-02T14:52:01.431" v="18197" actId="14100"/>
          <ac:cxnSpMkLst>
            <pc:docMk/>
            <pc:sldMk cId="2554802186" sldId="861"/>
            <ac:cxnSpMk id="10" creationId="{114731E6-C0B6-42E8-0546-511317D59522}"/>
          </ac:cxnSpMkLst>
        </pc:cxnChg>
      </pc:sldChg>
      <pc:sldChg chg="addSp delSp modSp add del mod">
        <pc:chgData name="Andreas Koksrud" userId="9d9beba6-c052-407a-8599-c781a677a996" providerId="ADAL" clId="{4C89AD2D-B60A-479F-9F95-9D423A06FAEA}" dt="2024-07-02T18:29:27.135" v="19793" actId="14100"/>
        <pc:sldMkLst>
          <pc:docMk/>
          <pc:sldMk cId="575130139" sldId="862"/>
        </pc:sldMkLst>
        <pc:spChg chg="add mod">
          <ac:chgData name="Andreas Koksrud" userId="9d9beba6-c052-407a-8599-c781a677a996" providerId="ADAL" clId="{4C89AD2D-B60A-479F-9F95-9D423A06FAEA}" dt="2024-06-14T18:20:40.848" v="6531"/>
          <ac:spMkLst>
            <pc:docMk/>
            <pc:sldMk cId="575130139" sldId="862"/>
            <ac:spMk id="2" creationId="{8B7157A5-9DD8-CC1E-095B-05C4C1980BDF}"/>
          </ac:spMkLst>
        </pc:spChg>
        <pc:spChg chg="del mod">
          <ac:chgData name="Andreas Koksrud" userId="9d9beba6-c052-407a-8599-c781a677a996" providerId="ADAL" clId="{4C89AD2D-B60A-479F-9F95-9D423A06FAEA}" dt="2024-07-02T15:22:49.736" v="18760" actId="478"/>
          <ac:spMkLst>
            <pc:docMk/>
            <pc:sldMk cId="575130139" sldId="862"/>
            <ac:spMk id="4" creationId="{FEFDFE44-611E-8625-FC2E-FCBBCCD3961B}"/>
          </ac:spMkLst>
        </pc:spChg>
        <pc:spChg chg="del mod">
          <ac:chgData name="Andreas Koksrud" userId="9d9beba6-c052-407a-8599-c781a677a996" providerId="ADAL" clId="{4C89AD2D-B60A-479F-9F95-9D423A06FAEA}" dt="2024-07-02T15:22:51.359" v="18761" actId="478"/>
          <ac:spMkLst>
            <pc:docMk/>
            <pc:sldMk cId="575130139" sldId="862"/>
            <ac:spMk id="5" creationId="{72A763FC-DC10-4832-8C21-6FA3B51F3B55}"/>
          </ac:spMkLst>
        </pc:spChg>
        <pc:spChg chg="mod">
          <ac:chgData name="Andreas Koksrud" userId="9d9beba6-c052-407a-8599-c781a677a996" providerId="ADAL" clId="{4C89AD2D-B60A-479F-9F95-9D423A06FAEA}" dt="2024-07-02T15:20:23.344" v="18744" actId="20577"/>
          <ac:spMkLst>
            <pc:docMk/>
            <pc:sldMk cId="575130139" sldId="862"/>
            <ac:spMk id="6" creationId="{D33A7F7C-0CFF-12D8-D3F9-55EA11817DA1}"/>
          </ac:spMkLst>
        </pc:spChg>
        <pc:spChg chg="add mod">
          <ac:chgData name="Andreas Koksrud" userId="9d9beba6-c052-407a-8599-c781a677a996" providerId="ADAL" clId="{4C89AD2D-B60A-479F-9F95-9D423A06FAEA}" dt="2024-06-14T18:20:40.848" v="6531"/>
          <ac:spMkLst>
            <pc:docMk/>
            <pc:sldMk cId="575130139" sldId="862"/>
            <ac:spMk id="7" creationId="{4D754D07-9E11-A566-0AB6-8DAFC56BFA04}"/>
          </ac:spMkLst>
        </pc:spChg>
        <pc:spChg chg="add mod">
          <ac:chgData name="Andreas Koksrud" userId="9d9beba6-c052-407a-8599-c781a677a996" providerId="ADAL" clId="{4C89AD2D-B60A-479F-9F95-9D423A06FAEA}" dt="2024-07-02T18:28:20.088" v="19787" actId="20577"/>
          <ac:spMkLst>
            <pc:docMk/>
            <pc:sldMk cId="575130139" sldId="862"/>
            <ac:spMk id="24" creationId="{B3E6F7D2-C565-37C9-CA40-083E631696E4}"/>
          </ac:spMkLst>
        </pc:spChg>
        <pc:spChg chg="add mod">
          <ac:chgData name="Andreas Koksrud" userId="9d9beba6-c052-407a-8599-c781a677a996" providerId="ADAL" clId="{4C89AD2D-B60A-479F-9F95-9D423A06FAEA}" dt="2024-07-02T15:22:08.825" v="18752"/>
          <ac:spMkLst>
            <pc:docMk/>
            <pc:sldMk cId="575130139" sldId="862"/>
            <ac:spMk id="25" creationId="{12CEB653-12FE-B936-BD74-ADCDEF5D70BF}"/>
          </ac:spMkLst>
        </pc:spChg>
        <pc:spChg chg="mod">
          <ac:chgData name="Andreas Koksrud" userId="9d9beba6-c052-407a-8599-c781a677a996" providerId="ADAL" clId="{4C89AD2D-B60A-479F-9F95-9D423A06FAEA}" dt="2024-07-02T15:11:48.006" v="18583" actId="6549"/>
          <ac:spMkLst>
            <pc:docMk/>
            <pc:sldMk cId="575130139" sldId="862"/>
            <ac:spMk id="180" creationId="{00000000-0000-0000-0000-000000000000}"/>
          </ac:spMkLst>
        </pc:spChg>
        <pc:picChg chg="del mod">
          <ac:chgData name="Andreas Koksrud" userId="9d9beba6-c052-407a-8599-c781a677a996" providerId="ADAL" clId="{4C89AD2D-B60A-479F-9F95-9D423A06FAEA}" dt="2024-07-02T15:19:13.137" v="18694" actId="478"/>
          <ac:picMkLst>
            <pc:docMk/>
            <pc:sldMk cId="575130139" sldId="862"/>
            <ac:picMk id="3" creationId="{CEA94C2A-7124-90B5-BD0D-FE7DFCC6748C}"/>
          </ac:picMkLst>
        </pc:picChg>
        <pc:picChg chg="add mod modCrop">
          <ac:chgData name="Andreas Koksrud" userId="9d9beba6-c052-407a-8599-c781a677a996" providerId="ADAL" clId="{4C89AD2D-B60A-479F-9F95-9D423A06FAEA}" dt="2024-07-02T15:17:01.816" v="18609" actId="1076"/>
          <ac:picMkLst>
            <pc:docMk/>
            <pc:sldMk cId="575130139" sldId="862"/>
            <ac:picMk id="9" creationId="{ACF5DE2B-66A5-E71E-5903-7F0D8FFF6102}"/>
          </ac:picMkLst>
        </pc:picChg>
        <pc:picChg chg="del">
          <ac:chgData name="Andreas Koksrud" userId="9d9beba6-c052-407a-8599-c781a677a996" providerId="ADAL" clId="{4C89AD2D-B60A-479F-9F95-9D423A06FAEA}" dt="2024-07-02T15:16:26.507" v="18603" actId="478"/>
          <ac:picMkLst>
            <pc:docMk/>
            <pc:sldMk cId="575130139" sldId="862"/>
            <ac:picMk id="10" creationId="{34DA4BD7-43C8-285E-A933-AFFCFCCD0C8D}"/>
          </ac:picMkLst>
        </pc:picChg>
        <pc:picChg chg="del">
          <ac:chgData name="Andreas Koksrud" userId="9d9beba6-c052-407a-8599-c781a677a996" providerId="ADAL" clId="{4C89AD2D-B60A-479F-9F95-9D423A06FAEA}" dt="2024-07-02T15:17:26.216" v="18643" actId="478"/>
          <ac:picMkLst>
            <pc:docMk/>
            <pc:sldMk cId="575130139" sldId="862"/>
            <ac:picMk id="12" creationId="{82C26A6F-F9E2-CFED-E2BC-87AC1923226C}"/>
          </ac:picMkLst>
        </pc:picChg>
        <pc:picChg chg="add del mod">
          <ac:chgData name="Andreas Koksrud" userId="9d9beba6-c052-407a-8599-c781a677a996" providerId="ADAL" clId="{4C89AD2D-B60A-479F-9F95-9D423A06FAEA}" dt="2024-07-02T15:17:31.134" v="18646" actId="478"/>
          <ac:picMkLst>
            <pc:docMk/>
            <pc:sldMk cId="575130139" sldId="862"/>
            <ac:picMk id="13" creationId="{B4A6B862-922B-B7D6-CEB2-B838557340CA}"/>
          </ac:picMkLst>
        </pc:picChg>
        <pc:picChg chg="del">
          <ac:chgData name="Andreas Koksrud" userId="9d9beba6-c052-407a-8599-c781a677a996" providerId="ADAL" clId="{4C89AD2D-B60A-479F-9F95-9D423A06FAEA}" dt="2024-07-02T15:18:31.042" v="18689" actId="478"/>
          <ac:picMkLst>
            <pc:docMk/>
            <pc:sldMk cId="575130139" sldId="862"/>
            <ac:picMk id="14" creationId="{CD2EAEF4-7CED-79FD-7BDE-3E6B250D91FB}"/>
          </ac:picMkLst>
        </pc:picChg>
        <pc:picChg chg="add mod modCrop">
          <ac:chgData name="Andreas Koksrud" userId="9d9beba6-c052-407a-8599-c781a677a996" providerId="ADAL" clId="{4C89AD2D-B60A-479F-9F95-9D423A06FAEA}" dt="2024-07-02T15:17:50.192" v="18649" actId="732"/>
          <ac:picMkLst>
            <pc:docMk/>
            <pc:sldMk cId="575130139" sldId="862"/>
            <ac:picMk id="16" creationId="{4D9DADFD-10FA-19A6-98E4-610C81750C85}"/>
          </ac:picMkLst>
        </pc:picChg>
        <pc:picChg chg="add mod modCrop">
          <ac:chgData name="Andreas Koksrud" userId="9d9beba6-c052-407a-8599-c781a677a996" providerId="ADAL" clId="{4C89AD2D-B60A-479F-9F95-9D423A06FAEA}" dt="2024-07-02T15:19:25.435" v="18697" actId="1076"/>
          <ac:picMkLst>
            <pc:docMk/>
            <pc:sldMk cId="575130139" sldId="862"/>
            <ac:picMk id="18" creationId="{DE5F48FC-3C42-5859-4351-E0D25B460A59}"/>
          </ac:picMkLst>
        </pc:picChg>
        <pc:picChg chg="add mod">
          <ac:chgData name="Andreas Koksrud" userId="9d9beba6-c052-407a-8599-c781a677a996" providerId="ADAL" clId="{4C89AD2D-B60A-479F-9F95-9D423A06FAEA}" dt="2024-07-02T15:19:26.867" v="18698" actId="1076"/>
          <ac:picMkLst>
            <pc:docMk/>
            <pc:sldMk cId="575130139" sldId="862"/>
            <ac:picMk id="20" creationId="{D269A6E6-DC19-3C34-5B65-3556FAACB2F8}"/>
          </ac:picMkLst>
        </pc:picChg>
        <pc:picChg chg="add mod">
          <ac:chgData name="Andreas Koksrud" userId="9d9beba6-c052-407a-8599-c781a677a996" providerId="ADAL" clId="{4C89AD2D-B60A-479F-9F95-9D423A06FAEA}" dt="2024-07-02T18:29:24.673" v="19792" actId="1076"/>
          <ac:picMkLst>
            <pc:docMk/>
            <pc:sldMk cId="575130139" sldId="862"/>
            <ac:picMk id="28" creationId="{041E496F-A3DC-1F55-A8AB-BFC57EF2B80D}"/>
          </ac:picMkLst>
        </pc:picChg>
        <pc:cxnChg chg="add mod">
          <ac:chgData name="Andreas Koksrud" userId="9d9beba6-c052-407a-8599-c781a677a996" providerId="ADAL" clId="{4C89AD2D-B60A-479F-9F95-9D423A06FAEA}" dt="2024-07-02T15:22:55.140" v="18762" actId="14100"/>
          <ac:cxnSpMkLst>
            <pc:docMk/>
            <pc:sldMk cId="575130139" sldId="862"/>
            <ac:cxnSpMk id="21" creationId="{EC927A16-2591-A872-203C-B66E8FFBC2DB}"/>
          </ac:cxnSpMkLst>
        </pc:cxnChg>
        <pc:cxnChg chg="add mod">
          <ac:chgData name="Andreas Koksrud" userId="9d9beba6-c052-407a-8599-c781a677a996" providerId="ADAL" clId="{4C89AD2D-B60A-479F-9F95-9D423A06FAEA}" dt="2024-07-02T18:29:27.135" v="19793" actId="14100"/>
          <ac:cxnSpMkLst>
            <pc:docMk/>
            <pc:sldMk cId="575130139" sldId="862"/>
            <ac:cxnSpMk id="29" creationId="{4AA91FC9-26E9-A112-C75C-D38CEBFA6814}"/>
          </ac:cxnSpMkLst>
        </pc:cxnChg>
      </pc:sldChg>
      <pc:sldChg chg="addSp delSp modSp add del mod">
        <pc:chgData name="Andreas Koksrud" userId="9d9beba6-c052-407a-8599-c781a677a996" providerId="ADAL" clId="{4C89AD2D-B60A-479F-9F95-9D423A06FAEA}" dt="2024-07-20T18:58:13.157" v="26095" actId="6549"/>
        <pc:sldMkLst>
          <pc:docMk/>
          <pc:sldMk cId="3027998341" sldId="863"/>
        </pc:sldMkLst>
        <pc:spChg chg="add mod">
          <ac:chgData name="Andreas Koksrud" userId="9d9beba6-c052-407a-8599-c781a677a996" providerId="ADAL" clId="{4C89AD2D-B60A-479F-9F95-9D423A06FAEA}" dt="2024-06-14T18:20:42.779" v="6533"/>
          <ac:spMkLst>
            <pc:docMk/>
            <pc:sldMk cId="3027998341" sldId="863"/>
            <ac:spMk id="2" creationId="{17A74DFD-2B00-B391-E59A-ED4EA05816E8}"/>
          </ac:spMkLst>
        </pc:spChg>
        <pc:spChg chg="add mod">
          <ac:chgData name="Andreas Koksrud" userId="9d9beba6-c052-407a-8599-c781a677a996" providerId="ADAL" clId="{4C89AD2D-B60A-479F-9F95-9D423A06FAEA}" dt="2024-06-14T18:20:42.779" v="6533"/>
          <ac:spMkLst>
            <pc:docMk/>
            <pc:sldMk cId="3027998341" sldId="863"/>
            <ac:spMk id="3" creationId="{3BA462E2-B807-F22E-43E0-EEED9979F7C5}"/>
          </ac:spMkLst>
        </pc:spChg>
        <pc:spChg chg="add mod">
          <ac:chgData name="Andreas Koksrud" userId="9d9beba6-c052-407a-8599-c781a677a996" providerId="ADAL" clId="{4C89AD2D-B60A-479F-9F95-9D423A06FAEA}" dt="2024-07-20T18:58:13.157" v="26095" actId="6549"/>
          <ac:spMkLst>
            <pc:docMk/>
            <pc:sldMk cId="3027998341" sldId="863"/>
            <ac:spMk id="6" creationId="{D66CA787-D3BF-24C5-DD37-94892B12E37B}"/>
          </ac:spMkLst>
        </pc:spChg>
        <pc:spChg chg="add del mod">
          <ac:chgData name="Andreas Koksrud" userId="9d9beba6-c052-407a-8599-c781a677a996" providerId="ADAL" clId="{4C89AD2D-B60A-479F-9F95-9D423A06FAEA}" dt="2024-07-02T18:22:31.295" v="19697" actId="478"/>
          <ac:spMkLst>
            <pc:docMk/>
            <pc:sldMk cId="3027998341" sldId="863"/>
            <ac:spMk id="11" creationId="{CED52913-1A48-6A02-77F0-4F9F05FEB686}"/>
          </ac:spMkLst>
        </pc:spChg>
        <pc:spChg chg="add mod">
          <ac:chgData name="Andreas Koksrud" userId="9d9beba6-c052-407a-8599-c781a677a996" providerId="ADAL" clId="{4C89AD2D-B60A-479F-9F95-9D423A06FAEA}" dt="2024-07-20T18:57:46.830" v="26085" actId="6549"/>
          <ac:spMkLst>
            <pc:docMk/>
            <pc:sldMk cId="3027998341" sldId="863"/>
            <ac:spMk id="13" creationId="{C1ED8D54-28B4-8D9C-6C64-FB1501648279}"/>
          </ac:spMkLst>
        </pc:spChg>
        <pc:spChg chg="mod">
          <ac:chgData name="Andreas Koksrud" userId="9d9beba6-c052-407a-8599-c781a677a996" providerId="ADAL" clId="{4C89AD2D-B60A-479F-9F95-9D423A06FAEA}" dt="2024-07-02T18:12:13.396" v="19037" actId="14100"/>
          <ac:spMkLst>
            <pc:docMk/>
            <pc:sldMk cId="3027998341" sldId="863"/>
            <ac:spMk id="14" creationId="{C85A9E99-AA4E-C194-FF2A-6C5AC5C1CF94}"/>
          </ac:spMkLst>
        </pc:spChg>
        <pc:spChg chg="mod">
          <ac:chgData name="Andreas Koksrud" userId="9d9beba6-c052-407a-8599-c781a677a996" providerId="ADAL" clId="{4C89AD2D-B60A-479F-9F95-9D423A06FAEA}" dt="2024-07-02T18:11:56.946" v="18975" actId="20577"/>
          <ac:spMkLst>
            <pc:docMk/>
            <pc:sldMk cId="3027998341" sldId="863"/>
            <ac:spMk id="180" creationId="{00000000-0000-0000-0000-000000000000}"/>
          </ac:spMkLst>
        </pc:spChg>
        <pc:picChg chg="add del mod modCrop">
          <ac:chgData name="Andreas Koksrud" userId="9d9beba6-c052-407a-8599-c781a677a996" providerId="ADAL" clId="{4C89AD2D-B60A-479F-9F95-9D423A06FAEA}" dt="2024-07-02T18:20:49.365" v="19222" actId="478"/>
          <ac:picMkLst>
            <pc:docMk/>
            <pc:sldMk cId="3027998341" sldId="863"/>
            <ac:picMk id="5" creationId="{10B6AE89-5894-0CBC-5D4F-85FB66660FAB}"/>
          </ac:picMkLst>
        </pc:picChg>
        <pc:picChg chg="add del mod">
          <ac:chgData name="Andreas Koksrud" userId="9d9beba6-c052-407a-8599-c781a677a996" providerId="ADAL" clId="{4C89AD2D-B60A-479F-9F95-9D423A06FAEA}" dt="2024-07-02T18:19:26.645" v="19212" actId="478"/>
          <ac:picMkLst>
            <pc:docMk/>
            <pc:sldMk cId="3027998341" sldId="863"/>
            <ac:picMk id="8" creationId="{F50CFD08-9AB6-81D5-CE87-F5F3F24D1EBB}"/>
          </ac:picMkLst>
        </pc:picChg>
        <pc:picChg chg="del">
          <ac:chgData name="Andreas Koksrud" userId="9d9beba6-c052-407a-8599-c781a677a996" providerId="ADAL" clId="{4C89AD2D-B60A-479F-9F95-9D423A06FAEA}" dt="2024-07-02T18:17:55.299" v="19129" actId="478"/>
          <ac:picMkLst>
            <pc:docMk/>
            <pc:sldMk cId="3027998341" sldId="863"/>
            <ac:picMk id="9" creationId="{B39AEE37-E5E1-FD33-5317-53FB4A2C1415}"/>
          </ac:picMkLst>
        </pc:picChg>
        <pc:picChg chg="del">
          <ac:chgData name="Andreas Koksrud" userId="9d9beba6-c052-407a-8599-c781a677a996" providerId="ADAL" clId="{4C89AD2D-B60A-479F-9F95-9D423A06FAEA}" dt="2024-07-02T18:13:19.433" v="19038" actId="478"/>
          <ac:picMkLst>
            <pc:docMk/>
            <pc:sldMk cId="3027998341" sldId="863"/>
            <ac:picMk id="10" creationId="{D53ABFBC-DDEE-E0B1-EBD7-A03E15A1AD96}"/>
          </ac:picMkLst>
        </pc:picChg>
        <pc:picChg chg="del">
          <ac:chgData name="Andreas Koksrud" userId="9d9beba6-c052-407a-8599-c781a677a996" providerId="ADAL" clId="{4C89AD2D-B60A-479F-9F95-9D423A06FAEA}" dt="2024-07-02T18:18:57.308" v="19208" actId="478"/>
          <ac:picMkLst>
            <pc:docMk/>
            <pc:sldMk cId="3027998341" sldId="863"/>
            <ac:picMk id="12" creationId="{36E36D84-4DF4-898C-B0E4-F15DFC15B501}"/>
          </ac:picMkLst>
        </pc:picChg>
      </pc:sldChg>
      <pc:sldChg chg="addSp delSp modSp add del mod">
        <pc:chgData name="Andreas Koksrud" userId="9d9beba6-c052-407a-8599-c781a677a996" providerId="ADAL" clId="{4C89AD2D-B60A-479F-9F95-9D423A06FAEA}" dt="2024-07-20T18:58:47.139" v="26109" actId="20577"/>
        <pc:sldMkLst>
          <pc:docMk/>
          <pc:sldMk cId="2970237999" sldId="864"/>
        </pc:sldMkLst>
        <pc:spChg chg="add mod">
          <ac:chgData name="Andreas Koksrud" userId="9d9beba6-c052-407a-8599-c781a677a996" providerId="ADAL" clId="{4C89AD2D-B60A-479F-9F95-9D423A06FAEA}" dt="2024-06-14T18:20:43.793" v="6534"/>
          <ac:spMkLst>
            <pc:docMk/>
            <pc:sldMk cId="2970237999" sldId="864"/>
            <ac:spMk id="2" creationId="{5A56B88F-F533-AA01-EE24-F49D6CE124E8}"/>
          </ac:spMkLst>
        </pc:spChg>
        <pc:spChg chg="del">
          <ac:chgData name="Andreas Koksrud" userId="9d9beba6-c052-407a-8599-c781a677a996" providerId="ADAL" clId="{4C89AD2D-B60A-479F-9F95-9D423A06FAEA}" dt="2024-07-02T18:45:36.345" v="19891" actId="478"/>
          <ac:spMkLst>
            <pc:docMk/>
            <pc:sldMk cId="2970237999" sldId="864"/>
            <ac:spMk id="4" creationId="{573949ED-BBE9-BE91-D23E-060B19D06828}"/>
          </ac:spMkLst>
        </pc:spChg>
        <pc:spChg chg="add mod">
          <ac:chgData name="Andreas Koksrud" userId="9d9beba6-c052-407a-8599-c781a677a996" providerId="ADAL" clId="{4C89AD2D-B60A-479F-9F95-9D423A06FAEA}" dt="2024-06-14T18:20:43.793" v="6534"/>
          <ac:spMkLst>
            <pc:docMk/>
            <pc:sldMk cId="2970237999" sldId="864"/>
            <ac:spMk id="5" creationId="{3A51921F-6FDD-0861-65C2-D29FFCE1CD90}"/>
          </ac:spMkLst>
        </pc:spChg>
        <pc:spChg chg="del mod">
          <ac:chgData name="Andreas Koksrud" userId="9d9beba6-c052-407a-8599-c781a677a996" providerId="ADAL" clId="{4C89AD2D-B60A-479F-9F95-9D423A06FAEA}" dt="2024-07-02T18:45:37.749" v="19892" actId="478"/>
          <ac:spMkLst>
            <pc:docMk/>
            <pc:sldMk cId="2970237999" sldId="864"/>
            <ac:spMk id="6" creationId="{AFC032CF-68CF-022B-D3ED-67C34FCA9DA6}"/>
          </ac:spMkLst>
        </pc:spChg>
        <pc:spChg chg="add del mod">
          <ac:chgData name="Andreas Koksrud" userId="9d9beba6-c052-407a-8599-c781a677a996" providerId="ADAL" clId="{4C89AD2D-B60A-479F-9F95-9D423A06FAEA}" dt="2024-07-02T18:47:36.019" v="19977" actId="478"/>
          <ac:spMkLst>
            <pc:docMk/>
            <pc:sldMk cId="2970237999" sldId="864"/>
            <ac:spMk id="7" creationId="{2A7F7F57-E92E-80BB-F4EB-78182E544B22}"/>
          </ac:spMkLst>
        </pc:spChg>
        <pc:spChg chg="add mod">
          <ac:chgData name="Andreas Koksrud" userId="9d9beba6-c052-407a-8599-c781a677a996" providerId="ADAL" clId="{4C89AD2D-B60A-479F-9F95-9D423A06FAEA}" dt="2024-07-02T18:45:50.814" v="19893"/>
          <ac:spMkLst>
            <pc:docMk/>
            <pc:sldMk cId="2970237999" sldId="864"/>
            <ac:spMk id="8" creationId="{D895C0DE-5A5E-BAD0-09E1-C0CCA6D2E272}"/>
          </ac:spMkLst>
        </pc:spChg>
        <pc:spChg chg="add mod">
          <ac:chgData name="Andreas Koksrud" userId="9d9beba6-c052-407a-8599-c781a677a996" providerId="ADAL" clId="{4C89AD2D-B60A-479F-9F95-9D423A06FAEA}" dt="2024-07-02T18:47:48.221" v="20019" actId="20577"/>
          <ac:spMkLst>
            <pc:docMk/>
            <pc:sldMk cId="2970237999" sldId="864"/>
            <ac:spMk id="9" creationId="{C5D0C8DA-7085-00DB-1E89-BC180452B60B}"/>
          </ac:spMkLst>
        </pc:spChg>
        <pc:spChg chg="del">
          <ac:chgData name="Andreas Koksrud" userId="9d9beba6-c052-407a-8599-c781a677a996" providerId="ADAL" clId="{4C89AD2D-B60A-479F-9F95-9D423A06FAEA}" dt="2024-07-02T18:47:54.238" v="20020" actId="478"/>
          <ac:spMkLst>
            <pc:docMk/>
            <pc:sldMk cId="2970237999" sldId="864"/>
            <ac:spMk id="10" creationId="{2C5B1494-1D58-BF1C-FD1F-05B2284547CD}"/>
          </ac:spMkLst>
        </pc:spChg>
        <pc:spChg chg="del">
          <ac:chgData name="Andreas Koksrud" userId="9d9beba6-c052-407a-8599-c781a677a996" providerId="ADAL" clId="{4C89AD2D-B60A-479F-9F95-9D423A06FAEA}" dt="2024-07-02T18:47:55.938" v="20021" actId="478"/>
          <ac:spMkLst>
            <pc:docMk/>
            <pc:sldMk cId="2970237999" sldId="864"/>
            <ac:spMk id="11" creationId="{A033C1BF-07A1-0CE1-77A7-B916038F8BFB}"/>
          </ac:spMkLst>
        </pc:spChg>
        <pc:spChg chg="mod">
          <ac:chgData name="Andreas Koksrud" userId="9d9beba6-c052-407a-8599-c781a677a996" providerId="ADAL" clId="{4C89AD2D-B60A-479F-9F95-9D423A06FAEA}" dt="2024-07-02T18:45:30.982" v="19890" actId="20577"/>
          <ac:spMkLst>
            <pc:docMk/>
            <pc:sldMk cId="2970237999" sldId="864"/>
            <ac:spMk id="14" creationId="{C85A9E99-AA4E-C194-FF2A-6C5AC5C1CF94}"/>
          </ac:spMkLst>
        </pc:spChg>
        <pc:spChg chg="add mod">
          <ac:chgData name="Andreas Koksrud" userId="9d9beba6-c052-407a-8599-c781a677a996" providerId="ADAL" clId="{4C89AD2D-B60A-479F-9F95-9D423A06FAEA}" dt="2024-07-02T18:49:13.985" v="20032" actId="14100"/>
          <ac:spMkLst>
            <pc:docMk/>
            <pc:sldMk cId="2970237999" sldId="864"/>
            <ac:spMk id="19" creationId="{FF82F14C-31B3-80C9-C4DB-E8559F942254}"/>
          </ac:spMkLst>
        </pc:spChg>
        <pc:spChg chg="mod">
          <ac:chgData name="Andreas Koksrud" userId="9d9beba6-c052-407a-8599-c781a677a996" providerId="ADAL" clId="{4C89AD2D-B60A-479F-9F95-9D423A06FAEA}" dt="2024-07-20T18:58:47.139" v="26109" actId="20577"/>
          <ac:spMkLst>
            <pc:docMk/>
            <pc:sldMk cId="2970237999" sldId="864"/>
            <ac:spMk id="180" creationId="{00000000-0000-0000-0000-000000000000}"/>
          </ac:spMkLst>
        </pc:spChg>
        <pc:picChg chg="mod">
          <ac:chgData name="Andreas Koksrud" userId="9d9beba6-c052-407a-8599-c781a677a996" providerId="ADAL" clId="{4C89AD2D-B60A-479F-9F95-9D423A06FAEA}" dt="2024-07-02T18:33:27.808" v="19795" actId="14826"/>
          <ac:picMkLst>
            <pc:docMk/>
            <pc:sldMk cId="2970237999" sldId="864"/>
            <ac:picMk id="3" creationId="{C73A5D59-A3A1-B1EB-7D4C-49EAFDDF8D35}"/>
          </ac:picMkLst>
        </pc:picChg>
        <pc:picChg chg="add mod modCrop">
          <ac:chgData name="Andreas Koksrud" userId="9d9beba6-c052-407a-8599-c781a677a996" providerId="ADAL" clId="{4C89AD2D-B60A-479F-9F95-9D423A06FAEA}" dt="2024-07-02T18:48:22.437" v="20024" actId="732"/>
          <ac:picMkLst>
            <pc:docMk/>
            <pc:sldMk cId="2970237999" sldId="864"/>
            <ac:picMk id="13" creationId="{5AC913F4-50DE-366E-19F6-ADB839FEAF31}"/>
          </ac:picMkLst>
        </pc:picChg>
        <pc:cxnChg chg="add mod">
          <ac:chgData name="Andreas Koksrud" userId="9d9beba6-c052-407a-8599-c781a677a996" providerId="ADAL" clId="{4C89AD2D-B60A-479F-9F95-9D423A06FAEA}" dt="2024-07-02T18:49:22.932" v="20033" actId="14100"/>
          <ac:cxnSpMkLst>
            <pc:docMk/>
            <pc:sldMk cId="2970237999" sldId="864"/>
            <ac:cxnSpMk id="15" creationId="{19DA8578-13B5-7BEC-8B5B-8636BC334503}"/>
          </ac:cxnSpMkLst>
        </pc:cxnChg>
      </pc:sldChg>
      <pc:sldChg chg="addSp delSp modSp add del mod">
        <pc:chgData name="Andreas Koksrud" userId="9d9beba6-c052-407a-8599-c781a677a996" providerId="ADAL" clId="{4C89AD2D-B60A-479F-9F95-9D423A06FAEA}" dt="2024-07-02T18:51:39.687" v="20037" actId="1076"/>
        <pc:sldMkLst>
          <pc:docMk/>
          <pc:sldMk cId="1445178992" sldId="865"/>
        </pc:sldMkLst>
        <pc:spChg chg="add mod">
          <ac:chgData name="Andreas Koksrud" userId="9d9beba6-c052-407a-8599-c781a677a996" providerId="ADAL" clId="{4C89AD2D-B60A-479F-9F95-9D423A06FAEA}" dt="2024-06-14T18:20:44.765" v="6535"/>
          <ac:spMkLst>
            <pc:docMk/>
            <pc:sldMk cId="1445178992" sldId="865"/>
            <ac:spMk id="2" creationId="{905DF99C-FD39-BD07-8B7D-CD8CEB3BA98F}"/>
          </ac:spMkLst>
        </pc:spChg>
        <pc:spChg chg="add mod">
          <ac:chgData name="Andreas Koksrud" userId="9d9beba6-c052-407a-8599-c781a677a996" providerId="ADAL" clId="{4C89AD2D-B60A-479F-9F95-9D423A06FAEA}" dt="2024-06-14T18:20:44.765" v="6535"/>
          <ac:spMkLst>
            <pc:docMk/>
            <pc:sldMk cId="1445178992" sldId="865"/>
            <ac:spMk id="4" creationId="{3440CA42-C58B-F058-4FA1-B62FA1632640}"/>
          </ac:spMkLst>
        </pc:spChg>
        <pc:spChg chg="mod">
          <ac:chgData name="Andreas Koksrud" userId="9d9beba6-c052-407a-8599-c781a677a996" providerId="ADAL" clId="{4C89AD2D-B60A-479F-9F95-9D423A06FAEA}" dt="2024-07-02T18:51:04.733" v="20035" actId="20577"/>
          <ac:spMkLst>
            <pc:docMk/>
            <pc:sldMk cId="1445178992" sldId="865"/>
            <ac:spMk id="180" creationId="{00000000-0000-0000-0000-000000000000}"/>
          </ac:spMkLst>
        </pc:spChg>
        <pc:picChg chg="del">
          <ac:chgData name="Andreas Koksrud" userId="9d9beba6-c052-407a-8599-c781a677a996" providerId="ADAL" clId="{4C89AD2D-B60A-479F-9F95-9D423A06FAEA}" dt="2024-07-02T18:51:02.528" v="20034" actId="478"/>
          <ac:picMkLst>
            <pc:docMk/>
            <pc:sldMk cId="1445178992" sldId="865"/>
            <ac:picMk id="3" creationId="{5CDD4ADA-7AE8-6882-B49C-4834CA98ED6E}"/>
          </ac:picMkLst>
        </pc:picChg>
        <pc:picChg chg="add mod">
          <ac:chgData name="Andreas Koksrud" userId="9d9beba6-c052-407a-8599-c781a677a996" providerId="ADAL" clId="{4C89AD2D-B60A-479F-9F95-9D423A06FAEA}" dt="2024-07-02T18:51:39.687" v="20037" actId="1076"/>
          <ac:picMkLst>
            <pc:docMk/>
            <pc:sldMk cId="1445178992" sldId="865"/>
            <ac:picMk id="6" creationId="{406014D9-A234-5B5D-E8B8-68513C21336B}"/>
          </ac:picMkLst>
        </pc:picChg>
      </pc:sldChg>
      <pc:sldChg chg="addSp modSp add del">
        <pc:chgData name="Andreas Koksrud" userId="9d9beba6-c052-407a-8599-c781a677a996" providerId="ADAL" clId="{4C89AD2D-B60A-479F-9F95-9D423A06FAEA}" dt="2024-07-20T19:00:01.639" v="26111" actId="2696"/>
        <pc:sldMkLst>
          <pc:docMk/>
          <pc:sldMk cId="141793938" sldId="866"/>
        </pc:sldMkLst>
        <pc:spChg chg="add mod">
          <ac:chgData name="Andreas Koksrud" userId="9d9beba6-c052-407a-8599-c781a677a996" providerId="ADAL" clId="{4C89AD2D-B60A-479F-9F95-9D423A06FAEA}" dt="2024-06-14T18:20:46.607" v="6537"/>
          <ac:spMkLst>
            <pc:docMk/>
            <pc:sldMk cId="141793938" sldId="866"/>
            <ac:spMk id="2" creationId="{6A7E35AE-BC31-EA0A-D241-CBD854D7F0CF}"/>
          </ac:spMkLst>
        </pc:spChg>
        <pc:spChg chg="add mod">
          <ac:chgData name="Andreas Koksrud" userId="9d9beba6-c052-407a-8599-c781a677a996" providerId="ADAL" clId="{4C89AD2D-B60A-479F-9F95-9D423A06FAEA}" dt="2024-06-14T18:20:46.607" v="6537"/>
          <ac:spMkLst>
            <pc:docMk/>
            <pc:sldMk cId="141793938" sldId="866"/>
            <ac:spMk id="5" creationId="{234C2E22-9175-2E32-DE66-E8C998431A36}"/>
          </ac:spMkLst>
        </pc:spChg>
      </pc:sldChg>
      <pc:sldChg chg="addSp modSp add del mod">
        <pc:chgData name="Andreas Koksrud" userId="9d9beba6-c052-407a-8599-c781a677a996" providerId="ADAL" clId="{4C89AD2D-B60A-479F-9F95-9D423A06FAEA}" dt="2024-07-20T18:59:29.290" v="26110" actId="732"/>
        <pc:sldMkLst>
          <pc:docMk/>
          <pc:sldMk cId="3994882627" sldId="867"/>
        </pc:sldMkLst>
        <pc:spChg chg="add mod">
          <ac:chgData name="Andreas Koksrud" userId="9d9beba6-c052-407a-8599-c781a677a996" providerId="ADAL" clId="{4C89AD2D-B60A-479F-9F95-9D423A06FAEA}" dt="2024-06-14T18:20:45.705" v="6536"/>
          <ac:spMkLst>
            <pc:docMk/>
            <pc:sldMk cId="3994882627" sldId="867"/>
            <ac:spMk id="2" creationId="{D32DEF22-23EF-3705-A8AC-D7D9A74FC18A}"/>
          </ac:spMkLst>
        </pc:spChg>
        <pc:spChg chg="add mod">
          <ac:chgData name="Andreas Koksrud" userId="9d9beba6-c052-407a-8599-c781a677a996" providerId="ADAL" clId="{4C89AD2D-B60A-479F-9F95-9D423A06FAEA}" dt="2024-06-14T18:20:45.705" v="6536"/>
          <ac:spMkLst>
            <pc:docMk/>
            <pc:sldMk cId="3994882627" sldId="867"/>
            <ac:spMk id="3" creationId="{021D0895-1BD4-E42E-90B2-511DFB6CF3C8}"/>
          </ac:spMkLst>
        </pc:spChg>
        <pc:picChg chg="mod modCrop">
          <ac:chgData name="Andreas Koksrud" userId="9d9beba6-c052-407a-8599-c781a677a996" providerId="ADAL" clId="{4C89AD2D-B60A-479F-9F95-9D423A06FAEA}" dt="2024-07-20T18:59:29.290" v="26110" actId="732"/>
          <ac:picMkLst>
            <pc:docMk/>
            <pc:sldMk cId="3994882627" sldId="867"/>
            <ac:picMk id="7" creationId="{0C39E68A-7DF6-807B-0249-BADDB1320D18}"/>
          </ac:picMkLst>
        </pc:picChg>
      </pc:sldChg>
      <pc:sldChg chg="addSp modSp add">
        <pc:chgData name="Andreas Koksrud" userId="9d9beba6-c052-407a-8599-c781a677a996" providerId="ADAL" clId="{4C89AD2D-B60A-479F-9F95-9D423A06FAEA}" dt="2024-06-14T18:23:18.039" v="6651"/>
        <pc:sldMkLst>
          <pc:docMk/>
          <pc:sldMk cId="4078051789" sldId="868"/>
        </pc:sldMkLst>
        <pc:spChg chg="add mod">
          <ac:chgData name="Andreas Koksrud" userId="9d9beba6-c052-407a-8599-c781a677a996" providerId="ADAL" clId="{4C89AD2D-B60A-479F-9F95-9D423A06FAEA}" dt="2024-06-14T18:23:18.039" v="6651"/>
          <ac:spMkLst>
            <pc:docMk/>
            <pc:sldMk cId="4078051789" sldId="868"/>
            <ac:spMk id="4" creationId="{51A729EE-1E8B-DEA3-1D41-E1838F14F2D4}"/>
          </ac:spMkLst>
        </pc:spChg>
        <pc:spChg chg="add mod">
          <ac:chgData name="Andreas Koksrud" userId="9d9beba6-c052-407a-8599-c781a677a996" providerId="ADAL" clId="{4C89AD2D-B60A-479F-9F95-9D423A06FAEA}" dt="2024-06-14T18:23:18.039" v="6651"/>
          <ac:spMkLst>
            <pc:docMk/>
            <pc:sldMk cId="4078051789" sldId="868"/>
            <ac:spMk id="5" creationId="{76E046D2-E50A-AB22-7C8B-E67A10B15C9E}"/>
          </ac:spMkLst>
        </pc:spChg>
      </pc:sldChg>
      <pc:sldChg chg="addSp modSp add del">
        <pc:chgData name="Andreas Koksrud" userId="9d9beba6-c052-407a-8599-c781a677a996" providerId="ADAL" clId="{4C89AD2D-B60A-479F-9F95-9D423A06FAEA}" dt="2024-06-14T18:24:43.141" v="6772"/>
        <pc:sldMkLst>
          <pc:docMk/>
          <pc:sldMk cId="612492956" sldId="869"/>
        </pc:sldMkLst>
        <pc:spChg chg="add mod">
          <ac:chgData name="Andreas Koksrud" userId="9d9beba6-c052-407a-8599-c781a677a996" providerId="ADAL" clId="{4C89AD2D-B60A-479F-9F95-9D423A06FAEA}" dt="2024-06-14T18:24:43.141" v="6772"/>
          <ac:spMkLst>
            <pc:docMk/>
            <pc:sldMk cId="612492956" sldId="869"/>
            <ac:spMk id="2" creationId="{C60CABA2-F0CC-8F29-585F-FBFA154CD34F}"/>
          </ac:spMkLst>
        </pc:spChg>
        <pc:spChg chg="add mod">
          <ac:chgData name="Andreas Koksrud" userId="9d9beba6-c052-407a-8599-c781a677a996" providerId="ADAL" clId="{4C89AD2D-B60A-479F-9F95-9D423A06FAEA}" dt="2024-06-14T18:24:43.141" v="6772"/>
          <ac:spMkLst>
            <pc:docMk/>
            <pc:sldMk cId="612492956" sldId="869"/>
            <ac:spMk id="3" creationId="{32020905-DC1C-CCD1-C4AE-62F8994946A2}"/>
          </ac:spMkLst>
        </pc:spChg>
      </pc:sldChg>
      <pc:sldChg chg="addSp modSp add del">
        <pc:chgData name="Andreas Koksrud" userId="9d9beba6-c052-407a-8599-c781a677a996" providerId="ADAL" clId="{4C89AD2D-B60A-479F-9F95-9D423A06FAEA}" dt="2024-06-14T18:24:36.916" v="6767"/>
        <pc:sldMkLst>
          <pc:docMk/>
          <pc:sldMk cId="118550550" sldId="870"/>
        </pc:sldMkLst>
        <pc:spChg chg="add mod">
          <ac:chgData name="Andreas Koksrud" userId="9d9beba6-c052-407a-8599-c781a677a996" providerId="ADAL" clId="{4C89AD2D-B60A-479F-9F95-9D423A06FAEA}" dt="2024-06-14T18:24:36.916" v="6767"/>
          <ac:spMkLst>
            <pc:docMk/>
            <pc:sldMk cId="118550550" sldId="870"/>
            <ac:spMk id="2" creationId="{8A4A0167-F03C-40E4-378A-CCAF143EE3B0}"/>
          </ac:spMkLst>
        </pc:spChg>
        <pc:spChg chg="add mod">
          <ac:chgData name="Andreas Koksrud" userId="9d9beba6-c052-407a-8599-c781a677a996" providerId="ADAL" clId="{4C89AD2D-B60A-479F-9F95-9D423A06FAEA}" dt="2024-06-14T18:24:36.916" v="6767"/>
          <ac:spMkLst>
            <pc:docMk/>
            <pc:sldMk cId="118550550" sldId="870"/>
            <ac:spMk id="3" creationId="{1116D423-D4BC-D2DB-0D85-F7A742563FE2}"/>
          </ac:spMkLst>
        </pc:spChg>
      </pc:sldChg>
      <pc:sldChg chg="addSp modSp add del">
        <pc:chgData name="Andreas Koksrud" userId="9d9beba6-c052-407a-8599-c781a677a996" providerId="ADAL" clId="{4C89AD2D-B60A-479F-9F95-9D423A06FAEA}" dt="2024-06-14T18:24:53.617" v="6783"/>
        <pc:sldMkLst>
          <pc:docMk/>
          <pc:sldMk cId="548472017" sldId="871"/>
        </pc:sldMkLst>
        <pc:spChg chg="add mod">
          <ac:chgData name="Andreas Koksrud" userId="9d9beba6-c052-407a-8599-c781a677a996" providerId="ADAL" clId="{4C89AD2D-B60A-479F-9F95-9D423A06FAEA}" dt="2024-06-14T18:24:53.617" v="6783"/>
          <ac:spMkLst>
            <pc:docMk/>
            <pc:sldMk cId="548472017" sldId="871"/>
            <ac:spMk id="5" creationId="{0543135C-85B8-2502-BDC6-802652B285FF}"/>
          </ac:spMkLst>
        </pc:spChg>
        <pc:spChg chg="add mod">
          <ac:chgData name="Andreas Koksrud" userId="9d9beba6-c052-407a-8599-c781a677a996" providerId="ADAL" clId="{4C89AD2D-B60A-479F-9F95-9D423A06FAEA}" dt="2024-06-14T18:24:53.617" v="6783"/>
          <ac:spMkLst>
            <pc:docMk/>
            <pc:sldMk cId="548472017" sldId="871"/>
            <ac:spMk id="8" creationId="{F59D8BF2-DFB8-6916-C01F-05C5791D6F82}"/>
          </ac:spMkLst>
        </pc:spChg>
      </pc:sldChg>
      <pc:sldChg chg="addSp delSp modSp add del mod ord">
        <pc:chgData name="Andreas Koksrud" userId="9d9beba6-c052-407a-8599-c781a677a996" providerId="ADAL" clId="{4C89AD2D-B60A-479F-9F95-9D423A06FAEA}" dt="2024-08-03T09:24:05.449" v="34760" actId="2696"/>
        <pc:sldMkLst>
          <pc:docMk/>
          <pc:sldMk cId="1118540174" sldId="872"/>
        </pc:sldMkLst>
        <pc:spChg chg="mod">
          <ac:chgData name="Andreas Koksrud" userId="9d9beba6-c052-407a-8599-c781a677a996" providerId="ADAL" clId="{4C89AD2D-B60A-479F-9F95-9D423A06FAEA}" dt="2024-07-01T18:53:29.703" v="16945" actId="20577"/>
          <ac:spMkLst>
            <pc:docMk/>
            <pc:sldMk cId="1118540174" sldId="872"/>
            <ac:spMk id="2" creationId="{9796E8C1-5924-9DB3-B51B-75296717F89F}"/>
          </ac:spMkLst>
        </pc:spChg>
        <pc:spChg chg="add mod">
          <ac:chgData name="Andreas Koksrud" userId="9d9beba6-c052-407a-8599-c781a677a996" providerId="ADAL" clId="{4C89AD2D-B60A-479F-9F95-9D423A06FAEA}" dt="2024-06-14T18:16:23.627" v="6163"/>
          <ac:spMkLst>
            <pc:docMk/>
            <pc:sldMk cId="1118540174" sldId="872"/>
            <ac:spMk id="3" creationId="{5FE68121-81AE-F2E5-DCD9-C328BBA3F909}"/>
          </ac:spMkLst>
        </pc:spChg>
        <pc:spChg chg="add mod">
          <ac:chgData name="Andreas Koksrud" userId="9d9beba6-c052-407a-8599-c781a677a996" providerId="ADAL" clId="{4C89AD2D-B60A-479F-9F95-9D423A06FAEA}" dt="2024-06-14T18:16:23.627" v="6163"/>
          <ac:spMkLst>
            <pc:docMk/>
            <pc:sldMk cId="1118540174" sldId="872"/>
            <ac:spMk id="4" creationId="{E53BC320-EB76-AACD-B492-E0CEFD69F83A}"/>
          </ac:spMkLst>
        </pc:spChg>
        <pc:spChg chg="add mod">
          <ac:chgData name="Andreas Koksrud" userId="9d9beba6-c052-407a-8599-c781a677a996" providerId="ADAL" clId="{4C89AD2D-B60A-479F-9F95-9D423A06FAEA}" dt="2024-07-01T18:54:40.157" v="16951" actId="207"/>
          <ac:spMkLst>
            <pc:docMk/>
            <pc:sldMk cId="1118540174" sldId="872"/>
            <ac:spMk id="7" creationId="{9CAD7A78-C297-D5CB-20C2-F9524B68D8F8}"/>
          </ac:spMkLst>
        </pc:spChg>
        <pc:spChg chg="mod">
          <ac:chgData name="Andreas Koksrud" userId="9d9beba6-c052-407a-8599-c781a677a996" providerId="ADAL" clId="{4C89AD2D-B60A-479F-9F95-9D423A06FAEA}" dt="2024-06-30T17:05:48.039" v="14409" actId="20577"/>
          <ac:spMkLst>
            <pc:docMk/>
            <pc:sldMk cId="1118540174" sldId="872"/>
            <ac:spMk id="180" creationId="{00000000-0000-0000-0000-000000000000}"/>
          </ac:spMkLst>
        </pc:spChg>
        <pc:picChg chg="add mod">
          <ac:chgData name="Andreas Koksrud" userId="9d9beba6-c052-407a-8599-c781a677a996" providerId="ADAL" clId="{4C89AD2D-B60A-479F-9F95-9D423A06FAEA}" dt="2024-07-01T18:54:19.414" v="16947" actId="1076"/>
          <ac:picMkLst>
            <pc:docMk/>
            <pc:sldMk cId="1118540174" sldId="872"/>
            <ac:picMk id="6" creationId="{D64A7E8A-68D4-500A-2EBD-B2086500FE7B}"/>
          </ac:picMkLst>
        </pc:picChg>
        <pc:picChg chg="del">
          <ac:chgData name="Andreas Koksrud" userId="9d9beba6-c052-407a-8599-c781a677a996" providerId="ADAL" clId="{4C89AD2D-B60A-479F-9F95-9D423A06FAEA}" dt="2024-07-01T18:53:11.863" v="16879" actId="478"/>
          <ac:picMkLst>
            <pc:docMk/>
            <pc:sldMk cId="1118540174" sldId="872"/>
            <ac:picMk id="10" creationId="{89AD7208-33E1-786F-68C4-B07CE69D9B90}"/>
          </ac:picMkLst>
        </pc:picChg>
        <pc:picChg chg="del">
          <ac:chgData name="Andreas Koksrud" userId="9d9beba6-c052-407a-8599-c781a677a996" providerId="ADAL" clId="{4C89AD2D-B60A-479F-9F95-9D423A06FAEA}" dt="2024-07-01T18:53:09.544" v="16878" actId="478"/>
          <ac:picMkLst>
            <pc:docMk/>
            <pc:sldMk cId="1118540174" sldId="872"/>
            <ac:picMk id="13" creationId="{64C063CB-5F33-4B77-965C-B90C6AE27B39}"/>
          </ac:picMkLst>
        </pc:picChg>
        <pc:picChg chg="del">
          <ac:chgData name="Andreas Koksrud" userId="9d9beba6-c052-407a-8599-c781a677a996" providerId="ADAL" clId="{4C89AD2D-B60A-479F-9F95-9D423A06FAEA}" dt="2024-07-01T18:53:11.863" v="16879" actId="478"/>
          <ac:picMkLst>
            <pc:docMk/>
            <pc:sldMk cId="1118540174" sldId="872"/>
            <ac:picMk id="19" creationId="{16102E3D-30A8-E8EE-D800-B326185287B8}"/>
          </ac:picMkLst>
        </pc:picChg>
        <pc:cxnChg chg="add mod">
          <ac:chgData name="Andreas Koksrud" userId="9d9beba6-c052-407a-8599-c781a677a996" providerId="ADAL" clId="{4C89AD2D-B60A-479F-9F95-9D423A06FAEA}" dt="2024-07-01T18:54:57.090" v="16955" actId="14100"/>
          <ac:cxnSpMkLst>
            <pc:docMk/>
            <pc:sldMk cId="1118540174" sldId="872"/>
            <ac:cxnSpMk id="8" creationId="{116A7440-C9A1-683B-A2FF-7FE26B92B190}"/>
          </ac:cxnSpMkLst>
        </pc:cxnChg>
        <pc:cxnChg chg="del">
          <ac:chgData name="Andreas Koksrud" userId="9d9beba6-c052-407a-8599-c781a677a996" providerId="ADAL" clId="{4C89AD2D-B60A-479F-9F95-9D423A06FAEA}" dt="2024-07-01T18:53:11.863" v="16879" actId="478"/>
          <ac:cxnSpMkLst>
            <pc:docMk/>
            <pc:sldMk cId="1118540174" sldId="872"/>
            <ac:cxnSpMk id="14" creationId="{EBD79003-BA5F-9EC4-AB1E-B169474A75BA}"/>
          </ac:cxnSpMkLst>
        </pc:cxnChg>
        <pc:cxnChg chg="del">
          <ac:chgData name="Andreas Koksrud" userId="9d9beba6-c052-407a-8599-c781a677a996" providerId="ADAL" clId="{4C89AD2D-B60A-479F-9F95-9D423A06FAEA}" dt="2024-07-01T18:53:11.863" v="16879" actId="478"/>
          <ac:cxnSpMkLst>
            <pc:docMk/>
            <pc:sldMk cId="1118540174" sldId="872"/>
            <ac:cxnSpMk id="22" creationId="{21009E25-D8DE-E975-55FA-12227386461E}"/>
          </ac:cxnSpMkLst>
        </pc:cxnChg>
      </pc:sldChg>
      <pc:sldChg chg="addSp delSp modSp add mod">
        <pc:chgData name="Andreas Koksrud" userId="9d9beba6-c052-407a-8599-c781a677a996" providerId="ADAL" clId="{4C89AD2D-B60A-479F-9F95-9D423A06FAEA}" dt="2024-08-03T09:27:16.771" v="35039"/>
        <pc:sldMkLst>
          <pc:docMk/>
          <pc:sldMk cId="2547417480" sldId="872"/>
        </pc:sldMkLst>
        <pc:spChg chg="del">
          <ac:chgData name="Andreas Koksrud" userId="9d9beba6-c052-407a-8599-c781a677a996" providerId="ADAL" clId="{4C89AD2D-B60A-479F-9F95-9D423A06FAEA}" dt="2024-08-03T09:27:15.156" v="35037" actId="478"/>
          <ac:spMkLst>
            <pc:docMk/>
            <pc:sldMk cId="2547417480" sldId="872"/>
            <ac:spMk id="3" creationId="{5FE68121-81AE-F2E5-DCD9-C328BBA3F909}"/>
          </ac:spMkLst>
        </pc:spChg>
        <pc:spChg chg="del">
          <ac:chgData name="Andreas Koksrud" userId="9d9beba6-c052-407a-8599-c781a677a996" providerId="ADAL" clId="{4C89AD2D-B60A-479F-9F95-9D423A06FAEA}" dt="2024-08-03T09:27:15.906" v="35038" actId="478"/>
          <ac:spMkLst>
            <pc:docMk/>
            <pc:sldMk cId="2547417480" sldId="872"/>
            <ac:spMk id="4" creationId="{E53BC320-EB76-AACD-B492-E0CEFD69F83A}"/>
          </ac:spMkLst>
        </pc:spChg>
        <pc:spChg chg="add mod">
          <ac:chgData name="Andreas Koksrud" userId="9d9beba6-c052-407a-8599-c781a677a996" providerId="ADAL" clId="{4C89AD2D-B60A-479F-9F95-9D423A06FAEA}" dt="2024-08-03T09:27:16.771" v="35039"/>
          <ac:spMkLst>
            <pc:docMk/>
            <pc:sldMk cId="2547417480" sldId="872"/>
            <ac:spMk id="5" creationId="{10F2D6BD-B21C-8FE8-238D-ED5B9A7DFB0A}"/>
          </ac:spMkLst>
        </pc:spChg>
        <pc:spChg chg="add mod">
          <ac:chgData name="Andreas Koksrud" userId="9d9beba6-c052-407a-8599-c781a677a996" providerId="ADAL" clId="{4C89AD2D-B60A-479F-9F95-9D423A06FAEA}" dt="2024-08-03T09:27:16.771" v="35039"/>
          <ac:spMkLst>
            <pc:docMk/>
            <pc:sldMk cId="2547417480" sldId="872"/>
            <ac:spMk id="9" creationId="{66D07394-7DFD-A3DF-E040-0288B2538468}"/>
          </ac:spMkLst>
        </pc:spChg>
      </pc:sldChg>
      <pc:sldChg chg="addSp modSp add del mod">
        <pc:chgData name="Andreas Koksrud" userId="9d9beba6-c052-407a-8599-c781a677a996" providerId="ADAL" clId="{4C89AD2D-B60A-479F-9F95-9D423A06FAEA}" dt="2024-06-30T17:03:28.286" v="14369" actId="47"/>
        <pc:sldMkLst>
          <pc:docMk/>
          <pc:sldMk cId="2716145312" sldId="873"/>
        </pc:sldMkLst>
        <pc:spChg chg="mod">
          <ac:chgData name="Andreas Koksrud" userId="9d9beba6-c052-407a-8599-c781a677a996" providerId="ADAL" clId="{4C89AD2D-B60A-479F-9F95-9D423A06FAEA}" dt="2024-06-14T18:16:10.824" v="6160" actId="20577"/>
          <ac:spMkLst>
            <pc:docMk/>
            <pc:sldMk cId="2716145312" sldId="873"/>
            <ac:spMk id="2" creationId="{9796E8C1-5924-9DB3-B51B-75296717F89F}"/>
          </ac:spMkLst>
        </pc:spChg>
        <pc:spChg chg="add mod">
          <ac:chgData name="Andreas Koksrud" userId="9d9beba6-c052-407a-8599-c781a677a996" providerId="ADAL" clId="{4C89AD2D-B60A-479F-9F95-9D423A06FAEA}" dt="2024-06-14T18:15:06.643" v="6053"/>
          <ac:spMkLst>
            <pc:docMk/>
            <pc:sldMk cId="2716145312" sldId="873"/>
            <ac:spMk id="3" creationId="{5EA04F7A-278E-36A0-DE0B-AEC138D133FE}"/>
          </ac:spMkLst>
        </pc:spChg>
        <pc:spChg chg="add mod">
          <ac:chgData name="Andreas Koksrud" userId="9d9beba6-c052-407a-8599-c781a677a996" providerId="ADAL" clId="{4C89AD2D-B60A-479F-9F95-9D423A06FAEA}" dt="2024-06-14T18:15:06.643" v="6053"/>
          <ac:spMkLst>
            <pc:docMk/>
            <pc:sldMk cId="2716145312" sldId="873"/>
            <ac:spMk id="4" creationId="{33AE4B2E-5286-0162-46C1-8C49534500D9}"/>
          </ac:spMkLst>
        </pc:spChg>
      </pc:sldChg>
      <pc:sldChg chg="addSp delSp modSp add del mod">
        <pc:chgData name="Andreas Koksrud" userId="9d9beba6-c052-407a-8599-c781a677a996" providerId="ADAL" clId="{4C89AD2D-B60A-479F-9F95-9D423A06FAEA}" dt="2024-07-02T18:47:22.378" v="19976" actId="20577"/>
        <pc:sldMkLst>
          <pc:docMk/>
          <pc:sldMk cId="3240008992" sldId="874"/>
        </pc:sldMkLst>
        <pc:spChg chg="del mod">
          <ac:chgData name="Andreas Koksrud" userId="9d9beba6-c052-407a-8599-c781a677a996" providerId="ADAL" clId="{4C89AD2D-B60A-479F-9F95-9D423A06FAEA}" dt="2024-07-02T18:10:07.437" v="18915" actId="478"/>
          <ac:spMkLst>
            <pc:docMk/>
            <pc:sldMk cId="3240008992" sldId="874"/>
            <ac:spMk id="2" creationId="{8D0A2D7E-A45D-7F55-64BC-5169991AD9FF}"/>
          </ac:spMkLst>
        </pc:spChg>
        <pc:spChg chg="add mod">
          <ac:chgData name="Andreas Koksrud" userId="9d9beba6-c052-407a-8599-c781a677a996" providerId="ADAL" clId="{4C89AD2D-B60A-479F-9F95-9D423A06FAEA}" dt="2024-06-14T18:20:41.751" v="6532"/>
          <ac:spMkLst>
            <pc:docMk/>
            <pc:sldMk cId="3240008992" sldId="874"/>
            <ac:spMk id="4" creationId="{17301EEE-DB8B-DDE6-2EC5-CA50E9CF5C83}"/>
          </ac:spMkLst>
        </pc:spChg>
        <pc:spChg chg="add mod">
          <ac:chgData name="Andreas Koksrud" userId="9d9beba6-c052-407a-8599-c781a677a996" providerId="ADAL" clId="{4C89AD2D-B60A-479F-9F95-9D423A06FAEA}" dt="2024-06-14T18:20:41.751" v="6532"/>
          <ac:spMkLst>
            <pc:docMk/>
            <pc:sldMk cId="3240008992" sldId="874"/>
            <ac:spMk id="5" creationId="{5D1F7A92-C360-088A-2BFA-E464B5120023}"/>
          </ac:spMkLst>
        </pc:spChg>
        <pc:spChg chg="mod">
          <ac:chgData name="Andreas Koksrud" userId="9d9beba6-c052-407a-8599-c781a677a996" providerId="ADAL" clId="{4C89AD2D-B60A-479F-9F95-9D423A06FAEA}" dt="2024-07-02T18:09:07.083" v="18911" actId="20577"/>
          <ac:spMkLst>
            <pc:docMk/>
            <pc:sldMk cId="3240008992" sldId="874"/>
            <ac:spMk id="6" creationId="{D33A7F7C-0CFF-12D8-D3F9-55EA11817DA1}"/>
          </ac:spMkLst>
        </pc:spChg>
        <pc:spChg chg="del mod">
          <ac:chgData name="Andreas Koksrud" userId="9d9beba6-c052-407a-8599-c781a677a996" providerId="ADAL" clId="{4C89AD2D-B60A-479F-9F95-9D423A06FAEA}" dt="2024-07-02T18:10:09.396" v="18916" actId="478"/>
          <ac:spMkLst>
            <pc:docMk/>
            <pc:sldMk cId="3240008992" sldId="874"/>
            <ac:spMk id="7" creationId="{3E2A9D77-722A-7DF2-641F-63C31ADA7283}"/>
          </ac:spMkLst>
        </pc:spChg>
        <pc:spChg chg="add mod">
          <ac:chgData name="Andreas Koksrud" userId="9d9beba6-c052-407a-8599-c781a677a996" providerId="ADAL" clId="{4C89AD2D-B60A-479F-9F95-9D423A06FAEA}" dt="2024-07-02T18:47:22.378" v="19976" actId="20577"/>
          <ac:spMkLst>
            <pc:docMk/>
            <pc:sldMk cId="3240008992" sldId="874"/>
            <ac:spMk id="8" creationId="{8928A11D-61E0-D194-E095-83A6945E510F}"/>
          </ac:spMkLst>
        </pc:spChg>
        <pc:spChg chg="add mod">
          <ac:chgData name="Andreas Koksrud" userId="9d9beba6-c052-407a-8599-c781a677a996" providerId="ADAL" clId="{4C89AD2D-B60A-479F-9F95-9D423A06FAEA}" dt="2024-07-02T18:08:11.041" v="18869" actId="20577"/>
          <ac:spMkLst>
            <pc:docMk/>
            <pc:sldMk cId="3240008992" sldId="874"/>
            <ac:spMk id="9" creationId="{17DE3E7F-EEBC-12A2-C27B-3EB30C84980C}"/>
          </ac:spMkLst>
        </pc:spChg>
        <pc:spChg chg="del">
          <ac:chgData name="Andreas Koksrud" userId="9d9beba6-c052-407a-8599-c781a677a996" providerId="ADAL" clId="{4C89AD2D-B60A-479F-9F95-9D423A06FAEA}" dt="2024-07-02T18:07:29.696" v="18800" actId="478"/>
          <ac:spMkLst>
            <pc:docMk/>
            <pc:sldMk cId="3240008992" sldId="874"/>
            <ac:spMk id="20" creationId="{EBA460F1-79A3-E8FA-8EEE-CE28CA6EBCC2}"/>
          </ac:spMkLst>
        </pc:spChg>
        <pc:spChg chg="mod">
          <ac:chgData name="Andreas Koksrud" userId="9d9beba6-c052-407a-8599-c781a677a996" providerId="ADAL" clId="{4C89AD2D-B60A-479F-9F95-9D423A06FAEA}" dt="2024-07-02T18:07:18.694" v="18798" actId="20577"/>
          <ac:spMkLst>
            <pc:docMk/>
            <pc:sldMk cId="3240008992" sldId="874"/>
            <ac:spMk id="180" creationId="{00000000-0000-0000-0000-000000000000}"/>
          </ac:spMkLst>
        </pc:spChg>
        <pc:picChg chg="del">
          <ac:chgData name="Andreas Koksrud" userId="9d9beba6-c052-407a-8599-c781a677a996" providerId="ADAL" clId="{4C89AD2D-B60A-479F-9F95-9D423A06FAEA}" dt="2024-07-02T18:07:35.080" v="18802" actId="478"/>
          <ac:picMkLst>
            <pc:docMk/>
            <pc:sldMk cId="3240008992" sldId="874"/>
            <ac:picMk id="3" creationId="{464C77B1-57DA-B3A2-90F0-9BD177989E1A}"/>
          </ac:picMkLst>
        </pc:picChg>
        <pc:picChg chg="add mod">
          <ac:chgData name="Andreas Koksrud" userId="9d9beba6-c052-407a-8599-c781a677a996" providerId="ADAL" clId="{4C89AD2D-B60A-479F-9F95-9D423A06FAEA}" dt="2024-07-02T18:08:56.159" v="18872" actId="1076"/>
          <ac:picMkLst>
            <pc:docMk/>
            <pc:sldMk cId="3240008992" sldId="874"/>
            <ac:picMk id="11" creationId="{0657F2E5-C1D0-5271-98F9-0C9B91D9D3E0}"/>
          </ac:picMkLst>
        </pc:picChg>
        <pc:picChg chg="del">
          <ac:chgData name="Andreas Koksrud" userId="9d9beba6-c052-407a-8599-c781a677a996" providerId="ADAL" clId="{4C89AD2D-B60A-479F-9F95-9D423A06FAEA}" dt="2024-07-02T18:07:26.145" v="18799" actId="478"/>
          <ac:picMkLst>
            <pc:docMk/>
            <pc:sldMk cId="3240008992" sldId="874"/>
            <ac:picMk id="13" creationId="{A391CAD2-13C6-0DF9-61B2-EB6C186128C8}"/>
          </ac:picMkLst>
        </pc:picChg>
        <pc:picChg chg="add mod">
          <ac:chgData name="Andreas Koksrud" userId="9d9beba6-c052-407a-8599-c781a677a996" providerId="ADAL" clId="{4C89AD2D-B60A-479F-9F95-9D423A06FAEA}" dt="2024-07-02T18:10:19.698" v="18917" actId="1076"/>
          <ac:picMkLst>
            <pc:docMk/>
            <pc:sldMk cId="3240008992" sldId="874"/>
            <ac:picMk id="14" creationId="{7608F687-685D-C88B-3341-A9421C76EA4C}"/>
          </ac:picMkLst>
        </pc:picChg>
        <pc:picChg chg="add mod">
          <ac:chgData name="Andreas Koksrud" userId="9d9beba6-c052-407a-8599-c781a677a996" providerId="ADAL" clId="{4C89AD2D-B60A-479F-9F95-9D423A06FAEA}" dt="2024-07-02T18:31:46.135" v="19794" actId="14826"/>
          <ac:picMkLst>
            <pc:docMk/>
            <pc:sldMk cId="3240008992" sldId="874"/>
            <ac:picMk id="17" creationId="{A2E35820-F204-C5BA-5DAF-EE7048B44AA6}"/>
          </ac:picMkLst>
        </pc:picChg>
        <pc:cxnChg chg="del">
          <ac:chgData name="Andreas Koksrud" userId="9d9beba6-c052-407a-8599-c781a677a996" providerId="ADAL" clId="{4C89AD2D-B60A-479F-9F95-9D423A06FAEA}" dt="2024-07-02T18:07:31.972" v="18801" actId="478"/>
          <ac:cxnSpMkLst>
            <pc:docMk/>
            <pc:sldMk cId="3240008992" sldId="874"/>
            <ac:cxnSpMk id="15" creationId="{95E809D4-907B-DDAA-B441-48BBD6C78CE4}"/>
          </ac:cxnSpMkLst>
        </pc:cxnChg>
        <pc:cxnChg chg="add mod">
          <ac:chgData name="Andreas Koksrud" userId="9d9beba6-c052-407a-8599-c781a677a996" providerId="ADAL" clId="{4C89AD2D-B60A-479F-9F95-9D423A06FAEA}" dt="2024-07-02T18:11:06.681" v="18922" actId="1076"/>
          <ac:cxnSpMkLst>
            <pc:docMk/>
            <pc:sldMk cId="3240008992" sldId="874"/>
            <ac:cxnSpMk id="18" creationId="{F15954A3-9EAE-986F-8780-828A4F5F6201}"/>
          </ac:cxnSpMkLst>
        </pc:cxnChg>
      </pc:sldChg>
      <pc:sldChg chg="addSp modSp add del mod">
        <pc:chgData name="Andreas Koksrud" userId="9d9beba6-c052-407a-8599-c781a677a996" providerId="ADAL" clId="{4C89AD2D-B60A-479F-9F95-9D423A06FAEA}" dt="2024-07-20T19:00:08.825" v="26122" actId="6549"/>
        <pc:sldMkLst>
          <pc:docMk/>
          <pc:sldMk cId="3825753762" sldId="875"/>
        </pc:sldMkLst>
        <pc:spChg chg="mod">
          <ac:chgData name="Andreas Koksrud" userId="9d9beba6-c052-407a-8599-c781a677a996" providerId="ADAL" clId="{4C89AD2D-B60A-479F-9F95-9D423A06FAEA}" dt="2024-07-20T19:00:08.825" v="26122" actId="6549"/>
          <ac:spMkLst>
            <pc:docMk/>
            <pc:sldMk cId="3825753762" sldId="875"/>
            <ac:spMk id="2" creationId="{0C578A6C-5215-9DFE-51D6-8AA7A3E4A34A}"/>
          </ac:spMkLst>
        </pc:spChg>
        <pc:spChg chg="add mod">
          <ac:chgData name="Andreas Koksrud" userId="9d9beba6-c052-407a-8599-c781a677a996" providerId="ADAL" clId="{4C89AD2D-B60A-479F-9F95-9D423A06FAEA}" dt="2024-06-14T18:20:47.593" v="6538"/>
          <ac:spMkLst>
            <pc:docMk/>
            <pc:sldMk cId="3825753762" sldId="875"/>
            <ac:spMk id="4" creationId="{4A4FE96D-551B-763D-866F-E4D821F14B85}"/>
          </ac:spMkLst>
        </pc:spChg>
        <pc:spChg chg="add mod">
          <ac:chgData name="Andreas Koksrud" userId="9d9beba6-c052-407a-8599-c781a677a996" providerId="ADAL" clId="{4C89AD2D-B60A-479F-9F95-9D423A06FAEA}" dt="2024-06-14T18:20:47.593" v="6538"/>
          <ac:spMkLst>
            <pc:docMk/>
            <pc:sldMk cId="3825753762" sldId="875"/>
            <ac:spMk id="8" creationId="{2DEEE9B2-D543-DD70-2451-4C6596D07989}"/>
          </ac:spMkLst>
        </pc:spChg>
      </pc:sldChg>
      <pc:sldChg chg="addSp modSp add del">
        <pc:chgData name="Andreas Koksrud" userId="9d9beba6-c052-407a-8599-c781a677a996" providerId="ADAL" clId="{4C89AD2D-B60A-479F-9F95-9D423A06FAEA}" dt="2024-06-14T18:24:38.674" v="6768"/>
        <pc:sldMkLst>
          <pc:docMk/>
          <pc:sldMk cId="1529294142" sldId="876"/>
        </pc:sldMkLst>
        <pc:spChg chg="add mod">
          <ac:chgData name="Andreas Koksrud" userId="9d9beba6-c052-407a-8599-c781a677a996" providerId="ADAL" clId="{4C89AD2D-B60A-479F-9F95-9D423A06FAEA}" dt="2024-06-14T18:24:38.674" v="6768"/>
          <ac:spMkLst>
            <pc:docMk/>
            <pc:sldMk cId="1529294142" sldId="876"/>
            <ac:spMk id="4" creationId="{084E59C7-DC57-617C-4D2B-9DECE61BC81D}"/>
          </ac:spMkLst>
        </pc:spChg>
        <pc:spChg chg="add mod">
          <ac:chgData name="Andreas Koksrud" userId="9d9beba6-c052-407a-8599-c781a677a996" providerId="ADAL" clId="{4C89AD2D-B60A-479F-9F95-9D423A06FAEA}" dt="2024-06-14T18:24:38.674" v="6768"/>
          <ac:spMkLst>
            <pc:docMk/>
            <pc:sldMk cId="1529294142" sldId="876"/>
            <ac:spMk id="10" creationId="{3622807A-09F7-1FB4-2813-51CC9244ABE6}"/>
          </ac:spMkLst>
        </pc:spChg>
      </pc:sldChg>
      <pc:sldChg chg="addSp modSp add del">
        <pc:chgData name="Andreas Koksrud" userId="9d9beba6-c052-407a-8599-c781a677a996" providerId="ADAL" clId="{4C89AD2D-B60A-479F-9F95-9D423A06FAEA}" dt="2024-06-14T18:24:39.667" v="6769"/>
        <pc:sldMkLst>
          <pc:docMk/>
          <pc:sldMk cId="1680702220" sldId="877"/>
        </pc:sldMkLst>
        <pc:spChg chg="add mod">
          <ac:chgData name="Andreas Koksrud" userId="9d9beba6-c052-407a-8599-c781a677a996" providerId="ADAL" clId="{4C89AD2D-B60A-479F-9F95-9D423A06FAEA}" dt="2024-06-14T18:24:39.667" v="6769"/>
          <ac:spMkLst>
            <pc:docMk/>
            <pc:sldMk cId="1680702220" sldId="877"/>
            <ac:spMk id="3" creationId="{256C9DAD-B610-D337-4EAF-00D8D7BBFEF7}"/>
          </ac:spMkLst>
        </pc:spChg>
        <pc:spChg chg="add mod">
          <ac:chgData name="Andreas Koksrud" userId="9d9beba6-c052-407a-8599-c781a677a996" providerId="ADAL" clId="{4C89AD2D-B60A-479F-9F95-9D423A06FAEA}" dt="2024-06-14T18:24:39.667" v="6769"/>
          <ac:spMkLst>
            <pc:docMk/>
            <pc:sldMk cId="1680702220" sldId="877"/>
            <ac:spMk id="4" creationId="{E3077F41-C077-C248-0226-EB8B51D385B8}"/>
          </ac:spMkLst>
        </pc:spChg>
      </pc:sldChg>
      <pc:sldChg chg="addSp modSp add del">
        <pc:chgData name="Andreas Koksrud" userId="9d9beba6-c052-407a-8599-c781a677a996" providerId="ADAL" clId="{4C89AD2D-B60A-479F-9F95-9D423A06FAEA}" dt="2024-06-14T18:24:40.579" v="6770"/>
        <pc:sldMkLst>
          <pc:docMk/>
          <pc:sldMk cId="3516004309" sldId="878"/>
        </pc:sldMkLst>
        <pc:spChg chg="add mod">
          <ac:chgData name="Andreas Koksrud" userId="9d9beba6-c052-407a-8599-c781a677a996" providerId="ADAL" clId="{4C89AD2D-B60A-479F-9F95-9D423A06FAEA}" dt="2024-06-14T18:24:40.579" v="6770"/>
          <ac:spMkLst>
            <pc:docMk/>
            <pc:sldMk cId="3516004309" sldId="878"/>
            <ac:spMk id="2" creationId="{10E2DAEA-DC14-88BF-0C36-E359DDB07F5D}"/>
          </ac:spMkLst>
        </pc:spChg>
        <pc:spChg chg="add mod">
          <ac:chgData name="Andreas Koksrud" userId="9d9beba6-c052-407a-8599-c781a677a996" providerId="ADAL" clId="{4C89AD2D-B60A-479F-9F95-9D423A06FAEA}" dt="2024-06-14T18:24:40.579" v="6770"/>
          <ac:spMkLst>
            <pc:docMk/>
            <pc:sldMk cId="3516004309" sldId="878"/>
            <ac:spMk id="4" creationId="{22B7F2B1-6542-BFA6-0B83-E4991033BE0F}"/>
          </ac:spMkLst>
        </pc:spChg>
      </pc:sldChg>
      <pc:sldChg chg="addSp modSp add del">
        <pc:chgData name="Andreas Koksrud" userId="9d9beba6-c052-407a-8599-c781a677a996" providerId="ADAL" clId="{4C89AD2D-B60A-479F-9F95-9D423A06FAEA}" dt="2024-06-14T18:24:41.652" v="6771"/>
        <pc:sldMkLst>
          <pc:docMk/>
          <pc:sldMk cId="999972062" sldId="879"/>
        </pc:sldMkLst>
        <pc:spChg chg="add mod">
          <ac:chgData name="Andreas Koksrud" userId="9d9beba6-c052-407a-8599-c781a677a996" providerId="ADAL" clId="{4C89AD2D-B60A-479F-9F95-9D423A06FAEA}" dt="2024-06-14T18:24:41.652" v="6771"/>
          <ac:spMkLst>
            <pc:docMk/>
            <pc:sldMk cId="999972062" sldId="879"/>
            <ac:spMk id="2" creationId="{E990B076-9AAA-9165-1B2D-33736094D900}"/>
          </ac:spMkLst>
        </pc:spChg>
        <pc:spChg chg="add mod">
          <ac:chgData name="Andreas Koksrud" userId="9d9beba6-c052-407a-8599-c781a677a996" providerId="ADAL" clId="{4C89AD2D-B60A-479F-9F95-9D423A06FAEA}" dt="2024-06-14T18:24:41.652" v="6771"/>
          <ac:spMkLst>
            <pc:docMk/>
            <pc:sldMk cId="999972062" sldId="879"/>
            <ac:spMk id="3" creationId="{92331FA2-2710-EFC4-A914-C8FD060DA2E2}"/>
          </ac:spMkLst>
        </pc:spChg>
      </pc:sldChg>
      <pc:sldChg chg="addSp modSp add del">
        <pc:chgData name="Andreas Koksrud" userId="9d9beba6-c052-407a-8599-c781a677a996" providerId="ADAL" clId="{4C89AD2D-B60A-479F-9F95-9D423A06FAEA}" dt="2024-06-14T18:24:50.545" v="6780"/>
        <pc:sldMkLst>
          <pc:docMk/>
          <pc:sldMk cId="3205976706" sldId="880"/>
        </pc:sldMkLst>
        <pc:spChg chg="add mod">
          <ac:chgData name="Andreas Koksrud" userId="9d9beba6-c052-407a-8599-c781a677a996" providerId="ADAL" clId="{4C89AD2D-B60A-479F-9F95-9D423A06FAEA}" dt="2024-06-14T18:24:50.545" v="6780"/>
          <ac:spMkLst>
            <pc:docMk/>
            <pc:sldMk cId="3205976706" sldId="880"/>
            <ac:spMk id="2" creationId="{47318929-5447-3513-C07B-8802599ABBE9}"/>
          </ac:spMkLst>
        </pc:spChg>
        <pc:spChg chg="add mod">
          <ac:chgData name="Andreas Koksrud" userId="9d9beba6-c052-407a-8599-c781a677a996" providerId="ADAL" clId="{4C89AD2D-B60A-479F-9F95-9D423A06FAEA}" dt="2024-06-14T18:24:50.545" v="6780"/>
          <ac:spMkLst>
            <pc:docMk/>
            <pc:sldMk cId="3205976706" sldId="880"/>
            <ac:spMk id="3" creationId="{6553EA35-8395-9E04-B733-9B1A549A7D14}"/>
          </ac:spMkLst>
        </pc:spChg>
      </pc:sldChg>
      <pc:sldChg chg="addSp modSp add del">
        <pc:chgData name="Andreas Koksrud" userId="9d9beba6-c052-407a-8599-c781a677a996" providerId="ADAL" clId="{4C89AD2D-B60A-479F-9F95-9D423A06FAEA}" dt="2024-06-14T18:24:44.940" v="6774"/>
        <pc:sldMkLst>
          <pc:docMk/>
          <pc:sldMk cId="2279528697" sldId="881"/>
        </pc:sldMkLst>
        <pc:spChg chg="add mod">
          <ac:chgData name="Andreas Koksrud" userId="9d9beba6-c052-407a-8599-c781a677a996" providerId="ADAL" clId="{4C89AD2D-B60A-479F-9F95-9D423A06FAEA}" dt="2024-06-14T18:24:44.940" v="6774"/>
          <ac:spMkLst>
            <pc:docMk/>
            <pc:sldMk cId="2279528697" sldId="881"/>
            <ac:spMk id="2" creationId="{0884D1F7-A58F-CFF9-5C93-CE0DAA3FF5E7}"/>
          </ac:spMkLst>
        </pc:spChg>
        <pc:spChg chg="add mod">
          <ac:chgData name="Andreas Koksrud" userId="9d9beba6-c052-407a-8599-c781a677a996" providerId="ADAL" clId="{4C89AD2D-B60A-479F-9F95-9D423A06FAEA}" dt="2024-06-14T18:24:44.940" v="6774"/>
          <ac:spMkLst>
            <pc:docMk/>
            <pc:sldMk cId="2279528697" sldId="881"/>
            <ac:spMk id="3" creationId="{768856BF-81FE-B758-9370-AECA5AC63195}"/>
          </ac:spMkLst>
        </pc:spChg>
      </pc:sldChg>
      <pc:sldChg chg="addSp modSp add del">
        <pc:chgData name="Andreas Koksrud" userId="9d9beba6-c052-407a-8599-c781a677a996" providerId="ADAL" clId="{4C89AD2D-B60A-479F-9F95-9D423A06FAEA}" dt="2024-06-14T18:24:45.908" v="6775"/>
        <pc:sldMkLst>
          <pc:docMk/>
          <pc:sldMk cId="360095748" sldId="882"/>
        </pc:sldMkLst>
        <pc:spChg chg="add mod">
          <ac:chgData name="Andreas Koksrud" userId="9d9beba6-c052-407a-8599-c781a677a996" providerId="ADAL" clId="{4C89AD2D-B60A-479F-9F95-9D423A06FAEA}" dt="2024-06-14T18:24:45.908" v="6775"/>
          <ac:spMkLst>
            <pc:docMk/>
            <pc:sldMk cId="360095748" sldId="882"/>
            <ac:spMk id="2" creationId="{88118934-25C8-67FE-C498-E5D3C68D216C}"/>
          </ac:spMkLst>
        </pc:spChg>
        <pc:spChg chg="add mod">
          <ac:chgData name="Andreas Koksrud" userId="9d9beba6-c052-407a-8599-c781a677a996" providerId="ADAL" clId="{4C89AD2D-B60A-479F-9F95-9D423A06FAEA}" dt="2024-06-14T18:24:45.908" v="6775"/>
          <ac:spMkLst>
            <pc:docMk/>
            <pc:sldMk cId="360095748" sldId="882"/>
            <ac:spMk id="3" creationId="{4042013A-7FFE-A422-1E55-6E3D09AE940E}"/>
          </ac:spMkLst>
        </pc:spChg>
      </pc:sldChg>
      <pc:sldChg chg="addSp modSp add del">
        <pc:chgData name="Andreas Koksrud" userId="9d9beba6-c052-407a-8599-c781a677a996" providerId="ADAL" clId="{4C89AD2D-B60A-479F-9F95-9D423A06FAEA}" dt="2024-06-14T18:24:44.063" v="6773"/>
        <pc:sldMkLst>
          <pc:docMk/>
          <pc:sldMk cId="1917928831" sldId="883"/>
        </pc:sldMkLst>
        <pc:spChg chg="add mod">
          <ac:chgData name="Andreas Koksrud" userId="9d9beba6-c052-407a-8599-c781a677a996" providerId="ADAL" clId="{4C89AD2D-B60A-479F-9F95-9D423A06FAEA}" dt="2024-06-14T18:24:44.063" v="6773"/>
          <ac:spMkLst>
            <pc:docMk/>
            <pc:sldMk cId="1917928831" sldId="883"/>
            <ac:spMk id="2" creationId="{FB858C18-4913-7244-C319-31D7088B8696}"/>
          </ac:spMkLst>
        </pc:spChg>
        <pc:spChg chg="add mod">
          <ac:chgData name="Andreas Koksrud" userId="9d9beba6-c052-407a-8599-c781a677a996" providerId="ADAL" clId="{4C89AD2D-B60A-479F-9F95-9D423A06FAEA}" dt="2024-06-14T18:24:44.063" v="6773"/>
          <ac:spMkLst>
            <pc:docMk/>
            <pc:sldMk cId="1917928831" sldId="883"/>
            <ac:spMk id="4" creationId="{C03ABAAB-2035-B644-7ABE-819D898C131B}"/>
          </ac:spMkLst>
        </pc:spChg>
      </pc:sldChg>
      <pc:sldChg chg="addSp modSp add del">
        <pc:chgData name="Andreas Koksrud" userId="9d9beba6-c052-407a-8599-c781a677a996" providerId="ADAL" clId="{4C89AD2D-B60A-479F-9F95-9D423A06FAEA}" dt="2024-06-14T18:24:47.839" v="6777"/>
        <pc:sldMkLst>
          <pc:docMk/>
          <pc:sldMk cId="33461568" sldId="884"/>
        </pc:sldMkLst>
        <pc:spChg chg="add mod">
          <ac:chgData name="Andreas Koksrud" userId="9d9beba6-c052-407a-8599-c781a677a996" providerId="ADAL" clId="{4C89AD2D-B60A-479F-9F95-9D423A06FAEA}" dt="2024-06-14T18:24:47.839" v="6777"/>
          <ac:spMkLst>
            <pc:docMk/>
            <pc:sldMk cId="33461568" sldId="884"/>
            <ac:spMk id="2" creationId="{2D9048DA-20F4-84F3-E5E8-E4F3E3418E6A}"/>
          </ac:spMkLst>
        </pc:spChg>
        <pc:spChg chg="add mod">
          <ac:chgData name="Andreas Koksrud" userId="9d9beba6-c052-407a-8599-c781a677a996" providerId="ADAL" clId="{4C89AD2D-B60A-479F-9F95-9D423A06FAEA}" dt="2024-06-14T18:24:47.839" v="6777"/>
          <ac:spMkLst>
            <pc:docMk/>
            <pc:sldMk cId="33461568" sldId="884"/>
            <ac:spMk id="4" creationId="{855BBEB5-E635-9D79-3078-F8BA46C99AD6}"/>
          </ac:spMkLst>
        </pc:spChg>
      </pc:sldChg>
      <pc:sldChg chg="addSp modSp add del">
        <pc:chgData name="Andreas Koksrud" userId="9d9beba6-c052-407a-8599-c781a677a996" providerId="ADAL" clId="{4C89AD2D-B60A-479F-9F95-9D423A06FAEA}" dt="2024-06-14T18:24:46.824" v="6776"/>
        <pc:sldMkLst>
          <pc:docMk/>
          <pc:sldMk cId="2228775269" sldId="885"/>
        </pc:sldMkLst>
        <pc:spChg chg="add mod">
          <ac:chgData name="Andreas Koksrud" userId="9d9beba6-c052-407a-8599-c781a677a996" providerId="ADAL" clId="{4C89AD2D-B60A-479F-9F95-9D423A06FAEA}" dt="2024-06-14T18:24:46.824" v="6776"/>
          <ac:spMkLst>
            <pc:docMk/>
            <pc:sldMk cId="2228775269" sldId="885"/>
            <ac:spMk id="2" creationId="{B2770F2F-A44C-5418-7C09-2D45BDB35F76}"/>
          </ac:spMkLst>
        </pc:spChg>
        <pc:spChg chg="add mod">
          <ac:chgData name="Andreas Koksrud" userId="9d9beba6-c052-407a-8599-c781a677a996" providerId="ADAL" clId="{4C89AD2D-B60A-479F-9F95-9D423A06FAEA}" dt="2024-06-14T18:24:46.824" v="6776"/>
          <ac:spMkLst>
            <pc:docMk/>
            <pc:sldMk cId="2228775269" sldId="885"/>
            <ac:spMk id="4" creationId="{452039D2-F0B9-28EF-AD57-5BDF547F4FED}"/>
          </ac:spMkLst>
        </pc:spChg>
      </pc:sldChg>
      <pc:sldChg chg="addSp modSp add del">
        <pc:chgData name="Andreas Koksrud" userId="9d9beba6-c052-407a-8599-c781a677a996" providerId="ADAL" clId="{4C89AD2D-B60A-479F-9F95-9D423A06FAEA}" dt="2024-06-14T18:24:48.629" v="6778"/>
        <pc:sldMkLst>
          <pc:docMk/>
          <pc:sldMk cId="3576402817" sldId="886"/>
        </pc:sldMkLst>
        <pc:spChg chg="add mod">
          <ac:chgData name="Andreas Koksrud" userId="9d9beba6-c052-407a-8599-c781a677a996" providerId="ADAL" clId="{4C89AD2D-B60A-479F-9F95-9D423A06FAEA}" dt="2024-06-14T18:24:48.629" v="6778"/>
          <ac:spMkLst>
            <pc:docMk/>
            <pc:sldMk cId="3576402817" sldId="886"/>
            <ac:spMk id="2" creationId="{0A4BDE7A-8668-271A-B944-06DD862C8563}"/>
          </ac:spMkLst>
        </pc:spChg>
        <pc:spChg chg="add mod">
          <ac:chgData name="Andreas Koksrud" userId="9d9beba6-c052-407a-8599-c781a677a996" providerId="ADAL" clId="{4C89AD2D-B60A-479F-9F95-9D423A06FAEA}" dt="2024-06-14T18:24:48.629" v="6778"/>
          <ac:spMkLst>
            <pc:docMk/>
            <pc:sldMk cId="3576402817" sldId="886"/>
            <ac:spMk id="3" creationId="{621F9B19-ED37-E0F0-EAC7-FB3303393888}"/>
          </ac:spMkLst>
        </pc:spChg>
      </pc:sldChg>
      <pc:sldChg chg="addSp modSp add del">
        <pc:chgData name="Andreas Koksrud" userId="9d9beba6-c052-407a-8599-c781a677a996" providerId="ADAL" clId="{4C89AD2D-B60A-479F-9F95-9D423A06FAEA}" dt="2024-06-14T18:24:51.459" v="6781"/>
        <pc:sldMkLst>
          <pc:docMk/>
          <pc:sldMk cId="3284537785" sldId="887"/>
        </pc:sldMkLst>
        <pc:spChg chg="add mod">
          <ac:chgData name="Andreas Koksrud" userId="9d9beba6-c052-407a-8599-c781a677a996" providerId="ADAL" clId="{4C89AD2D-B60A-479F-9F95-9D423A06FAEA}" dt="2024-06-14T18:24:51.459" v="6781"/>
          <ac:spMkLst>
            <pc:docMk/>
            <pc:sldMk cId="3284537785" sldId="887"/>
            <ac:spMk id="2" creationId="{6113FC9A-DE65-5299-22AF-6569C3A01497}"/>
          </ac:spMkLst>
        </pc:spChg>
        <pc:spChg chg="add mod">
          <ac:chgData name="Andreas Koksrud" userId="9d9beba6-c052-407a-8599-c781a677a996" providerId="ADAL" clId="{4C89AD2D-B60A-479F-9F95-9D423A06FAEA}" dt="2024-06-14T18:24:51.459" v="6781"/>
          <ac:spMkLst>
            <pc:docMk/>
            <pc:sldMk cId="3284537785" sldId="887"/>
            <ac:spMk id="4" creationId="{2DBBFA18-7084-06CA-5B0B-091D1C963B3B}"/>
          </ac:spMkLst>
        </pc:spChg>
      </pc:sldChg>
      <pc:sldChg chg="addSp modSp add del">
        <pc:chgData name="Andreas Koksrud" userId="9d9beba6-c052-407a-8599-c781a677a996" providerId="ADAL" clId="{4C89AD2D-B60A-479F-9F95-9D423A06FAEA}" dt="2024-06-14T18:24:49.621" v="6779"/>
        <pc:sldMkLst>
          <pc:docMk/>
          <pc:sldMk cId="2194220150" sldId="888"/>
        </pc:sldMkLst>
        <pc:spChg chg="add mod">
          <ac:chgData name="Andreas Koksrud" userId="9d9beba6-c052-407a-8599-c781a677a996" providerId="ADAL" clId="{4C89AD2D-B60A-479F-9F95-9D423A06FAEA}" dt="2024-06-14T18:24:49.621" v="6779"/>
          <ac:spMkLst>
            <pc:docMk/>
            <pc:sldMk cId="2194220150" sldId="888"/>
            <ac:spMk id="2" creationId="{B81D3910-E93D-AF54-C73A-37F52467C874}"/>
          </ac:spMkLst>
        </pc:spChg>
        <pc:spChg chg="add mod">
          <ac:chgData name="Andreas Koksrud" userId="9d9beba6-c052-407a-8599-c781a677a996" providerId="ADAL" clId="{4C89AD2D-B60A-479F-9F95-9D423A06FAEA}" dt="2024-06-14T18:24:49.621" v="6779"/>
          <ac:spMkLst>
            <pc:docMk/>
            <pc:sldMk cId="2194220150" sldId="888"/>
            <ac:spMk id="3" creationId="{A0C121F7-D3D0-0F43-3B80-3C6C6E105932}"/>
          </ac:spMkLst>
        </pc:spChg>
      </pc:sldChg>
      <pc:sldChg chg="addSp modSp add del">
        <pc:chgData name="Andreas Koksrud" userId="9d9beba6-c052-407a-8599-c781a677a996" providerId="ADAL" clId="{4C89AD2D-B60A-479F-9F95-9D423A06FAEA}" dt="2024-06-14T18:24:52.373" v="6782"/>
        <pc:sldMkLst>
          <pc:docMk/>
          <pc:sldMk cId="797114304" sldId="889"/>
        </pc:sldMkLst>
        <pc:spChg chg="add mod">
          <ac:chgData name="Andreas Koksrud" userId="9d9beba6-c052-407a-8599-c781a677a996" providerId="ADAL" clId="{4C89AD2D-B60A-479F-9F95-9D423A06FAEA}" dt="2024-06-14T18:24:52.373" v="6782"/>
          <ac:spMkLst>
            <pc:docMk/>
            <pc:sldMk cId="797114304" sldId="889"/>
            <ac:spMk id="3" creationId="{E60ADC3A-E449-C067-3990-51EC2DF6B99A}"/>
          </ac:spMkLst>
        </pc:spChg>
        <pc:spChg chg="add mod">
          <ac:chgData name="Andreas Koksrud" userId="9d9beba6-c052-407a-8599-c781a677a996" providerId="ADAL" clId="{4C89AD2D-B60A-479F-9F95-9D423A06FAEA}" dt="2024-06-14T18:24:52.373" v="6782"/>
          <ac:spMkLst>
            <pc:docMk/>
            <pc:sldMk cId="797114304" sldId="889"/>
            <ac:spMk id="5" creationId="{EFEBA978-71D6-967C-9479-C6EEFF00A117}"/>
          </ac:spMkLst>
        </pc:spChg>
      </pc:sldChg>
      <pc:sldChg chg="addSp modSp add del">
        <pc:chgData name="Andreas Koksrud" userId="9d9beba6-c052-407a-8599-c781a677a996" providerId="ADAL" clId="{4C89AD2D-B60A-479F-9F95-9D423A06FAEA}" dt="2024-06-14T18:24:54.644" v="6784"/>
        <pc:sldMkLst>
          <pc:docMk/>
          <pc:sldMk cId="2383107090" sldId="890"/>
        </pc:sldMkLst>
        <pc:spChg chg="add mod">
          <ac:chgData name="Andreas Koksrud" userId="9d9beba6-c052-407a-8599-c781a677a996" providerId="ADAL" clId="{4C89AD2D-B60A-479F-9F95-9D423A06FAEA}" dt="2024-06-14T18:24:54.644" v="6784"/>
          <ac:spMkLst>
            <pc:docMk/>
            <pc:sldMk cId="2383107090" sldId="890"/>
            <ac:spMk id="3" creationId="{0FB9824C-9CAA-96A9-078C-2DB0CB368E96}"/>
          </ac:spMkLst>
        </pc:spChg>
        <pc:spChg chg="add mod">
          <ac:chgData name="Andreas Koksrud" userId="9d9beba6-c052-407a-8599-c781a677a996" providerId="ADAL" clId="{4C89AD2D-B60A-479F-9F95-9D423A06FAEA}" dt="2024-06-14T18:24:54.644" v="6784"/>
          <ac:spMkLst>
            <pc:docMk/>
            <pc:sldMk cId="2383107090" sldId="890"/>
            <ac:spMk id="5" creationId="{890AAFA2-1B6E-35EE-8B1E-399437B13189}"/>
          </ac:spMkLst>
        </pc:spChg>
      </pc:sldChg>
      <pc:sldChg chg="addSp delSp modSp add mod ord chgLayout">
        <pc:chgData name="Andreas Koksrud" userId="9d9beba6-c052-407a-8599-c781a677a996" providerId="ADAL" clId="{4C89AD2D-B60A-479F-9F95-9D423A06FAEA}" dt="2024-08-04T15:44:52.140" v="35986"/>
        <pc:sldMkLst>
          <pc:docMk/>
          <pc:sldMk cId="3146980650" sldId="891"/>
        </pc:sldMkLst>
        <pc:spChg chg="add del mod">
          <ac:chgData name="Andreas Koksrud" userId="9d9beba6-c052-407a-8599-c781a677a996" providerId="ADAL" clId="{4C89AD2D-B60A-479F-9F95-9D423A06FAEA}" dt="2024-06-14T18:11:22.350" v="5885" actId="478"/>
          <ac:spMkLst>
            <pc:docMk/>
            <pc:sldMk cId="3146980650" sldId="891"/>
            <ac:spMk id="3" creationId="{6E4D2412-49CD-897E-3C9A-4B96F2327E45}"/>
          </ac:spMkLst>
        </pc:spChg>
        <pc:spChg chg="add mod">
          <ac:chgData name="Andreas Koksrud" userId="9d9beba6-c052-407a-8599-c781a677a996" providerId="ADAL" clId="{4C89AD2D-B60A-479F-9F95-9D423A06FAEA}" dt="2024-06-14T18:12:14.598" v="5913"/>
          <ac:spMkLst>
            <pc:docMk/>
            <pc:sldMk cId="3146980650" sldId="891"/>
            <ac:spMk id="4" creationId="{FAFA46FA-B501-269C-8563-699E3F5DE947}"/>
          </ac:spMkLst>
        </pc:spChg>
        <pc:spChg chg="del mod">
          <ac:chgData name="Andreas Koksrud" userId="9d9beba6-c052-407a-8599-c781a677a996" providerId="ADAL" clId="{4C89AD2D-B60A-479F-9F95-9D423A06FAEA}" dt="2024-06-14T12:38:02.061" v="4966" actId="26606"/>
          <ac:spMkLst>
            <pc:docMk/>
            <pc:sldMk cId="3146980650" sldId="891"/>
            <ac:spMk id="5" creationId="{06C331F7-EF3E-5E7F-9901-C355F1A9896B}"/>
          </ac:spMkLst>
        </pc:spChg>
        <pc:spChg chg="add mod">
          <ac:chgData name="Andreas Koksrud" userId="9d9beba6-c052-407a-8599-c781a677a996" providerId="ADAL" clId="{4C89AD2D-B60A-479F-9F95-9D423A06FAEA}" dt="2024-06-14T18:12:46.899" v="5961" actId="20577"/>
          <ac:spMkLst>
            <pc:docMk/>
            <pc:sldMk cId="3146980650" sldId="891"/>
            <ac:spMk id="6" creationId="{9594E367-A5C0-9E5F-38CE-5B5E04D992E1}"/>
          </ac:spMkLst>
        </pc:spChg>
        <pc:spChg chg="mod ord">
          <ac:chgData name="Andreas Koksrud" userId="9d9beba6-c052-407a-8599-c781a677a996" providerId="ADAL" clId="{4C89AD2D-B60A-479F-9F95-9D423A06FAEA}" dt="2024-06-14T12:38:02.061" v="4966" actId="26606"/>
          <ac:spMkLst>
            <pc:docMk/>
            <pc:sldMk cId="3146980650" sldId="891"/>
            <ac:spMk id="124" creationId="{84E04E4E-021A-44EA-A21F-D749783987DC}"/>
          </ac:spMkLst>
        </pc:spChg>
        <pc:spChg chg="mod">
          <ac:chgData name="Andreas Koksrud" userId="9d9beba6-c052-407a-8599-c781a677a996" providerId="ADAL" clId="{4C89AD2D-B60A-479F-9F95-9D423A06FAEA}" dt="2024-06-14T12:38:02.061" v="4966" actId="26606"/>
          <ac:spMkLst>
            <pc:docMk/>
            <pc:sldMk cId="3146980650" sldId="891"/>
            <ac:spMk id="180" creationId="{00000000-0000-0000-0000-000000000000}"/>
          </ac:spMkLst>
        </pc:spChg>
        <pc:spChg chg="add del mod">
          <ac:chgData name="Andreas Koksrud" userId="9d9beba6-c052-407a-8599-c781a677a996" providerId="ADAL" clId="{4C89AD2D-B60A-479F-9F95-9D423A06FAEA}" dt="2024-06-14T12:38:05.015" v="4967" actId="478"/>
          <ac:spMkLst>
            <pc:docMk/>
            <pc:sldMk cId="3146980650" sldId="891"/>
            <ac:spMk id="186" creationId="{65136EB8-A26E-20B7-0F85-53FAE7E48792}"/>
          </ac:spMkLst>
        </pc:spChg>
        <pc:graphicFrameChg chg="add mod modGraphic">
          <ac:chgData name="Andreas Koksrud" userId="9d9beba6-c052-407a-8599-c781a677a996" providerId="ADAL" clId="{4C89AD2D-B60A-479F-9F95-9D423A06FAEA}" dt="2024-08-04T15:44:52.140" v="35986"/>
          <ac:graphicFrameMkLst>
            <pc:docMk/>
            <pc:sldMk cId="3146980650" sldId="891"/>
            <ac:graphicFrameMk id="182" creationId="{31C961BD-9981-8CD8-539D-AB011F3808BE}"/>
          </ac:graphicFrameMkLst>
        </pc:graphicFrameChg>
      </pc:sldChg>
      <pc:sldChg chg="addSp delSp modSp add mod ord">
        <pc:chgData name="Andreas Koksrud" userId="9d9beba6-c052-407a-8599-c781a677a996" providerId="ADAL" clId="{4C89AD2D-B60A-479F-9F95-9D423A06FAEA}" dt="2024-06-30T15:43:10.979" v="13920" actId="20577"/>
        <pc:sldMkLst>
          <pc:docMk/>
          <pc:sldMk cId="3243061228" sldId="892"/>
        </pc:sldMkLst>
        <pc:spChg chg="add del mod">
          <ac:chgData name="Andreas Koksrud" userId="9d9beba6-c052-407a-8599-c781a677a996" providerId="ADAL" clId="{4C89AD2D-B60A-479F-9F95-9D423A06FAEA}" dt="2024-06-14T18:11:24.170" v="5886" actId="478"/>
          <ac:spMkLst>
            <pc:docMk/>
            <pc:sldMk cId="3243061228" sldId="892"/>
            <ac:spMk id="3" creationId="{7B7D6619-59E8-33ED-D074-3700A1C437C1}"/>
          </ac:spMkLst>
        </pc:spChg>
        <pc:spChg chg="add mod">
          <ac:chgData name="Andreas Koksrud" userId="9d9beba6-c052-407a-8599-c781a677a996" providerId="ADAL" clId="{4C89AD2D-B60A-479F-9F95-9D423A06FAEA}" dt="2024-06-14T18:12:16.078" v="5914"/>
          <ac:spMkLst>
            <pc:docMk/>
            <pc:sldMk cId="3243061228" sldId="892"/>
            <ac:spMk id="4" creationId="{DE0C575D-F875-9B15-8F31-C1C17BBB6875}"/>
          </ac:spMkLst>
        </pc:spChg>
        <pc:spChg chg="mod">
          <ac:chgData name="Andreas Koksrud" userId="9d9beba6-c052-407a-8599-c781a677a996" providerId="ADAL" clId="{4C89AD2D-B60A-479F-9F95-9D423A06FAEA}" dt="2024-06-30T15:43:10.979" v="13920" actId="20577"/>
          <ac:spMkLst>
            <pc:docMk/>
            <pc:sldMk cId="3243061228" sldId="892"/>
            <ac:spMk id="5" creationId="{06C331F7-EF3E-5E7F-9901-C355F1A9896B}"/>
          </ac:spMkLst>
        </pc:spChg>
        <pc:spChg chg="add mod">
          <ac:chgData name="Andreas Koksrud" userId="9d9beba6-c052-407a-8599-c781a677a996" providerId="ADAL" clId="{4C89AD2D-B60A-479F-9F95-9D423A06FAEA}" dt="2024-06-14T18:12:42.899" v="5954" actId="20577"/>
          <ac:spMkLst>
            <pc:docMk/>
            <pc:sldMk cId="3243061228" sldId="892"/>
            <ac:spMk id="6" creationId="{8AD0F756-29C2-587E-484F-82A0EBA49B8C}"/>
          </ac:spMkLst>
        </pc:spChg>
        <pc:spChg chg="mod">
          <ac:chgData name="Andreas Koksrud" userId="9d9beba6-c052-407a-8599-c781a677a996" providerId="ADAL" clId="{4C89AD2D-B60A-479F-9F95-9D423A06FAEA}" dt="2024-06-30T15:24:41.926" v="13396" actId="20577"/>
          <ac:spMkLst>
            <pc:docMk/>
            <pc:sldMk cId="3243061228" sldId="892"/>
            <ac:spMk id="180" creationId="{00000000-0000-0000-0000-000000000000}"/>
          </ac:spMkLst>
        </pc:spChg>
      </pc:sldChg>
      <pc:sldChg chg="addSp delSp modSp add mod">
        <pc:chgData name="Andreas Koksrud" userId="9d9beba6-c052-407a-8599-c781a677a996" providerId="ADAL" clId="{4C89AD2D-B60A-479F-9F95-9D423A06FAEA}" dt="2024-07-24T19:28:02.102" v="27567" actId="13926"/>
        <pc:sldMkLst>
          <pc:docMk/>
          <pc:sldMk cId="2673461105" sldId="893"/>
        </pc:sldMkLst>
        <pc:spChg chg="add del mod">
          <ac:chgData name="Andreas Koksrud" userId="9d9beba6-c052-407a-8599-c781a677a996" providerId="ADAL" clId="{4C89AD2D-B60A-479F-9F95-9D423A06FAEA}" dt="2024-06-14T18:11:18.820" v="5884" actId="478"/>
          <ac:spMkLst>
            <pc:docMk/>
            <pc:sldMk cId="2673461105" sldId="893"/>
            <ac:spMk id="3" creationId="{35265085-39B9-E63E-54B2-BBC0553162CB}"/>
          </ac:spMkLst>
        </pc:spChg>
        <pc:spChg chg="add mod">
          <ac:chgData name="Andreas Koksrud" userId="9d9beba6-c052-407a-8599-c781a677a996" providerId="ADAL" clId="{4C89AD2D-B60A-479F-9F95-9D423A06FAEA}" dt="2024-06-14T18:12:12.420" v="5912"/>
          <ac:spMkLst>
            <pc:docMk/>
            <pc:sldMk cId="2673461105" sldId="893"/>
            <ac:spMk id="4" creationId="{DEC98ECE-C34E-0F75-4962-EEA1044FEDC0}"/>
          </ac:spMkLst>
        </pc:spChg>
        <pc:spChg chg="mod">
          <ac:chgData name="Andreas Koksrud" userId="9d9beba6-c052-407a-8599-c781a677a996" providerId="ADAL" clId="{4C89AD2D-B60A-479F-9F95-9D423A06FAEA}" dt="2024-07-24T19:28:02.102" v="27567" actId="13926"/>
          <ac:spMkLst>
            <pc:docMk/>
            <pc:sldMk cId="2673461105" sldId="893"/>
            <ac:spMk id="5" creationId="{06C331F7-EF3E-5E7F-9901-C355F1A9896B}"/>
          </ac:spMkLst>
        </pc:spChg>
        <pc:spChg chg="add mod">
          <ac:chgData name="Andreas Koksrud" userId="9d9beba6-c052-407a-8599-c781a677a996" providerId="ADAL" clId="{4C89AD2D-B60A-479F-9F95-9D423A06FAEA}" dt="2024-06-14T18:12:55.638" v="5967" actId="20577"/>
          <ac:spMkLst>
            <pc:docMk/>
            <pc:sldMk cId="2673461105" sldId="893"/>
            <ac:spMk id="6" creationId="{C92B53A4-DA29-40AD-336D-B4CDEE76B510}"/>
          </ac:spMkLst>
        </pc:spChg>
        <pc:spChg chg="mod">
          <ac:chgData name="Andreas Koksrud" userId="9d9beba6-c052-407a-8599-c781a677a996" providerId="ADAL" clId="{4C89AD2D-B60A-479F-9F95-9D423A06FAEA}" dt="2024-06-09T15:56:12.042" v="632" actId="20577"/>
          <ac:spMkLst>
            <pc:docMk/>
            <pc:sldMk cId="2673461105" sldId="893"/>
            <ac:spMk id="180" creationId="{00000000-0000-0000-0000-000000000000}"/>
          </ac:spMkLst>
        </pc:spChg>
      </pc:sldChg>
      <pc:sldChg chg="addSp delSp modSp add mod">
        <pc:chgData name="Andreas Koksrud" userId="9d9beba6-c052-407a-8599-c781a677a996" providerId="ADAL" clId="{4C89AD2D-B60A-479F-9F95-9D423A06FAEA}" dt="2024-07-25T22:21:12.531" v="30243" actId="20577"/>
        <pc:sldMkLst>
          <pc:docMk/>
          <pc:sldMk cId="3219145646" sldId="894"/>
        </pc:sldMkLst>
        <pc:spChg chg="add del mod">
          <ac:chgData name="Andreas Koksrud" userId="9d9beba6-c052-407a-8599-c781a677a996" providerId="ADAL" clId="{4C89AD2D-B60A-479F-9F95-9D423A06FAEA}" dt="2024-06-15T12:44:23.613" v="7906" actId="478"/>
          <ac:spMkLst>
            <pc:docMk/>
            <pc:sldMk cId="3219145646" sldId="894"/>
            <ac:spMk id="2" creationId="{D2218BBC-5F79-26A8-11EB-A8418B65A000}"/>
          </ac:spMkLst>
        </pc:spChg>
        <pc:spChg chg="add mod">
          <ac:chgData name="Andreas Koksrud" userId="9d9beba6-c052-407a-8599-c781a677a996" providerId="ADAL" clId="{4C89AD2D-B60A-479F-9F95-9D423A06FAEA}" dt="2024-06-14T18:13:10.066" v="5969"/>
          <ac:spMkLst>
            <pc:docMk/>
            <pc:sldMk cId="3219145646" sldId="894"/>
            <ac:spMk id="4" creationId="{1B53A489-8570-0099-E749-8FD7574DC86E}"/>
          </ac:spMkLst>
        </pc:spChg>
        <pc:spChg chg="add mod">
          <ac:chgData name="Andreas Koksrud" userId="9d9beba6-c052-407a-8599-c781a677a996" providerId="ADAL" clId="{4C89AD2D-B60A-479F-9F95-9D423A06FAEA}" dt="2024-06-14T18:13:16.679" v="5978" actId="20577"/>
          <ac:spMkLst>
            <pc:docMk/>
            <pc:sldMk cId="3219145646" sldId="894"/>
            <ac:spMk id="5" creationId="{6166047B-8814-0C38-10C7-8EB2A421732A}"/>
          </ac:spMkLst>
        </pc:spChg>
        <pc:spChg chg="mod">
          <ac:chgData name="Andreas Koksrud" userId="9d9beba6-c052-407a-8599-c781a677a996" providerId="ADAL" clId="{4C89AD2D-B60A-479F-9F95-9D423A06FAEA}" dt="2024-06-09T16:04:07.680" v="1258" actId="20577"/>
          <ac:spMkLst>
            <pc:docMk/>
            <pc:sldMk cId="3219145646" sldId="894"/>
            <ac:spMk id="180" creationId="{00000000-0000-0000-0000-000000000000}"/>
          </ac:spMkLst>
        </pc:spChg>
        <pc:spChg chg="mod">
          <ac:chgData name="Andreas Koksrud" userId="9d9beba6-c052-407a-8599-c781a677a996" providerId="ADAL" clId="{4C89AD2D-B60A-479F-9F95-9D423A06FAEA}" dt="2024-07-25T22:21:12.531" v="30243" actId="20577"/>
          <ac:spMkLst>
            <pc:docMk/>
            <pc:sldMk cId="3219145646" sldId="894"/>
            <ac:spMk id="181" creationId="{00000000-0000-0000-0000-000000000000}"/>
          </ac:spMkLst>
        </pc:spChg>
        <pc:picChg chg="add mod">
          <ac:chgData name="Andreas Koksrud" userId="9d9beba6-c052-407a-8599-c781a677a996" providerId="ADAL" clId="{4C89AD2D-B60A-479F-9F95-9D423A06FAEA}" dt="2024-07-25T22:19:47.389" v="30227" actId="1076"/>
          <ac:picMkLst>
            <pc:docMk/>
            <pc:sldMk cId="3219145646" sldId="894"/>
            <ac:picMk id="2" creationId="{AB32F7D6-E19E-497A-3F86-C104ABA28F5A}"/>
          </ac:picMkLst>
        </pc:picChg>
      </pc:sldChg>
      <pc:sldChg chg="modSp add del mod">
        <pc:chgData name="Andreas Koksrud" userId="9d9beba6-c052-407a-8599-c781a677a996" providerId="ADAL" clId="{4C89AD2D-B60A-479F-9F95-9D423A06FAEA}" dt="2024-06-09T16:06:52.111" v="1624" actId="47"/>
        <pc:sldMkLst>
          <pc:docMk/>
          <pc:sldMk cId="2918476849" sldId="895"/>
        </pc:sldMkLst>
        <pc:spChg chg="mod">
          <ac:chgData name="Andreas Koksrud" userId="9d9beba6-c052-407a-8599-c781a677a996" providerId="ADAL" clId="{4C89AD2D-B60A-479F-9F95-9D423A06FAEA}" dt="2024-06-09T16:04:46.500" v="1364" actId="20577"/>
          <ac:spMkLst>
            <pc:docMk/>
            <pc:sldMk cId="2918476849" sldId="895"/>
            <ac:spMk id="181" creationId="{00000000-0000-0000-0000-000000000000}"/>
          </ac:spMkLst>
        </pc:spChg>
      </pc:sldChg>
      <pc:sldChg chg="addSp delSp modSp add mod">
        <pc:chgData name="Andreas Koksrud" userId="9d9beba6-c052-407a-8599-c781a677a996" providerId="ADAL" clId="{4C89AD2D-B60A-479F-9F95-9D423A06FAEA}" dt="2024-07-31T19:24:29.615" v="31664"/>
        <pc:sldMkLst>
          <pc:docMk/>
          <pc:sldMk cId="2337525422" sldId="896"/>
        </pc:sldMkLst>
        <pc:spChg chg="add mod">
          <ac:chgData name="Andreas Koksrud" userId="9d9beba6-c052-407a-8599-c781a677a996" providerId="ADAL" clId="{4C89AD2D-B60A-479F-9F95-9D423A06FAEA}" dt="2024-06-14T18:13:20.266" v="5979"/>
          <ac:spMkLst>
            <pc:docMk/>
            <pc:sldMk cId="2337525422" sldId="896"/>
            <ac:spMk id="3" creationId="{0436C1E6-849D-6F32-454C-85CD2D06213E}"/>
          </ac:spMkLst>
        </pc:spChg>
        <pc:spChg chg="add mod">
          <ac:chgData name="Andreas Koksrud" userId="9d9beba6-c052-407a-8599-c781a677a996" providerId="ADAL" clId="{4C89AD2D-B60A-479F-9F95-9D423A06FAEA}" dt="2024-06-14T18:13:28.676" v="6008" actId="20577"/>
          <ac:spMkLst>
            <pc:docMk/>
            <pc:sldMk cId="2337525422" sldId="896"/>
            <ac:spMk id="4" creationId="{0974462C-B6CD-5AC1-6F38-F41CD1EDA65A}"/>
          </ac:spMkLst>
        </pc:spChg>
        <pc:spChg chg="add del mod">
          <ac:chgData name="Andreas Koksrud" userId="9d9beba6-c052-407a-8599-c781a677a996" providerId="ADAL" clId="{4C89AD2D-B60A-479F-9F95-9D423A06FAEA}" dt="2024-06-16T14:20:01.308" v="10402" actId="478"/>
          <ac:spMkLst>
            <pc:docMk/>
            <pc:sldMk cId="2337525422" sldId="896"/>
            <ac:spMk id="5" creationId="{A4755D63-F9C8-E71F-23AE-B7EBA116228D}"/>
          </ac:spMkLst>
        </pc:spChg>
        <pc:spChg chg="add mod">
          <ac:chgData name="Andreas Koksrud" userId="9d9beba6-c052-407a-8599-c781a677a996" providerId="ADAL" clId="{4C89AD2D-B60A-479F-9F95-9D423A06FAEA}" dt="2024-07-31T19:24:29.615" v="31664"/>
          <ac:spMkLst>
            <pc:docMk/>
            <pc:sldMk cId="2337525422" sldId="896"/>
            <ac:spMk id="6" creationId="{9C969DAC-2EBB-2DBC-9A8C-B83F40D2323A}"/>
          </ac:spMkLst>
        </pc:spChg>
        <pc:spChg chg="mod">
          <ac:chgData name="Andreas Koksrud" userId="9d9beba6-c052-407a-8599-c781a677a996" providerId="ADAL" clId="{4C89AD2D-B60A-479F-9F95-9D423A06FAEA}" dt="2024-07-30T04:18:59.368" v="31403" actId="20577"/>
          <ac:spMkLst>
            <pc:docMk/>
            <pc:sldMk cId="2337525422" sldId="896"/>
            <ac:spMk id="181" creationId="{00000000-0000-0000-0000-000000000000}"/>
          </ac:spMkLst>
        </pc:spChg>
        <pc:picChg chg="add del mod">
          <ac:chgData name="Andreas Koksrud" userId="9d9beba6-c052-407a-8599-c781a677a996" providerId="ADAL" clId="{4C89AD2D-B60A-479F-9F95-9D423A06FAEA}" dt="2024-06-17T17:54:50.456" v="11049" actId="478"/>
          <ac:picMkLst>
            <pc:docMk/>
            <pc:sldMk cId="2337525422" sldId="896"/>
            <ac:picMk id="5" creationId="{AB363283-69CC-A760-5008-223E8BAC2C22}"/>
          </ac:picMkLst>
        </pc:picChg>
        <pc:picChg chg="add mod ord">
          <ac:chgData name="Andreas Koksrud" userId="9d9beba6-c052-407a-8599-c781a677a996" providerId="ADAL" clId="{4C89AD2D-B60A-479F-9F95-9D423A06FAEA}" dt="2024-07-30T04:18:11.941" v="31311" actId="1076"/>
          <ac:picMkLst>
            <pc:docMk/>
            <pc:sldMk cId="2337525422" sldId="896"/>
            <ac:picMk id="13" creationId="{9261188E-BBB4-0D58-0DC3-A894997552E0}"/>
          </ac:picMkLst>
        </pc:picChg>
        <pc:cxnChg chg="add mod">
          <ac:chgData name="Andreas Koksrud" userId="9d9beba6-c052-407a-8599-c781a677a996" providerId="ADAL" clId="{4C89AD2D-B60A-479F-9F95-9D423A06FAEA}" dt="2024-07-30T04:18:11.941" v="31311" actId="1076"/>
          <ac:cxnSpMkLst>
            <pc:docMk/>
            <pc:sldMk cId="2337525422" sldId="896"/>
            <ac:cxnSpMk id="7" creationId="{B5825064-216D-4ADC-EAF0-DBB9144907A1}"/>
          </ac:cxnSpMkLst>
        </pc:cxnChg>
        <pc:cxnChg chg="add mod">
          <ac:chgData name="Andreas Koksrud" userId="9d9beba6-c052-407a-8599-c781a677a996" providerId="ADAL" clId="{4C89AD2D-B60A-479F-9F95-9D423A06FAEA}" dt="2024-06-17T17:49:31.886" v="11001"/>
          <ac:cxnSpMkLst>
            <pc:docMk/>
            <pc:sldMk cId="2337525422" sldId="896"/>
            <ac:cxnSpMk id="11" creationId="{A8358E83-B44C-507D-6E8C-05351FAFE7F6}"/>
          </ac:cxnSpMkLst>
        </pc:cxnChg>
      </pc:sldChg>
      <pc:sldChg chg="addSp modSp add mod">
        <pc:chgData name="Andreas Koksrud" userId="9d9beba6-c052-407a-8599-c781a677a996" providerId="ADAL" clId="{4C89AD2D-B60A-479F-9F95-9D423A06FAEA}" dt="2024-08-01T08:39:35.283" v="32830" actId="20577"/>
        <pc:sldMkLst>
          <pc:docMk/>
          <pc:sldMk cId="1698186835" sldId="897"/>
        </pc:sldMkLst>
        <pc:spChg chg="add mod">
          <ac:chgData name="Andreas Koksrud" userId="9d9beba6-c052-407a-8599-c781a677a996" providerId="ADAL" clId="{4C89AD2D-B60A-479F-9F95-9D423A06FAEA}" dt="2024-06-14T18:14:12.394" v="6018"/>
          <ac:spMkLst>
            <pc:docMk/>
            <pc:sldMk cId="1698186835" sldId="897"/>
            <ac:spMk id="3" creationId="{DE195669-58C7-6809-ADBB-87302C17F5B3}"/>
          </ac:spMkLst>
        </pc:spChg>
        <pc:spChg chg="add mod">
          <ac:chgData name="Andreas Koksrud" userId="9d9beba6-c052-407a-8599-c781a677a996" providerId="ADAL" clId="{4C89AD2D-B60A-479F-9F95-9D423A06FAEA}" dt="2024-06-14T18:14:18.793" v="6026" actId="20577"/>
          <ac:spMkLst>
            <pc:docMk/>
            <pc:sldMk cId="1698186835" sldId="897"/>
            <ac:spMk id="4" creationId="{14230EE4-A9B6-BD86-C62A-2BFAE71A2822}"/>
          </ac:spMkLst>
        </pc:spChg>
        <pc:spChg chg="mod">
          <ac:chgData name="Andreas Koksrud" userId="9d9beba6-c052-407a-8599-c781a677a996" providerId="ADAL" clId="{4C89AD2D-B60A-479F-9F95-9D423A06FAEA}" dt="2024-06-09T16:07:27.307" v="1671" actId="20577"/>
          <ac:spMkLst>
            <pc:docMk/>
            <pc:sldMk cId="1698186835" sldId="897"/>
            <ac:spMk id="180" creationId="{00000000-0000-0000-0000-000000000000}"/>
          </ac:spMkLst>
        </pc:spChg>
        <pc:spChg chg="mod">
          <ac:chgData name="Andreas Koksrud" userId="9d9beba6-c052-407a-8599-c781a677a996" providerId="ADAL" clId="{4C89AD2D-B60A-479F-9F95-9D423A06FAEA}" dt="2024-08-01T08:39:35.283" v="32830" actId="20577"/>
          <ac:spMkLst>
            <pc:docMk/>
            <pc:sldMk cId="1698186835" sldId="897"/>
            <ac:spMk id="181" creationId="{00000000-0000-0000-0000-000000000000}"/>
          </ac:spMkLst>
        </pc:spChg>
        <pc:picChg chg="add mod">
          <ac:chgData name="Andreas Koksrud" userId="9d9beba6-c052-407a-8599-c781a677a996" providerId="ADAL" clId="{4C89AD2D-B60A-479F-9F95-9D423A06FAEA}" dt="2024-06-30T09:31:06.456" v="12460" actId="1076"/>
          <ac:picMkLst>
            <pc:docMk/>
            <pc:sldMk cId="1698186835" sldId="897"/>
            <ac:picMk id="2050" creationId="{4D1C5D00-C5E4-7749-7197-C9B46645681E}"/>
          </ac:picMkLst>
        </pc:picChg>
      </pc:sldChg>
      <pc:sldChg chg="addSp delSp modSp add mod">
        <pc:chgData name="Andreas Koksrud" userId="9d9beba6-c052-407a-8599-c781a677a996" providerId="ADAL" clId="{4C89AD2D-B60A-479F-9F95-9D423A06FAEA}" dt="2024-08-01T09:00:17.818" v="34414" actId="1076"/>
        <pc:sldMkLst>
          <pc:docMk/>
          <pc:sldMk cId="3624130659" sldId="898"/>
        </pc:sldMkLst>
        <pc:spChg chg="add mod">
          <ac:chgData name="Andreas Koksrud" userId="9d9beba6-c052-407a-8599-c781a677a996" providerId="ADAL" clId="{4C89AD2D-B60A-479F-9F95-9D423A06FAEA}" dt="2024-06-14T18:14:34.907" v="6030"/>
          <ac:spMkLst>
            <pc:docMk/>
            <pc:sldMk cId="3624130659" sldId="898"/>
            <ac:spMk id="4" creationId="{DE31E3CE-1F59-7A8C-281A-D17BCA8237EA}"/>
          </ac:spMkLst>
        </pc:spChg>
        <pc:spChg chg="add mod">
          <ac:chgData name="Andreas Koksrud" userId="9d9beba6-c052-407a-8599-c781a677a996" providerId="ADAL" clId="{4C89AD2D-B60A-479F-9F95-9D423A06FAEA}" dt="2024-06-14T18:14:40.979" v="6039" actId="20577"/>
          <ac:spMkLst>
            <pc:docMk/>
            <pc:sldMk cId="3624130659" sldId="898"/>
            <ac:spMk id="5" creationId="{F8C53B93-A4D2-5C78-E224-F1F4C6AB4C84}"/>
          </ac:spMkLst>
        </pc:spChg>
        <pc:spChg chg="mod">
          <ac:chgData name="Andreas Koksrud" userId="9d9beba6-c052-407a-8599-c781a677a996" providerId="ADAL" clId="{4C89AD2D-B60A-479F-9F95-9D423A06FAEA}" dt="2024-06-09T16:07:48.229" v="1724" actId="20577"/>
          <ac:spMkLst>
            <pc:docMk/>
            <pc:sldMk cId="3624130659" sldId="898"/>
            <ac:spMk id="180" creationId="{00000000-0000-0000-0000-000000000000}"/>
          </ac:spMkLst>
        </pc:spChg>
        <pc:spChg chg="mod">
          <ac:chgData name="Andreas Koksrud" userId="9d9beba6-c052-407a-8599-c781a677a996" providerId="ADAL" clId="{4C89AD2D-B60A-479F-9F95-9D423A06FAEA}" dt="2024-08-01T08:59:16.754" v="34404"/>
          <ac:spMkLst>
            <pc:docMk/>
            <pc:sldMk cId="3624130659" sldId="898"/>
            <ac:spMk id="181" creationId="{00000000-0000-0000-0000-000000000000}"/>
          </ac:spMkLst>
        </pc:spChg>
        <pc:picChg chg="add del mod">
          <ac:chgData name="Andreas Koksrud" userId="9d9beba6-c052-407a-8599-c781a677a996" providerId="ADAL" clId="{4C89AD2D-B60A-479F-9F95-9D423A06FAEA}" dt="2024-07-05T19:19:04.431" v="20063" actId="478"/>
          <ac:picMkLst>
            <pc:docMk/>
            <pc:sldMk cId="3624130659" sldId="898"/>
            <ac:picMk id="3" creationId="{DBFC979B-2C45-BC09-60D9-9CD280D1798B}"/>
          </ac:picMkLst>
        </pc:picChg>
        <pc:picChg chg="add mod">
          <ac:chgData name="Andreas Koksrud" userId="9d9beba6-c052-407a-8599-c781a677a996" providerId="ADAL" clId="{4C89AD2D-B60A-479F-9F95-9D423A06FAEA}" dt="2024-08-01T09:00:17.818" v="34414" actId="1076"/>
          <ac:picMkLst>
            <pc:docMk/>
            <pc:sldMk cId="3624130659" sldId="898"/>
            <ac:picMk id="6" creationId="{C4B9405E-09BB-FE31-021E-77CB22C502A7}"/>
          </ac:picMkLst>
        </pc:picChg>
        <pc:picChg chg="add del mod">
          <ac:chgData name="Andreas Koksrud" userId="9d9beba6-c052-407a-8599-c781a677a996" providerId="ADAL" clId="{4C89AD2D-B60A-479F-9F95-9D423A06FAEA}" dt="2024-08-01T09:00:07.755" v="34410" actId="21"/>
          <ac:picMkLst>
            <pc:docMk/>
            <pc:sldMk cId="3624130659" sldId="898"/>
            <ac:picMk id="1026" creationId="{94E51968-0C13-D58E-DB77-78CBB7E99A6F}"/>
          </ac:picMkLst>
        </pc:picChg>
        <pc:cxnChg chg="add del mod">
          <ac:chgData name="Andreas Koksrud" userId="9d9beba6-c052-407a-8599-c781a677a996" providerId="ADAL" clId="{4C89AD2D-B60A-479F-9F95-9D423A06FAEA}" dt="2024-07-05T19:19:05.716" v="20064" actId="478"/>
          <ac:cxnSpMkLst>
            <pc:docMk/>
            <pc:sldMk cId="3624130659" sldId="898"/>
            <ac:cxnSpMk id="2" creationId="{4AD50FEF-2D91-79F7-C2C0-E3BFC6566731}"/>
          </ac:cxnSpMkLst>
        </pc:cxnChg>
      </pc:sldChg>
      <pc:sldChg chg="addSp modSp add mod">
        <pc:chgData name="Andreas Koksrud" userId="9d9beba6-c052-407a-8599-c781a677a996" providerId="ADAL" clId="{4C89AD2D-B60A-479F-9F95-9D423A06FAEA}" dt="2024-08-04T15:53:38.080" v="36223" actId="20577"/>
        <pc:sldMkLst>
          <pc:docMk/>
          <pc:sldMk cId="1695057909" sldId="899"/>
        </pc:sldMkLst>
        <pc:spChg chg="add mod">
          <ac:chgData name="Andreas Koksrud" userId="9d9beba6-c052-407a-8599-c781a677a996" providerId="ADAL" clId="{4C89AD2D-B60A-479F-9F95-9D423A06FAEA}" dt="2024-06-14T18:14:47.368" v="6040"/>
          <ac:spMkLst>
            <pc:docMk/>
            <pc:sldMk cId="1695057909" sldId="899"/>
            <ac:spMk id="3" creationId="{B79B450D-8DFD-EF2D-F0F8-4BB41A055BDC}"/>
          </ac:spMkLst>
        </pc:spChg>
        <pc:spChg chg="add mod">
          <ac:chgData name="Andreas Koksrud" userId="9d9beba6-c052-407a-8599-c781a677a996" providerId="ADAL" clId="{4C89AD2D-B60A-479F-9F95-9D423A06FAEA}" dt="2024-06-14T18:14:52.602" v="6049" actId="20577"/>
          <ac:spMkLst>
            <pc:docMk/>
            <pc:sldMk cId="1695057909" sldId="899"/>
            <ac:spMk id="4" creationId="{AC1EBB48-0581-2CD1-8294-9EAA10B2195B}"/>
          </ac:spMkLst>
        </pc:spChg>
        <pc:spChg chg="mod">
          <ac:chgData name="Andreas Koksrud" userId="9d9beba6-c052-407a-8599-c781a677a996" providerId="ADAL" clId="{4C89AD2D-B60A-479F-9F95-9D423A06FAEA}" dt="2024-06-09T16:09:06.033" v="1975" actId="20577"/>
          <ac:spMkLst>
            <pc:docMk/>
            <pc:sldMk cId="1695057909" sldId="899"/>
            <ac:spMk id="180" creationId="{00000000-0000-0000-0000-000000000000}"/>
          </ac:spMkLst>
        </pc:spChg>
        <pc:spChg chg="mod">
          <ac:chgData name="Andreas Koksrud" userId="9d9beba6-c052-407a-8599-c781a677a996" providerId="ADAL" clId="{4C89AD2D-B60A-479F-9F95-9D423A06FAEA}" dt="2024-08-04T15:53:38.080" v="36223" actId="20577"/>
          <ac:spMkLst>
            <pc:docMk/>
            <pc:sldMk cId="1695057909" sldId="899"/>
            <ac:spMk id="181" creationId="{00000000-0000-0000-0000-000000000000}"/>
          </ac:spMkLst>
        </pc:spChg>
      </pc:sldChg>
      <pc:sldChg chg="addSp modSp add mod">
        <pc:chgData name="Andreas Koksrud" userId="9d9beba6-c052-407a-8599-c781a677a996" providerId="ADAL" clId="{4C89AD2D-B60A-479F-9F95-9D423A06FAEA}" dt="2024-08-03T09:30:22.735" v="35091" actId="6549"/>
        <pc:sldMkLst>
          <pc:docMk/>
          <pc:sldMk cId="1681035015" sldId="900"/>
        </pc:sldMkLst>
        <pc:spChg chg="add mod">
          <ac:chgData name="Andreas Koksrud" userId="9d9beba6-c052-407a-8599-c781a677a996" providerId="ADAL" clId="{4C89AD2D-B60A-479F-9F95-9D423A06FAEA}" dt="2024-06-14T18:16:49.140" v="6224" actId="20577"/>
          <ac:spMkLst>
            <pc:docMk/>
            <pc:sldMk cId="1681035015" sldId="900"/>
            <ac:spMk id="3" creationId="{8B0EB746-8244-5757-EA77-ABE9D60BF1DB}"/>
          </ac:spMkLst>
        </pc:spChg>
        <pc:spChg chg="add mod">
          <ac:chgData name="Andreas Koksrud" userId="9d9beba6-c052-407a-8599-c781a677a996" providerId="ADAL" clId="{4C89AD2D-B60A-479F-9F95-9D423A06FAEA}" dt="2024-06-14T18:17:10.941" v="6295" actId="20577"/>
          <ac:spMkLst>
            <pc:docMk/>
            <pc:sldMk cId="1681035015" sldId="900"/>
            <ac:spMk id="4" creationId="{6D5A99BA-E2FE-FBF1-0ABF-DEC72FED1C6A}"/>
          </ac:spMkLst>
        </pc:spChg>
        <pc:spChg chg="mod">
          <ac:chgData name="Andreas Koksrud" userId="9d9beba6-c052-407a-8599-c781a677a996" providerId="ADAL" clId="{4C89AD2D-B60A-479F-9F95-9D423A06FAEA}" dt="2024-06-09T16:18:41.260" v="2435" actId="20577"/>
          <ac:spMkLst>
            <pc:docMk/>
            <pc:sldMk cId="1681035015" sldId="900"/>
            <ac:spMk id="180" creationId="{00000000-0000-0000-0000-000000000000}"/>
          </ac:spMkLst>
        </pc:spChg>
        <pc:spChg chg="mod">
          <ac:chgData name="Andreas Koksrud" userId="9d9beba6-c052-407a-8599-c781a677a996" providerId="ADAL" clId="{4C89AD2D-B60A-479F-9F95-9D423A06FAEA}" dt="2024-08-03T09:30:22.735" v="35091" actId="6549"/>
          <ac:spMkLst>
            <pc:docMk/>
            <pc:sldMk cId="1681035015" sldId="900"/>
            <ac:spMk id="181" creationId="{00000000-0000-0000-0000-000000000000}"/>
          </ac:spMkLst>
        </pc:spChg>
      </pc:sldChg>
      <pc:sldChg chg="addSp delSp modSp add mod">
        <pc:chgData name="Andreas Koksrud" userId="9d9beba6-c052-407a-8599-c781a677a996" providerId="ADAL" clId="{4C89AD2D-B60A-479F-9F95-9D423A06FAEA}" dt="2024-06-14T18:12:35.425" v="5937" actId="20577"/>
        <pc:sldMkLst>
          <pc:docMk/>
          <pc:sldMk cId="1864432717" sldId="901"/>
        </pc:sldMkLst>
        <pc:spChg chg="del mod">
          <ac:chgData name="Andreas Koksrud" userId="9d9beba6-c052-407a-8599-c781a677a996" providerId="ADAL" clId="{4C89AD2D-B60A-479F-9F95-9D423A06FAEA}" dt="2024-06-14T12:00:16.277" v="4654" actId="478"/>
          <ac:spMkLst>
            <pc:docMk/>
            <pc:sldMk cId="1864432717" sldId="901"/>
            <ac:spMk id="2" creationId="{E83F8947-299D-4698-B80E-56B8E23125F0}"/>
          </ac:spMkLst>
        </pc:spChg>
        <pc:spChg chg="add">
          <ac:chgData name="Andreas Koksrud" userId="9d9beba6-c052-407a-8599-c781a677a996" providerId="ADAL" clId="{4C89AD2D-B60A-479F-9F95-9D423A06FAEA}" dt="2024-06-14T11:59:21.889" v="4634"/>
          <ac:spMkLst>
            <pc:docMk/>
            <pc:sldMk cId="1864432717" sldId="901"/>
            <ac:spMk id="4" creationId="{3769DA31-0B9F-AAD4-8E75-F6F0750D830D}"/>
          </ac:spMkLst>
        </pc:spChg>
        <pc:spChg chg="mod">
          <ac:chgData name="Andreas Koksrud" userId="9d9beba6-c052-407a-8599-c781a677a996" providerId="ADAL" clId="{4C89AD2D-B60A-479F-9F95-9D423A06FAEA}" dt="2024-06-09T16:16:41.630" v="2274" actId="20577"/>
          <ac:spMkLst>
            <pc:docMk/>
            <pc:sldMk cId="1864432717" sldId="901"/>
            <ac:spMk id="8" creationId="{F6664A8B-FDC6-48AB-8C23-E58136970003}"/>
          </ac:spMkLst>
        </pc:spChg>
        <pc:spChg chg="add mod">
          <ac:chgData name="Andreas Koksrud" userId="9d9beba6-c052-407a-8599-c781a677a996" providerId="ADAL" clId="{4C89AD2D-B60A-479F-9F95-9D423A06FAEA}" dt="2024-06-14T12:23:00.344" v="4730" actId="20577"/>
          <ac:spMkLst>
            <pc:docMk/>
            <pc:sldMk cId="1864432717" sldId="901"/>
            <ac:spMk id="9" creationId="{D85862BA-0BD7-3D66-8C45-40921FA8DDEE}"/>
          </ac:spMkLst>
        </pc:spChg>
        <pc:spChg chg="add del mod">
          <ac:chgData name="Andreas Koksrud" userId="9d9beba6-c052-407a-8599-c781a677a996" providerId="ADAL" clId="{4C89AD2D-B60A-479F-9F95-9D423A06FAEA}" dt="2024-06-14T18:11:25.738" v="5887" actId="478"/>
          <ac:spMkLst>
            <pc:docMk/>
            <pc:sldMk cId="1864432717" sldId="901"/>
            <ac:spMk id="11" creationId="{39F9BF4A-984D-6626-ACFA-0DD0BB401F93}"/>
          </ac:spMkLst>
        </pc:spChg>
        <pc:spChg chg="add mod">
          <ac:chgData name="Andreas Koksrud" userId="9d9beba6-c052-407a-8599-c781a677a996" providerId="ADAL" clId="{4C89AD2D-B60A-479F-9F95-9D423A06FAEA}" dt="2024-06-14T18:12:17.221" v="5915"/>
          <ac:spMkLst>
            <pc:docMk/>
            <pc:sldMk cId="1864432717" sldId="901"/>
            <ac:spMk id="12" creationId="{1F8D2083-F5C2-184E-E92C-EAFB1AD854A6}"/>
          </ac:spMkLst>
        </pc:spChg>
        <pc:spChg chg="add mod">
          <ac:chgData name="Andreas Koksrud" userId="9d9beba6-c052-407a-8599-c781a677a996" providerId="ADAL" clId="{4C89AD2D-B60A-479F-9F95-9D423A06FAEA}" dt="2024-06-14T18:12:35.425" v="5937" actId="20577"/>
          <ac:spMkLst>
            <pc:docMk/>
            <pc:sldMk cId="1864432717" sldId="901"/>
            <ac:spMk id="13" creationId="{786F22B3-FE13-B1BE-B6B7-43E9EFCFFB2A}"/>
          </ac:spMkLst>
        </pc:spChg>
      </pc:sldChg>
      <pc:sldChg chg="addSp modSp add mod">
        <pc:chgData name="Andreas Koksrud" userId="9d9beba6-c052-407a-8599-c781a677a996" providerId="ADAL" clId="{4C89AD2D-B60A-479F-9F95-9D423A06FAEA}" dt="2024-08-03T09:29:36.151" v="35077" actId="6549"/>
        <pc:sldMkLst>
          <pc:docMk/>
          <pc:sldMk cId="1114492161" sldId="902"/>
        </pc:sldMkLst>
        <pc:spChg chg="add mod">
          <ac:chgData name="Andreas Koksrud" userId="9d9beba6-c052-407a-8599-c781a677a996" providerId="ADAL" clId="{4C89AD2D-B60A-479F-9F95-9D423A06FAEA}" dt="2024-07-15T20:21:49.662" v="22835" actId="14100"/>
          <ac:spMkLst>
            <pc:docMk/>
            <pc:sldMk cId="1114492161" sldId="902"/>
            <ac:spMk id="2" creationId="{0E718D1A-BAB2-5007-8BE6-61156E0C9DD0}"/>
          </ac:spMkLst>
        </pc:spChg>
        <pc:spChg chg="add mod">
          <ac:chgData name="Andreas Koksrud" userId="9d9beba6-c052-407a-8599-c781a677a996" providerId="ADAL" clId="{4C89AD2D-B60A-479F-9F95-9D423A06FAEA}" dt="2024-06-14T18:17:19.022" v="6296"/>
          <ac:spMkLst>
            <pc:docMk/>
            <pc:sldMk cId="1114492161" sldId="902"/>
            <ac:spMk id="3" creationId="{E90CFC7B-40A5-35FF-22C5-CF969BC4FD9A}"/>
          </ac:spMkLst>
        </pc:spChg>
        <pc:spChg chg="add mod">
          <ac:chgData name="Andreas Koksrud" userId="9d9beba6-c052-407a-8599-c781a677a996" providerId="ADAL" clId="{4C89AD2D-B60A-479F-9F95-9D423A06FAEA}" dt="2024-06-14T18:17:29.373" v="6314" actId="20577"/>
          <ac:spMkLst>
            <pc:docMk/>
            <pc:sldMk cId="1114492161" sldId="902"/>
            <ac:spMk id="4" creationId="{3BBB086E-1ADE-1D88-9765-B028FBD8ABA8}"/>
          </ac:spMkLst>
        </pc:spChg>
        <pc:spChg chg="add mod">
          <ac:chgData name="Andreas Koksrud" userId="9d9beba6-c052-407a-8599-c781a677a996" providerId="ADAL" clId="{4C89AD2D-B60A-479F-9F95-9D423A06FAEA}" dt="2024-07-15T20:17:57.563" v="22622"/>
          <ac:spMkLst>
            <pc:docMk/>
            <pc:sldMk cId="1114492161" sldId="902"/>
            <ac:spMk id="5" creationId="{38C55325-C963-B30A-575B-D0D8D37D4303}"/>
          </ac:spMkLst>
        </pc:spChg>
        <pc:spChg chg="add mod">
          <ac:chgData name="Andreas Koksrud" userId="9d9beba6-c052-407a-8599-c781a677a996" providerId="ADAL" clId="{4C89AD2D-B60A-479F-9F95-9D423A06FAEA}" dt="2024-07-15T20:21:47.737" v="22834" actId="14100"/>
          <ac:spMkLst>
            <pc:docMk/>
            <pc:sldMk cId="1114492161" sldId="902"/>
            <ac:spMk id="6" creationId="{8D384051-5895-E085-AA2D-49067265D8D5}"/>
          </ac:spMkLst>
        </pc:spChg>
        <pc:spChg chg="mod">
          <ac:chgData name="Andreas Koksrud" userId="9d9beba6-c052-407a-8599-c781a677a996" providerId="ADAL" clId="{4C89AD2D-B60A-479F-9F95-9D423A06FAEA}" dt="2024-06-09T16:19:13.751" v="2453" actId="20577"/>
          <ac:spMkLst>
            <pc:docMk/>
            <pc:sldMk cId="1114492161" sldId="902"/>
            <ac:spMk id="180" creationId="{00000000-0000-0000-0000-000000000000}"/>
          </ac:spMkLst>
        </pc:spChg>
        <pc:spChg chg="mod">
          <ac:chgData name="Andreas Koksrud" userId="9d9beba6-c052-407a-8599-c781a677a996" providerId="ADAL" clId="{4C89AD2D-B60A-479F-9F95-9D423A06FAEA}" dt="2024-08-03T09:29:36.151" v="35077" actId="6549"/>
          <ac:spMkLst>
            <pc:docMk/>
            <pc:sldMk cId="1114492161" sldId="902"/>
            <ac:spMk id="181" creationId="{00000000-0000-0000-0000-000000000000}"/>
          </ac:spMkLst>
        </pc:spChg>
        <pc:picChg chg="add mod">
          <ac:chgData name="Andreas Koksrud" userId="9d9beba6-c052-407a-8599-c781a677a996" providerId="ADAL" clId="{4C89AD2D-B60A-479F-9F95-9D423A06FAEA}" dt="2024-07-15T20:24:15.203" v="23180" actId="1076"/>
          <ac:picMkLst>
            <pc:docMk/>
            <pc:sldMk cId="1114492161" sldId="902"/>
            <ac:picMk id="8" creationId="{798A868B-B767-69E4-287E-CB3B6F648DAA}"/>
          </ac:picMkLst>
        </pc:picChg>
        <pc:picChg chg="add mod">
          <ac:chgData name="Andreas Koksrud" userId="9d9beba6-c052-407a-8599-c781a677a996" providerId="ADAL" clId="{4C89AD2D-B60A-479F-9F95-9D423A06FAEA}" dt="2024-07-15T20:24:30.776" v="23182" actId="1076"/>
          <ac:picMkLst>
            <pc:docMk/>
            <pc:sldMk cId="1114492161" sldId="902"/>
            <ac:picMk id="10" creationId="{22831BB3-841B-0F08-C44F-165A331C068E}"/>
          </ac:picMkLst>
        </pc:picChg>
        <pc:picChg chg="add mod">
          <ac:chgData name="Andreas Koksrud" userId="9d9beba6-c052-407a-8599-c781a677a996" providerId="ADAL" clId="{4C89AD2D-B60A-479F-9F95-9D423A06FAEA}" dt="2024-07-15T20:24:59.099" v="23185" actId="14100"/>
          <ac:picMkLst>
            <pc:docMk/>
            <pc:sldMk cId="1114492161" sldId="902"/>
            <ac:picMk id="12" creationId="{CCFAB7E3-EF10-C317-0531-416DA91BAF25}"/>
          </ac:picMkLst>
        </pc:picChg>
      </pc:sldChg>
      <pc:sldChg chg="addSp modSp add mod">
        <pc:chgData name="Andreas Koksrud" userId="9d9beba6-c052-407a-8599-c781a677a996" providerId="ADAL" clId="{4C89AD2D-B60A-479F-9F95-9D423A06FAEA}" dt="2024-08-04T15:57:14.436" v="36360" actId="20577"/>
        <pc:sldMkLst>
          <pc:docMk/>
          <pc:sldMk cId="2933509549" sldId="903"/>
        </pc:sldMkLst>
        <pc:spChg chg="add mod">
          <ac:chgData name="Andreas Koksrud" userId="9d9beba6-c052-407a-8599-c781a677a996" providerId="ADAL" clId="{4C89AD2D-B60A-479F-9F95-9D423A06FAEA}" dt="2024-06-14T18:17:31.069" v="6315"/>
          <ac:spMkLst>
            <pc:docMk/>
            <pc:sldMk cId="2933509549" sldId="903"/>
            <ac:spMk id="3" creationId="{A5C4ADF1-3D1F-20DA-C1A9-2BBF14F5D437}"/>
          </ac:spMkLst>
        </pc:spChg>
        <pc:spChg chg="add mod">
          <ac:chgData name="Andreas Koksrud" userId="9d9beba6-c052-407a-8599-c781a677a996" providerId="ADAL" clId="{4C89AD2D-B60A-479F-9F95-9D423A06FAEA}" dt="2024-06-14T18:17:39.901" v="6337" actId="20577"/>
          <ac:spMkLst>
            <pc:docMk/>
            <pc:sldMk cId="2933509549" sldId="903"/>
            <ac:spMk id="4" creationId="{4E1C2F61-69D1-C4C7-A93C-FAB0264657C4}"/>
          </ac:spMkLst>
        </pc:spChg>
        <pc:spChg chg="mod">
          <ac:chgData name="Andreas Koksrud" userId="9d9beba6-c052-407a-8599-c781a677a996" providerId="ADAL" clId="{4C89AD2D-B60A-479F-9F95-9D423A06FAEA}" dt="2024-08-04T15:56:21.595" v="36280" actId="20577"/>
          <ac:spMkLst>
            <pc:docMk/>
            <pc:sldMk cId="2933509549" sldId="903"/>
            <ac:spMk id="180" creationId="{00000000-0000-0000-0000-000000000000}"/>
          </ac:spMkLst>
        </pc:spChg>
        <pc:spChg chg="mod">
          <ac:chgData name="Andreas Koksrud" userId="9d9beba6-c052-407a-8599-c781a677a996" providerId="ADAL" clId="{4C89AD2D-B60A-479F-9F95-9D423A06FAEA}" dt="2024-08-04T15:57:14.436" v="36360" actId="20577"/>
          <ac:spMkLst>
            <pc:docMk/>
            <pc:sldMk cId="2933509549" sldId="903"/>
            <ac:spMk id="181" creationId="{00000000-0000-0000-0000-000000000000}"/>
          </ac:spMkLst>
        </pc:spChg>
      </pc:sldChg>
      <pc:sldChg chg="addSp modSp add mod">
        <pc:chgData name="Andreas Koksrud" userId="9d9beba6-c052-407a-8599-c781a677a996" providerId="ADAL" clId="{4C89AD2D-B60A-479F-9F95-9D423A06FAEA}" dt="2024-08-04T16:17:33.430" v="36616" actId="15"/>
        <pc:sldMkLst>
          <pc:docMk/>
          <pc:sldMk cId="2986239912" sldId="904"/>
        </pc:sldMkLst>
        <pc:spChg chg="add mod">
          <ac:chgData name="Andreas Koksrud" userId="9d9beba6-c052-407a-8599-c781a677a996" providerId="ADAL" clId="{4C89AD2D-B60A-479F-9F95-9D423A06FAEA}" dt="2024-06-14T18:18:23.065" v="6350"/>
          <ac:spMkLst>
            <pc:docMk/>
            <pc:sldMk cId="2986239912" sldId="904"/>
            <ac:spMk id="3" creationId="{1EEFFF91-E5FB-BE38-D2DD-FD38DA4AA6E0}"/>
          </ac:spMkLst>
        </pc:spChg>
        <pc:spChg chg="add mod">
          <ac:chgData name="Andreas Koksrud" userId="9d9beba6-c052-407a-8599-c781a677a996" providerId="ADAL" clId="{4C89AD2D-B60A-479F-9F95-9D423A06FAEA}" dt="2024-06-14T18:18:29.048" v="6370" actId="20577"/>
          <ac:spMkLst>
            <pc:docMk/>
            <pc:sldMk cId="2986239912" sldId="904"/>
            <ac:spMk id="4" creationId="{2AAFDAAC-8F4B-153F-5BA4-4AA004EB1E80}"/>
          </ac:spMkLst>
        </pc:spChg>
        <pc:spChg chg="mod">
          <ac:chgData name="Andreas Koksrud" userId="9d9beba6-c052-407a-8599-c781a677a996" providerId="ADAL" clId="{4C89AD2D-B60A-479F-9F95-9D423A06FAEA}" dt="2024-08-04T16:16:36.496" v="36549" actId="20577"/>
          <ac:spMkLst>
            <pc:docMk/>
            <pc:sldMk cId="2986239912" sldId="904"/>
            <ac:spMk id="180" creationId="{00000000-0000-0000-0000-000000000000}"/>
          </ac:spMkLst>
        </pc:spChg>
        <pc:spChg chg="mod">
          <ac:chgData name="Andreas Koksrud" userId="9d9beba6-c052-407a-8599-c781a677a996" providerId="ADAL" clId="{4C89AD2D-B60A-479F-9F95-9D423A06FAEA}" dt="2024-08-04T16:17:33.430" v="36616" actId="15"/>
          <ac:spMkLst>
            <pc:docMk/>
            <pc:sldMk cId="2986239912" sldId="904"/>
            <ac:spMk id="181" creationId="{00000000-0000-0000-0000-000000000000}"/>
          </ac:spMkLst>
        </pc:spChg>
      </pc:sldChg>
      <pc:sldChg chg="addSp modSp add mod">
        <pc:chgData name="Andreas Koksrud" userId="9d9beba6-c052-407a-8599-c781a677a996" providerId="ADAL" clId="{4C89AD2D-B60A-479F-9F95-9D423A06FAEA}" dt="2024-07-16T19:30:49.304" v="25731" actId="20577"/>
        <pc:sldMkLst>
          <pc:docMk/>
          <pc:sldMk cId="2439861555" sldId="905"/>
        </pc:sldMkLst>
        <pc:spChg chg="add mod">
          <ac:chgData name="Andreas Koksrud" userId="9d9beba6-c052-407a-8599-c781a677a996" providerId="ADAL" clId="{4C89AD2D-B60A-479F-9F95-9D423A06FAEA}" dt="2024-06-14T18:18:39.271" v="6371"/>
          <ac:spMkLst>
            <pc:docMk/>
            <pc:sldMk cId="2439861555" sldId="905"/>
            <ac:spMk id="3" creationId="{8270A7FD-253D-34C1-5FC1-AB0F85467474}"/>
          </ac:spMkLst>
        </pc:spChg>
        <pc:spChg chg="add mod">
          <ac:chgData name="Andreas Koksrud" userId="9d9beba6-c052-407a-8599-c781a677a996" providerId="ADAL" clId="{4C89AD2D-B60A-479F-9F95-9D423A06FAEA}" dt="2024-06-14T18:18:45.433" v="6388" actId="20577"/>
          <ac:spMkLst>
            <pc:docMk/>
            <pc:sldMk cId="2439861555" sldId="905"/>
            <ac:spMk id="4" creationId="{06D484B0-8A03-2AA5-1C90-502CFFA0A0A7}"/>
          </ac:spMkLst>
        </pc:spChg>
        <pc:spChg chg="mod">
          <ac:chgData name="Andreas Koksrud" userId="9d9beba6-c052-407a-8599-c781a677a996" providerId="ADAL" clId="{4C89AD2D-B60A-479F-9F95-9D423A06FAEA}" dt="2024-06-09T16:23:06.182" v="3072" actId="20577"/>
          <ac:spMkLst>
            <pc:docMk/>
            <pc:sldMk cId="2439861555" sldId="905"/>
            <ac:spMk id="180" creationId="{00000000-0000-0000-0000-000000000000}"/>
          </ac:spMkLst>
        </pc:spChg>
        <pc:spChg chg="mod">
          <ac:chgData name="Andreas Koksrud" userId="9d9beba6-c052-407a-8599-c781a677a996" providerId="ADAL" clId="{4C89AD2D-B60A-479F-9F95-9D423A06FAEA}" dt="2024-07-16T19:30:49.304" v="25731" actId="20577"/>
          <ac:spMkLst>
            <pc:docMk/>
            <pc:sldMk cId="2439861555" sldId="905"/>
            <ac:spMk id="181" creationId="{00000000-0000-0000-0000-000000000000}"/>
          </ac:spMkLst>
        </pc:spChg>
      </pc:sldChg>
      <pc:sldChg chg="addSp modSp add mod">
        <pc:chgData name="Andreas Koksrud" userId="9d9beba6-c052-407a-8599-c781a677a996" providerId="ADAL" clId="{4C89AD2D-B60A-479F-9F95-9D423A06FAEA}" dt="2024-08-06T13:15:45.518" v="38772" actId="20577"/>
        <pc:sldMkLst>
          <pc:docMk/>
          <pc:sldMk cId="3378771878" sldId="906"/>
        </pc:sldMkLst>
        <pc:spChg chg="add mod">
          <ac:chgData name="Andreas Koksrud" userId="9d9beba6-c052-407a-8599-c781a677a996" providerId="ADAL" clId="{4C89AD2D-B60A-479F-9F95-9D423A06FAEA}" dt="2024-06-14T18:18:52.695" v="6390"/>
          <ac:spMkLst>
            <pc:docMk/>
            <pc:sldMk cId="3378771878" sldId="906"/>
            <ac:spMk id="3" creationId="{CBF03407-D423-82A3-7799-8E22BD867126}"/>
          </ac:spMkLst>
        </pc:spChg>
        <pc:spChg chg="add mod">
          <ac:chgData name="Andreas Koksrud" userId="9d9beba6-c052-407a-8599-c781a677a996" providerId="ADAL" clId="{4C89AD2D-B60A-479F-9F95-9D423A06FAEA}" dt="2024-08-03T09:25:15.395" v="34791" actId="20577"/>
          <ac:spMkLst>
            <pc:docMk/>
            <pc:sldMk cId="3378771878" sldId="906"/>
            <ac:spMk id="4" creationId="{5DEE125A-D0E1-5DDF-028E-C5FA4A15F28C}"/>
          </ac:spMkLst>
        </pc:spChg>
        <pc:spChg chg="mod">
          <ac:chgData name="Andreas Koksrud" userId="9d9beba6-c052-407a-8599-c781a677a996" providerId="ADAL" clId="{4C89AD2D-B60A-479F-9F95-9D423A06FAEA}" dt="2024-08-03T09:25:09.124" v="34772" actId="20577"/>
          <ac:spMkLst>
            <pc:docMk/>
            <pc:sldMk cId="3378771878" sldId="906"/>
            <ac:spMk id="180" creationId="{00000000-0000-0000-0000-000000000000}"/>
          </ac:spMkLst>
        </pc:spChg>
        <pc:spChg chg="mod">
          <ac:chgData name="Andreas Koksrud" userId="9d9beba6-c052-407a-8599-c781a677a996" providerId="ADAL" clId="{4C89AD2D-B60A-479F-9F95-9D423A06FAEA}" dt="2024-08-06T13:15:45.518" v="38772" actId="20577"/>
          <ac:spMkLst>
            <pc:docMk/>
            <pc:sldMk cId="3378771878" sldId="906"/>
            <ac:spMk id="181" creationId="{00000000-0000-0000-0000-000000000000}"/>
          </ac:spMkLst>
        </pc:spChg>
      </pc:sldChg>
      <pc:sldChg chg="addSp modSp add mod">
        <pc:chgData name="Andreas Koksrud" userId="9d9beba6-c052-407a-8599-c781a677a996" providerId="ADAL" clId="{4C89AD2D-B60A-479F-9F95-9D423A06FAEA}" dt="2024-06-14T18:19:11.887" v="6418" actId="20577"/>
        <pc:sldMkLst>
          <pc:docMk/>
          <pc:sldMk cId="2223033950" sldId="907"/>
        </pc:sldMkLst>
        <pc:spChg chg="add mod">
          <ac:chgData name="Andreas Koksrud" userId="9d9beba6-c052-407a-8599-c781a677a996" providerId="ADAL" clId="{4C89AD2D-B60A-479F-9F95-9D423A06FAEA}" dt="2024-06-14T18:19:01.198" v="6397"/>
          <ac:spMkLst>
            <pc:docMk/>
            <pc:sldMk cId="2223033950" sldId="907"/>
            <ac:spMk id="3" creationId="{657E3D2A-489A-3951-E385-2B1472FCB49B}"/>
          </ac:spMkLst>
        </pc:spChg>
        <pc:spChg chg="add mod">
          <ac:chgData name="Andreas Koksrud" userId="9d9beba6-c052-407a-8599-c781a677a996" providerId="ADAL" clId="{4C89AD2D-B60A-479F-9F95-9D423A06FAEA}" dt="2024-06-14T18:19:11.887" v="6418" actId="20577"/>
          <ac:spMkLst>
            <pc:docMk/>
            <pc:sldMk cId="2223033950" sldId="907"/>
            <ac:spMk id="4" creationId="{9DE28A13-DC0E-C4C0-5958-28FED7170CC1}"/>
          </ac:spMkLst>
        </pc:spChg>
        <pc:spChg chg="mod">
          <ac:chgData name="Andreas Koksrud" userId="9d9beba6-c052-407a-8599-c781a677a996" providerId="ADAL" clId="{4C89AD2D-B60A-479F-9F95-9D423A06FAEA}" dt="2024-06-09T16:24:35.423" v="3320" actId="20577"/>
          <ac:spMkLst>
            <pc:docMk/>
            <pc:sldMk cId="2223033950" sldId="907"/>
            <ac:spMk id="180" creationId="{00000000-0000-0000-0000-000000000000}"/>
          </ac:spMkLst>
        </pc:spChg>
        <pc:spChg chg="mod">
          <ac:chgData name="Andreas Koksrud" userId="9d9beba6-c052-407a-8599-c781a677a996" providerId="ADAL" clId="{4C89AD2D-B60A-479F-9F95-9D423A06FAEA}" dt="2024-06-09T16:25:00.592" v="3406" actId="20577"/>
          <ac:spMkLst>
            <pc:docMk/>
            <pc:sldMk cId="2223033950" sldId="907"/>
            <ac:spMk id="181" creationId="{00000000-0000-0000-0000-000000000000}"/>
          </ac:spMkLst>
        </pc:spChg>
      </pc:sldChg>
      <pc:sldChg chg="addSp modSp add mod ord">
        <pc:chgData name="Andreas Koksrud" userId="9d9beba6-c052-407a-8599-c781a677a996" providerId="ADAL" clId="{4C89AD2D-B60A-479F-9F95-9D423A06FAEA}" dt="2024-06-14T18:19:45.949" v="6481" actId="20577"/>
        <pc:sldMkLst>
          <pc:docMk/>
          <pc:sldMk cId="2242358945" sldId="908"/>
        </pc:sldMkLst>
        <pc:spChg chg="add mod">
          <ac:chgData name="Andreas Koksrud" userId="9d9beba6-c052-407a-8599-c781a677a996" providerId="ADAL" clId="{4C89AD2D-B60A-479F-9F95-9D423A06FAEA}" dt="2024-06-14T18:19:37.001" v="6445"/>
          <ac:spMkLst>
            <pc:docMk/>
            <pc:sldMk cId="2242358945" sldId="908"/>
            <ac:spMk id="3" creationId="{FCA57180-36AA-80E0-D520-33930B6A4EB4}"/>
          </ac:spMkLst>
        </pc:spChg>
        <pc:spChg chg="add mod">
          <ac:chgData name="Andreas Koksrud" userId="9d9beba6-c052-407a-8599-c781a677a996" providerId="ADAL" clId="{4C89AD2D-B60A-479F-9F95-9D423A06FAEA}" dt="2024-06-14T18:19:45.949" v="6481" actId="20577"/>
          <ac:spMkLst>
            <pc:docMk/>
            <pc:sldMk cId="2242358945" sldId="908"/>
            <ac:spMk id="4" creationId="{37048664-C1F4-DCB0-A422-77268E1D8FF6}"/>
          </ac:spMkLst>
        </pc:spChg>
        <pc:spChg chg="mod">
          <ac:chgData name="Andreas Koksrud" userId="9d9beba6-c052-407a-8599-c781a677a996" providerId="ADAL" clId="{4C89AD2D-B60A-479F-9F95-9D423A06FAEA}" dt="2024-06-09T16:25:57.980" v="3522" actId="20577"/>
          <ac:spMkLst>
            <pc:docMk/>
            <pc:sldMk cId="2242358945" sldId="908"/>
            <ac:spMk id="180" creationId="{00000000-0000-0000-0000-000000000000}"/>
          </ac:spMkLst>
        </pc:spChg>
        <pc:spChg chg="mod">
          <ac:chgData name="Andreas Koksrud" userId="9d9beba6-c052-407a-8599-c781a677a996" providerId="ADAL" clId="{4C89AD2D-B60A-479F-9F95-9D423A06FAEA}" dt="2024-06-09T16:26:20.161" v="3594" actId="20577"/>
          <ac:spMkLst>
            <pc:docMk/>
            <pc:sldMk cId="2242358945" sldId="908"/>
            <ac:spMk id="181" creationId="{00000000-0000-0000-0000-000000000000}"/>
          </ac:spMkLst>
        </pc:spChg>
      </pc:sldChg>
      <pc:sldChg chg="addSp modSp add mod">
        <pc:chgData name="Andreas Koksrud" userId="9d9beba6-c052-407a-8599-c781a677a996" providerId="ADAL" clId="{4C89AD2D-B60A-479F-9F95-9D423A06FAEA}" dt="2024-06-30T17:12:20.531" v="14940" actId="6549"/>
        <pc:sldMkLst>
          <pc:docMk/>
          <pc:sldMk cId="772392015" sldId="909"/>
        </pc:sldMkLst>
        <pc:spChg chg="add mod">
          <ac:chgData name="Andreas Koksrud" userId="9d9beba6-c052-407a-8599-c781a677a996" providerId="ADAL" clId="{4C89AD2D-B60A-479F-9F95-9D423A06FAEA}" dt="2024-06-14T18:20:03.710" v="6489"/>
          <ac:spMkLst>
            <pc:docMk/>
            <pc:sldMk cId="772392015" sldId="909"/>
            <ac:spMk id="3" creationId="{855CA363-C58B-97B7-0D7A-9CB2FE0B8EA5}"/>
          </ac:spMkLst>
        </pc:spChg>
        <pc:spChg chg="add mod">
          <ac:chgData name="Andreas Koksrud" userId="9d9beba6-c052-407a-8599-c781a677a996" providerId="ADAL" clId="{4C89AD2D-B60A-479F-9F95-9D423A06FAEA}" dt="2024-06-14T18:20:10.019" v="6507" actId="20577"/>
          <ac:spMkLst>
            <pc:docMk/>
            <pc:sldMk cId="772392015" sldId="909"/>
            <ac:spMk id="4" creationId="{6336CBD7-B379-EC32-246C-7CAD902CB21E}"/>
          </ac:spMkLst>
        </pc:spChg>
        <pc:spChg chg="mod">
          <ac:chgData name="Andreas Koksrud" userId="9d9beba6-c052-407a-8599-c781a677a996" providerId="ADAL" clId="{4C89AD2D-B60A-479F-9F95-9D423A06FAEA}" dt="2024-06-09T16:26:42.747" v="3635" actId="6549"/>
          <ac:spMkLst>
            <pc:docMk/>
            <pc:sldMk cId="772392015" sldId="909"/>
            <ac:spMk id="180" creationId="{00000000-0000-0000-0000-000000000000}"/>
          </ac:spMkLst>
        </pc:spChg>
        <pc:spChg chg="mod">
          <ac:chgData name="Andreas Koksrud" userId="9d9beba6-c052-407a-8599-c781a677a996" providerId="ADAL" clId="{4C89AD2D-B60A-479F-9F95-9D423A06FAEA}" dt="2024-06-30T17:12:20.531" v="14940" actId="6549"/>
          <ac:spMkLst>
            <pc:docMk/>
            <pc:sldMk cId="772392015" sldId="909"/>
            <ac:spMk id="181" creationId="{00000000-0000-0000-0000-000000000000}"/>
          </ac:spMkLst>
        </pc:spChg>
      </pc:sldChg>
      <pc:sldChg chg="addSp modSp add mod">
        <pc:chgData name="Andreas Koksrud" userId="9d9beba6-c052-407a-8599-c781a677a996" providerId="ADAL" clId="{4C89AD2D-B60A-479F-9F95-9D423A06FAEA}" dt="2024-06-14T18:20:35.410" v="6530" actId="20577"/>
        <pc:sldMkLst>
          <pc:docMk/>
          <pc:sldMk cId="3240845591" sldId="910"/>
        </pc:sldMkLst>
        <pc:spChg chg="add mod">
          <ac:chgData name="Andreas Koksrud" userId="9d9beba6-c052-407a-8599-c781a677a996" providerId="ADAL" clId="{4C89AD2D-B60A-479F-9F95-9D423A06FAEA}" dt="2024-06-14T18:20:30.520" v="6513"/>
          <ac:spMkLst>
            <pc:docMk/>
            <pc:sldMk cId="3240845591" sldId="910"/>
            <ac:spMk id="3" creationId="{9D3E58D1-6427-C8CC-C4ED-CD9DD644C1D4}"/>
          </ac:spMkLst>
        </pc:spChg>
        <pc:spChg chg="add mod">
          <ac:chgData name="Andreas Koksrud" userId="9d9beba6-c052-407a-8599-c781a677a996" providerId="ADAL" clId="{4C89AD2D-B60A-479F-9F95-9D423A06FAEA}" dt="2024-06-14T18:20:35.410" v="6530" actId="20577"/>
          <ac:spMkLst>
            <pc:docMk/>
            <pc:sldMk cId="3240845591" sldId="910"/>
            <ac:spMk id="4" creationId="{45C76EA7-DE23-854E-87C7-0357221CF8D6}"/>
          </ac:spMkLst>
        </pc:spChg>
        <pc:spChg chg="mod">
          <ac:chgData name="Andreas Koksrud" userId="9d9beba6-c052-407a-8599-c781a677a996" providerId="ADAL" clId="{4C89AD2D-B60A-479F-9F95-9D423A06FAEA}" dt="2024-06-09T16:27:38.177" v="3823" actId="20577"/>
          <ac:spMkLst>
            <pc:docMk/>
            <pc:sldMk cId="3240845591" sldId="910"/>
            <ac:spMk id="180" creationId="{00000000-0000-0000-0000-000000000000}"/>
          </ac:spMkLst>
        </pc:spChg>
        <pc:spChg chg="mod">
          <ac:chgData name="Andreas Koksrud" userId="9d9beba6-c052-407a-8599-c781a677a996" providerId="ADAL" clId="{4C89AD2D-B60A-479F-9F95-9D423A06FAEA}" dt="2024-06-09T16:27:50.858" v="3891" actId="20577"/>
          <ac:spMkLst>
            <pc:docMk/>
            <pc:sldMk cId="3240845591" sldId="910"/>
            <ac:spMk id="181" creationId="{00000000-0000-0000-0000-000000000000}"/>
          </ac:spMkLst>
        </pc:spChg>
      </pc:sldChg>
      <pc:sldChg chg="addSp modSp add mod">
        <pc:chgData name="Andreas Koksrud" userId="9d9beba6-c052-407a-8599-c781a677a996" providerId="ADAL" clId="{4C89AD2D-B60A-479F-9F95-9D423A06FAEA}" dt="2024-07-01T18:47:26.471" v="16850" actId="20577"/>
        <pc:sldMkLst>
          <pc:docMk/>
          <pc:sldMk cId="2156656660" sldId="911"/>
        </pc:sldMkLst>
        <pc:spChg chg="add mod">
          <ac:chgData name="Andreas Koksrud" userId="9d9beba6-c052-407a-8599-c781a677a996" providerId="ADAL" clId="{4C89AD2D-B60A-479F-9F95-9D423A06FAEA}" dt="2024-06-14T18:20:49.500" v="6539"/>
          <ac:spMkLst>
            <pc:docMk/>
            <pc:sldMk cId="2156656660" sldId="911"/>
            <ac:spMk id="3" creationId="{79050CB9-26BE-C05E-9743-93569823733D}"/>
          </ac:spMkLst>
        </pc:spChg>
        <pc:spChg chg="add mod">
          <ac:chgData name="Andreas Koksrud" userId="9d9beba6-c052-407a-8599-c781a677a996" providerId="ADAL" clId="{4C89AD2D-B60A-479F-9F95-9D423A06FAEA}" dt="2024-06-14T18:21:01.506" v="6574" actId="20577"/>
          <ac:spMkLst>
            <pc:docMk/>
            <pc:sldMk cId="2156656660" sldId="911"/>
            <ac:spMk id="4" creationId="{BDF04420-95D5-A2F1-5C85-4410F0AD48ED}"/>
          </ac:spMkLst>
        </pc:spChg>
        <pc:spChg chg="mod">
          <ac:chgData name="Andreas Koksrud" userId="9d9beba6-c052-407a-8599-c781a677a996" providerId="ADAL" clId="{4C89AD2D-B60A-479F-9F95-9D423A06FAEA}" dt="2024-06-09T16:28:06.150" v="3919" actId="20577"/>
          <ac:spMkLst>
            <pc:docMk/>
            <pc:sldMk cId="2156656660" sldId="911"/>
            <ac:spMk id="180" creationId="{00000000-0000-0000-0000-000000000000}"/>
          </ac:spMkLst>
        </pc:spChg>
        <pc:spChg chg="mod">
          <ac:chgData name="Andreas Koksrud" userId="9d9beba6-c052-407a-8599-c781a677a996" providerId="ADAL" clId="{4C89AD2D-B60A-479F-9F95-9D423A06FAEA}" dt="2024-07-01T18:47:26.471" v="16850" actId="20577"/>
          <ac:spMkLst>
            <pc:docMk/>
            <pc:sldMk cId="2156656660" sldId="911"/>
            <ac:spMk id="181" creationId="{00000000-0000-0000-0000-000000000000}"/>
          </ac:spMkLst>
        </pc:spChg>
      </pc:sldChg>
      <pc:sldChg chg="add del">
        <pc:chgData name="Andreas Koksrud" userId="9d9beba6-c052-407a-8599-c781a677a996" providerId="ADAL" clId="{4C89AD2D-B60A-479F-9F95-9D423A06FAEA}" dt="2024-06-09T16:29:15.051" v="4077" actId="47"/>
        <pc:sldMkLst>
          <pc:docMk/>
          <pc:sldMk cId="1727397613" sldId="912"/>
        </pc:sldMkLst>
      </pc:sldChg>
      <pc:sldChg chg="add del">
        <pc:chgData name="Andreas Koksrud" userId="9d9beba6-c052-407a-8599-c781a677a996" providerId="ADAL" clId="{4C89AD2D-B60A-479F-9F95-9D423A06FAEA}" dt="2024-06-09T16:29:16.528" v="4078" actId="47"/>
        <pc:sldMkLst>
          <pc:docMk/>
          <pc:sldMk cId="3149442390" sldId="913"/>
        </pc:sldMkLst>
      </pc:sldChg>
      <pc:sldChg chg="addSp modSp add mod">
        <pc:chgData name="Andreas Koksrud" userId="9d9beba6-c052-407a-8599-c781a677a996" providerId="ADAL" clId="{4C89AD2D-B60A-479F-9F95-9D423A06FAEA}" dt="2024-07-16T13:56:44.783" v="24721" actId="20577"/>
        <pc:sldMkLst>
          <pc:docMk/>
          <pc:sldMk cId="3467226560" sldId="914"/>
        </pc:sldMkLst>
        <pc:spChg chg="add mod">
          <ac:chgData name="Andreas Koksrud" userId="9d9beba6-c052-407a-8599-c781a677a996" providerId="ADAL" clId="{4C89AD2D-B60A-479F-9F95-9D423A06FAEA}" dt="2024-06-14T18:21:15.531" v="6577" actId="20577"/>
          <ac:spMkLst>
            <pc:docMk/>
            <pc:sldMk cId="3467226560" sldId="914"/>
            <ac:spMk id="3" creationId="{7D365537-6E79-429D-72B1-A0DE832EA94C}"/>
          </ac:spMkLst>
        </pc:spChg>
        <pc:spChg chg="add mod">
          <ac:chgData name="Andreas Koksrud" userId="9d9beba6-c052-407a-8599-c781a677a996" providerId="ADAL" clId="{4C89AD2D-B60A-479F-9F95-9D423A06FAEA}" dt="2024-06-14T18:21:22.536" v="6588" actId="20577"/>
          <ac:spMkLst>
            <pc:docMk/>
            <pc:sldMk cId="3467226560" sldId="914"/>
            <ac:spMk id="4" creationId="{43FAD0A6-3066-A0F3-D4DE-543BA24F80AE}"/>
          </ac:spMkLst>
        </pc:spChg>
        <pc:spChg chg="mod">
          <ac:chgData name="Andreas Koksrud" userId="9d9beba6-c052-407a-8599-c781a677a996" providerId="ADAL" clId="{4C89AD2D-B60A-479F-9F95-9D423A06FAEA}" dt="2024-06-09T16:21:29.010" v="2781" actId="20577"/>
          <ac:spMkLst>
            <pc:docMk/>
            <pc:sldMk cId="3467226560" sldId="914"/>
            <ac:spMk id="180" creationId="{00000000-0000-0000-0000-000000000000}"/>
          </ac:spMkLst>
        </pc:spChg>
        <pc:spChg chg="mod">
          <ac:chgData name="Andreas Koksrud" userId="9d9beba6-c052-407a-8599-c781a677a996" providerId="ADAL" clId="{4C89AD2D-B60A-479F-9F95-9D423A06FAEA}" dt="2024-07-16T13:56:44.783" v="24721" actId="20577"/>
          <ac:spMkLst>
            <pc:docMk/>
            <pc:sldMk cId="3467226560" sldId="914"/>
            <ac:spMk id="181" creationId="{00000000-0000-0000-0000-000000000000}"/>
          </ac:spMkLst>
        </pc:spChg>
      </pc:sldChg>
      <pc:sldChg chg="addSp modSp add mod">
        <pc:chgData name="Andreas Koksrud" userId="9d9beba6-c052-407a-8599-c781a677a996" providerId="ADAL" clId="{4C89AD2D-B60A-479F-9F95-9D423A06FAEA}" dt="2024-06-14T18:19:32.072" v="6444" actId="20577"/>
        <pc:sldMkLst>
          <pc:docMk/>
          <pc:sldMk cId="2515752309" sldId="915"/>
        </pc:sldMkLst>
        <pc:spChg chg="add mod">
          <ac:chgData name="Andreas Koksrud" userId="9d9beba6-c052-407a-8599-c781a677a996" providerId="ADAL" clId="{4C89AD2D-B60A-479F-9F95-9D423A06FAEA}" dt="2024-06-14T18:19:26.035" v="6427"/>
          <ac:spMkLst>
            <pc:docMk/>
            <pc:sldMk cId="2515752309" sldId="915"/>
            <ac:spMk id="3" creationId="{EBC9B5D9-C441-5866-022A-D4B9B3EA4818}"/>
          </ac:spMkLst>
        </pc:spChg>
        <pc:spChg chg="add mod">
          <ac:chgData name="Andreas Koksrud" userId="9d9beba6-c052-407a-8599-c781a677a996" providerId="ADAL" clId="{4C89AD2D-B60A-479F-9F95-9D423A06FAEA}" dt="2024-06-14T18:19:32.072" v="6444" actId="20577"/>
          <ac:spMkLst>
            <pc:docMk/>
            <pc:sldMk cId="2515752309" sldId="915"/>
            <ac:spMk id="4" creationId="{F334D586-E06C-0D46-08AC-5AD991FB4890}"/>
          </ac:spMkLst>
        </pc:spChg>
        <pc:spChg chg="mod">
          <ac:chgData name="Andreas Koksrud" userId="9d9beba6-c052-407a-8599-c781a677a996" providerId="ADAL" clId="{4C89AD2D-B60A-479F-9F95-9D423A06FAEA}" dt="2024-06-09T16:25:29.455" v="3467" actId="20577"/>
          <ac:spMkLst>
            <pc:docMk/>
            <pc:sldMk cId="2515752309" sldId="915"/>
            <ac:spMk id="180" creationId="{00000000-0000-0000-0000-000000000000}"/>
          </ac:spMkLst>
        </pc:spChg>
        <pc:spChg chg="mod">
          <ac:chgData name="Andreas Koksrud" userId="9d9beba6-c052-407a-8599-c781a677a996" providerId="ADAL" clId="{4C89AD2D-B60A-479F-9F95-9D423A06FAEA}" dt="2024-06-09T16:25:48.626" v="3518" actId="20577"/>
          <ac:spMkLst>
            <pc:docMk/>
            <pc:sldMk cId="2515752309" sldId="915"/>
            <ac:spMk id="181" creationId="{00000000-0000-0000-0000-000000000000}"/>
          </ac:spMkLst>
        </pc:spChg>
      </pc:sldChg>
      <pc:sldChg chg="addSp modSp add del mod">
        <pc:chgData name="Andreas Koksrud" userId="9d9beba6-c052-407a-8599-c781a677a996" providerId="ADAL" clId="{4C89AD2D-B60A-479F-9F95-9D423A06FAEA}" dt="2024-07-16T13:56:48.019" v="24722" actId="47"/>
        <pc:sldMkLst>
          <pc:docMk/>
          <pc:sldMk cId="3403448712" sldId="916"/>
        </pc:sldMkLst>
        <pc:spChg chg="add mod">
          <ac:chgData name="Andreas Koksrud" userId="9d9beba6-c052-407a-8599-c781a677a996" providerId="ADAL" clId="{4C89AD2D-B60A-479F-9F95-9D423A06FAEA}" dt="2024-06-14T18:21:31.150" v="6591" actId="20577"/>
          <ac:spMkLst>
            <pc:docMk/>
            <pc:sldMk cId="3403448712" sldId="916"/>
            <ac:spMk id="3" creationId="{D2FBFAE0-C512-801C-5A0D-F9DC973E860B}"/>
          </ac:spMkLst>
        </pc:spChg>
        <pc:spChg chg="add mod">
          <ac:chgData name="Andreas Koksrud" userId="9d9beba6-c052-407a-8599-c781a677a996" providerId="ADAL" clId="{4C89AD2D-B60A-479F-9F95-9D423A06FAEA}" dt="2024-06-14T18:21:52.773" v="6635" actId="20577"/>
          <ac:spMkLst>
            <pc:docMk/>
            <pc:sldMk cId="3403448712" sldId="916"/>
            <ac:spMk id="4" creationId="{7DF7BD40-17CA-6855-F90D-5574A9574DBF}"/>
          </ac:spMkLst>
        </pc:spChg>
        <pc:spChg chg="mod">
          <ac:chgData name="Andreas Koksrud" userId="9d9beba6-c052-407a-8599-c781a677a996" providerId="ADAL" clId="{4C89AD2D-B60A-479F-9F95-9D423A06FAEA}" dt="2024-06-09T16:29:46.651" v="4103" actId="20577"/>
          <ac:spMkLst>
            <pc:docMk/>
            <pc:sldMk cId="3403448712" sldId="916"/>
            <ac:spMk id="180" creationId="{00000000-0000-0000-0000-000000000000}"/>
          </ac:spMkLst>
        </pc:spChg>
        <pc:spChg chg="mod">
          <ac:chgData name="Andreas Koksrud" userId="9d9beba6-c052-407a-8599-c781a677a996" providerId="ADAL" clId="{4C89AD2D-B60A-479F-9F95-9D423A06FAEA}" dt="2024-06-09T16:30:03.775" v="4116" actId="20577"/>
          <ac:spMkLst>
            <pc:docMk/>
            <pc:sldMk cId="3403448712" sldId="916"/>
            <ac:spMk id="181" creationId="{00000000-0000-0000-0000-000000000000}"/>
          </ac:spMkLst>
        </pc:spChg>
      </pc:sldChg>
      <pc:sldChg chg="addSp modSp add mod">
        <pc:chgData name="Andreas Koksrud" userId="9d9beba6-c052-407a-8599-c781a677a996" providerId="ADAL" clId="{4C89AD2D-B60A-479F-9F95-9D423A06FAEA}" dt="2024-06-14T18:22:25.948" v="6643" actId="20577"/>
        <pc:sldMkLst>
          <pc:docMk/>
          <pc:sldMk cId="2176964589" sldId="917"/>
        </pc:sldMkLst>
        <pc:spChg chg="add mod">
          <ac:chgData name="Andreas Koksrud" userId="9d9beba6-c052-407a-8599-c781a677a996" providerId="ADAL" clId="{4C89AD2D-B60A-479F-9F95-9D423A06FAEA}" dt="2024-06-14T18:22:19.250" v="6636"/>
          <ac:spMkLst>
            <pc:docMk/>
            <pc:sldMk cId="2176964589" sldId="917"/>
            <ac:spMk id="3" creationId="{5501154E-27B2-E571-762E-E8FBC1308377}"/>
          </ac:spMkLst>
        </pc:spChg>
        <pc:spChg chg="add mod">
          <ac:chgData name="Andreas Koksrud" userId="9d9beba6-c052-407a-8599-c781a677a996" providerId="ADAL" clId="{4C89AD2D-B60A-479F-9F95-9D423A06FAEA}" dt="2024-06-14T18:22:25.948" v="6643" actId="20577"/>
          <ac:spMkLst>
            <pc:docMk/>
            <pc:sldMk cId="2176964589" sldId="917"/>
            <ac:spMk id="4" creationId="{ED4D6ECF-1BF5-74C6-7129-3B7AA90A95E5}"/>
          </ac:spMkLst>
        </pc:spChg>
        <pc:spChg chg="mod">
          <ac:chgData name="Andreas Koksrud" userId="9d9beba6-c052-407a-8599-c781a677a996" providerId="ADAL" clId="{4C89AD2D-B60A-479F-9F95-9D423A06FAEA}" dt="2024-06-09T16:30:14.827" v="4138" actId="20577"/>
          <ac:spMkLst>
            <pc:docMk/>
            <pc:sldMk cId="2176964589" sldId="917"/>
            <ac:spMk id="180" creationId="{00000000-0000-0000-0000-000000000000}"/>
          </ac:spMkLst>
        </pc:spChg>
      </pc:sldChg>
      <pc:sldChg chg="addSp modSp add mod">
        <pc:chgData name="Andreas Koksrud" userId="9d9beba6-c052-407a-8599-c781a677a996" providerId="ADAL" clId="{4C89AD2D-B60A-479F-9F95-9D423A06FAEA}" dt="2024-06-14T18:23:54.106" v="6676" actId="20577"/>
        <pc:sldMkLst>
          <pc:docMk/>
          <pc:sldMk cId="1758492541" sldId="918"/>
        </pc:sldMkLst>
        <pc:spChg chg="add mod">
          <ac:chgData name="Andreas Koksrud" userId="9d9beba6-c052-407a-8599-c781a677a996" providerId="ADAL" clId="{4C89AD2D-B60A-479F-9F95-9D423A06FAEA}" dt="2024-06-14T18:23:51.100" v="6670"/>
          <ac:spMkLst>
            <pc:docMk/>
            <pc:sldMk cId="1758492541" sldId="918"/>
            <ac:spMk id="3" creationId="{40E1B586-5A5D-DCEE-46BD-3AF66F37C62C}"/>
          </ac:spMkLst>
        </pc:spChg>
        <pc:spChg chg="add mod">
          <ac:chgData name="Andreas Koksrud" userId="9d9beba6-c052-407a-8599-c781a677a996" providerId="ADAL" clId="{4C89AD2D-B60A-479F-9F95-9D423A06FAEA}" dt="2024-06-14T18:23:54.106" v="6676" actId="20577"/>
          <ac:spMkLst>
            <pc:docMk/>
            <pc:sldMk cId="1758492541" sldId="918"/>
            <ac:spMk id="4" creationId="{AD92383D-3A9F-2357-A202-AB8E8E6C7CBA}"/>
          </ac:spMkLst>
        </pc:spChg>
        <pc:spChg chg="mod">
          <ac:chgData name="Andreas Koksrud" userId="9d9beba6-c052-407a-8599-c781a677a996" providerId="ADAL" clId="{4C89AD2D-B60A-479F-9F95-9D423A06FAEA}" dt="2024-06-09T16:30:23.173" v="4144" actId="20577"/>
          <ac:spMkLst>
            <pc:docMk/>
            <pc:sldMk cId="1758492541" sldId="918"/>
            <ac:spMk id="180" creationId="{00000000-0000-0000-0000-000000000000}"/>
          </ac:spMkLst>
        </pc:spChg>
      </pc:sldChg>
      <pc:sldChg chg="addSp modSp add mod">
        <pc:chgData name="Andreas Koksrud" userId="9d9beba6-c052-407a-8599-c781a677a996" providerId="ADAL" clId="{4C89AD2D-B60A-479F-9F95-9D423A06FAEA}" dt="2024-06-14T18:24:31.062" v="6766" actId="20577"/>
        <pc:sldMkLst>
          <pc:docMk/>
          <pc:sldMk cId="1808846110" sldId="919"/>
        </pc:sldMkLst>
        <pc:spChg chg="add mod">
          <ac:chgData name="Andreas Koksrud" userId="9d9beba6-c052-407a-8599-c781a677a996" providerId="ADAL" clId="{4C89AD2D-B60A-479F-9F95-9D423A06FAEA}" dt="2024-06-14T18:24:06.605" v="6684"/>
          <ac:spMkLst>
            <pc:docMk/>
            <pc:sldMk cId="1808846110" sldId="919"/>
            <ac:spMk id="3" creationId="{AFC413DF-988F-BD7B-1532-1F234914F567}"/>
          </ac:spMkLst>
        </pc:spChg>
        <pc:spChg chg="add mod">
          <ac:chgData name="Andreas Koksrud" userId="9d9beba6-c052-407a-8599-c781a677a996" providerId="ADAL" clId="{4C89AD2D-B60A-479F-9F95-9D423A06FAEA}" dt="2024-06-14T18:24:31.062" v="6766" actId="20577"/>
          <ac:spMkLst>
            <pc:docMk/>
            <pc:sldMk cId="1808846110" sldId="919"/>
            <ac:spMk id="4" creationId="{BCF4F0BF-1623-F3B2-405E-AB01D015445B}"/>
          </ac:spMkLst>
        </pc:spChg>
        <pc:spChg chg="mod">
          <ac:chgData name="Andreas Koksrud" userId="9d9beba6-c052-407a-8599-c781a677a996" providerId="ADAL" clId="{4C89AD2D-B60A-479F-9F95-9D423A06FAEA}" dt="2024-06-09T16:30:31.381" v="4152" actId="20577"/>
          <ac:spMkLst>
            <pc:docMk/>
            <pc:sldMk cId="1808846110" sldId="919"/>
            <ac:spMk id="180" creationId="{00000000-0000-0000-0000-000000000000}"/>
          </ac:spMkLst>
        </pc:spChg>
      </pc:sldChg>
      <pc:sldChg chg="addSp delSp modSp add mod">
        <pc:chgData name="Andreas Koksrud" userId="9d9beba6-c052-407a-8599-c781a677a996" providerId="ADAL" clId="{4C89AD2D-B60A-479F-9F95-9D423A06FAEA}" dt="2024-07-16T13:59:18.608" v="24773" actId="20577"/>
        <pc:sldMkLst>
          <pc:docMk/>
          <pc:sldMk cId="1801208341" sldId="920"/>
        </pc:sldMkLst>
        <pc:spChg chg="add del mod">
          <ac:chgData name="Andreas Koksrud" userId="9d9beba6-c052-407a-8599-c781a677a996" providerId="ADAL" clId="{4C89AD2D-B60A-479F-9F95-9D423A06FAEA}" dt="2024-07-16T13:59:05.731" v="24725" actId="478"/>
          <ac:spMkLst>
            <pc:docMk/>
            <pc:sldMk cId="1801208341" sldId="920"/>
            <ac:spMk id="2" creationId="{8D9AF8E0-ED58-049B-F591-0FAE74AD16DC}"/>
          </ac:spMkLst>
        </pc:spChg>
        <pc:spChg chg="add mod">
          <ac:chgData name="Andreas Koksrud" userId="9d9beba6-c052-407a-8599-c781a677a996" providerId="ADAL" clId="{4C89AD2D-B60A-479F-9F95-9D423A06FAEA}" dt="2024-06-14T18:24:56.364" v="6785"/>
          <ac:spMkLst>
            <pc:docMk/>
            <pc:sldMk cId="1801208341" sldId="920"/>
            <ac:spMk id="3" creationId="{71352E93-6E68-981B-DC0C-37AF22A35786}"/>
          </ac:spMkLst>
        </pc:spChg>
        <pc:spChg chg="add mod">
          <ac:chgData name="Andreas Koksrud" userId="9d9beba6-c052-407a-8599-c781a677a996" providerId="ADAL" clId="{4C89AD2D-B60A-479F-9F95-9D423A06FAEA}" dt="2024-06-14T18:25:00.385" v="6791" actId="20577"/>
          <ac:spMkLst>
            <pc:docMk/>
            <pc:sldMk cId="1801208341" sldId="920"/>
            <ac:spMk id="4" creationId="{CA228427-F960-EBF3-4E36-7628B86A118C}"/>
          </ac:spMkLst>
        </pc:spChg>
        <pc:spChg chg="add del mod">
          <ac:chgData name="Andreas Koksrud" userId="9d9beba6-c052-407a-8599-c781a677a996" providerId="ADAL" clId="{4C89AD2D-B60A-479F-9F95-9D423A06FAEA}" dt="2024-07-16T13:59:07.372" v="24726" actId="478"/>
          <ac:spMkLst>
            <pc:docMk/>
            <pc:sldMk cId="1801208341" sldId="920"/>
            <ac:spMk id="5" creationId="{6FF65290-59AB-6DD3-3EA1-31BF85E26153}"/>
          </ac:spMkLst>
        </pc:spChg>
        <pc:spChg chg="mod">
          <ac:chgData name="Andreas Koksrud" userId="9d9beba6-c052-407a-8599-c781a677a996" providerId="ADAL" clId="{4C89AD2D-B60A-479F-9F95-9D423A06FAEA}" dt="2024-06-09T16:30:38.117" v="4159" actId="20577"/>
          <ac:spMkLst>
            <pc:docMk/>
            <pc:sldMk cId="1801208341" sldId="920"/>
            <ac:spMk id="180" creationId="{00000000-0000-0000-0000-000000000000}"/>
          </ac:spMkLst>
        </pc:spChg>
        <pc:spChg chg="mod">
          <ac:chgData name="Andreas Koksrud" userId="9d9beba6-c052-407a-8599-c781a677a996" providerId="ADAL" clId="{4C89AD2D-B60A-479F-9F95-9D423A06FAEA}" dt="2024-07-16T13:59:18.608" v="24773" actId="20577"/>
          <ac:spMkLst>
            <pc:docMk/>
            <pc:sldMk cId="1801208341" sldId="920"/>
            <ac:spMk id="181" creationId="{00000000-0000-0000-0000-000000000000}"/>
          </ac:spMkLst>
        </pc:spChg>
      </pc:sldChg>
      <pc:sldChg chg="addSp modSp add mod">
        <pc:chgData name="Andreas Koksrud" userId="9d9beba6-c052-407a-8599-c781a677a996" providerId="ADAL" clId="{4C89AD2D-B60A-479F-9F95-9D423A06FAEA}" dt="2024-06-14T18:25:05.777" v="6796" actId="20577"/>
        <pc:sldMkLst>
          <pc:docMk/>
          <pc:sldMk cId="2341160540" sldId="921"/>
        </pc:sldMkLst>
        <pc:spChg chg="add mod">
          <ac:chgData name="Andreas Koksrud" userId="9d9beba6-c052-407a-8599-c781a677a996" providerId="ADAL" clId="{4C89AD2D-B60A-479F-9F95-9D423A06FAEA}" dt="2024-06-14T18:25:03.010" v="6792"/>
          <ac:spMkLst>
            <pc:docMk/>
            <pc:sldMk cId="2341160540" sldId="921"/>
            <ac:spMk id="3" creationId="{A7125C9D-BCF1-3755-4881-C8620A278717}"/>
          </ac:spMkLst>
        </pc:spChg>
        <pc:spChg chg="add mod">
          <ac:chgData name="Andreas Koksrud" userId="9d9beba6-c052-407a-8599-c781a677a996" providerId="ADAL" clId="{4C89AD2D-B60A-479F-9F95-9D423A06FAEA}" dt="2024-06-14T18:25:05.777" v="6796" actId="20577"/>
          <ac:spMkLst>
            <pc:docMk/>
            <pc:sldMk cId="2341160540" sldId="921"/>
            <ac:spMk id="4" creationId="{7922935E-E146-85EB-25BE-08A8292BFCE8}"/>
          </ac:spMkLst>
        </pc:spChg>
        <pc:spChg chg="mod">
          <ac:chgData name="Andreas Koksrud" userId="9d9beba6-c052-407a-8599-c781a677a996" providerId="ADAL" clId="{4C89AD2D-B60A-479F-9F95-9D423A06FAEA}" dt="2024-06-09T16:30:50.553" v="4180" actId="20577"/>
          <ac:spMkLst>
            <pc:docMk/>
            <pc:sldMk cId="2341160540" sldId="921"/>
            <ac:spMk id="180" creationId="{00000000-0000-0000-0000-000000000000}"/>
          </ac:spMkLst>
        </pc:spChg>
        <pc:spChg chg="mod">
          <ac:chgData name="Andreas Koksrud" userId="9d9beba6-c052-407a-8599-c781a677a996" providerId="ADAL" clId="{4C89AD2D-B60A-479F-9F95-9D423A06FAEA}" dt="2024-06-09T16:31:11.797" v="4248" actId="20577"/>
          <ac:spMkLst>
            <pc:docMk/>
            <pc:sldMk cId="2341160540" sldId="921"/>
            <ac:spMk id="181" creationId="{00000000-0000-0000-0000-000000000000}"/>
          </ac:spMkLst>
        </pc:spChg>
      </pc:sldChg>
      <pc:sldChg chg="addSp modSp add mod">
        <pc:chgData name="Andreas Koksrud" userId="9d9beba6-c052-407a-8599-c781a677a996" providerId="ADAL" clId="{4C89AD2D-B60A-479F-9F95-9D423A06FAEA}" dt="2024-06-14T18:25:45.491" v="6924" actId="20577"/>
        <pc:sldMkLst>
          <pc:docMk/>
          <pc:sldMk cId="118872145" sldId="922"/>
        </pc:sldMkLst>
        <pc:spChg chg="add mod">
          <ac:chgData name="Andreas Koksrud" userId="9d9beba6-c052-407a-8599-c781a677a996" providerId="ADAL" clId="{4C89AD2D-B60A-479F-9F95-9D423A06FAEA}" dt="2024-06-14T18:25:08.475" v="6797"/>
          <ac:spMkLst>
            <pc:docMk/>
            <pc:sldMk cId="118872145" sldId="922"/>
            <ac:spMk id="3" creationId="{9CD2976C-206E-46DE-36B6-AC07B64C3968}"/>
          </ac:spMkLst>
        </pc:spChg>
        <pc:spChg chg="add mod">
          <ac:chgData name="Andreas Koksrud" userId="9d9beba6-c052-407a-8599-c781a677a996" providerId="ADAL" clId="{4C89AD2D-B60A-479F-9F95-9D423A06FAEA}" dt="2024-06-14T18:25:11.415" v="6803" actId="20577"/>
          <ac:spMkLst>
            <pc:docMk/>
            <pc:sldMk cId="118872145" sldId="922"/>
            <ac:spMk id="4" creationId="{22D461A0-03D2-FCE9-F6DB-C4FFE191AB05}"/>
          </ac:spMkLst>
        </pc:spChg>
        <pc:spChg chg="mod">
          <ac:chgData name="Andreas Koksrud" userId="9d9beba6-c052-407a-8599-c781a677a996" providerId="ADAL" clId="{4C89AD2D-B60A-479F-9F95-9D423A06FAEA}" dt="2024-06-09T16:31:20.879" v="4273" actId="20577"/>
          <ac:spMkLst>
            <pc:docMk/>
            <pc:sldMk cId="118872145" sldId="922"/>
            <ac:spMk id="180" creationId="{00000000-0000-0000-0000-000000000000}"/>
          </ac:spMkLst>
        </pc:spChg>
        <pc:spChg chg="mod">
          <ac:chgData name="Andreas Koksrud" userId="9d9beba6-c052-407a-8599-c781a677a996" providerId="ADAL" clId="{4C89AD2D-B60A-479F-9F95-9D423A06FAEA}" dt="2024-06-14T18:25:45.491" v="6924" actId="20577"/>
          <ac:spMkLst>
            <pc:docMk/>
            <pc:sldMk cId="118872145" sldId="922"/>
            <ac:spMk id="181" creationId="{00000000-0000-0000-0000-000000000000}"/>
          </ac:spMkLst>
        </pc:spChg>
      </pc:sldChg>
      <pc:sldChg chg="modSp add del mod">
        <pc:chgData name="Andreas Koksrud" userId="9d9beba6-c052-407a-8599-c781a677a996" providerId="ADAL" clId="{4C89AD2D-B60A-479F-9F95-9D423A06FAEA}" dt="2024-06-11T10:42:35.150" v="4388" actId="2696"/>
        <pc:sldMkLst>
          <pc:docMk/>
          <pc:sldMk cId="200824465" sldId="923"/>
        </pc:sldMkLst>
        <pc:spChg chg="mod">
          <ac:chgData name="Andreas Koksrud" userId="9d9beba6-c052-407a-8599-c781a677a996" providerId="ADAL" clId="{4C89AD2D-B60A-479F-9F95-9D423A06FAEA}" dt="2024-06-11T10:33:12.750" v="4379" actId="20577"/>
          <ac:spMkLst>
            <pc:docMk/>
            <pc:sldMk cId="200824465" sldId="923"/>
            <ac:spMk id="181" creationId="{00000000-0000-0000-0000-000000000000}"/>
          </ac:spMkLst>
        </pc:spChg>
      </pc:sldChg>
      <pc:sldChg chg="addSp delSp modSp add mod">
        <pc:chgData name="Andreas Koksrud" userId="9d9beba6-c052-407a-8599-c781a677a996" providerId="ADAL" clId="{4C89AD2D-B60A-479F-9F95-9D423A06FAEA}" dt="2024-07-31T19:50:19.854" v="32003" actId="14100"/>
        <pc:sldMkLst>
          <pc:docMk/>
          <pc:sldMk cId="2885495848" sldId="923"/>
        </pc:sldMkLst>
        <pc:spChg chg="add">
          <ac:chgData name="Andreas Koksrud" userId="9d9beba6-c052-407a-8599-c781a677a996" providerId="ADAL" clId="{4C89AD2D-B60A-479F-9F95-9D423A06FAEA}" dt="2024-06-11T10:43:57.288" v="4391"/>
          <ac:spMkLst>
            <pc:docMk/>
            <pc:sldMk cId="2885495848" sldId="923"/>
            <ac:spMk id="2" creationId="{05EE45E6-3ED4-1EE0-3F26-5FADC9967F66}"/>
          </ac:spMkLst>
        </pc:spChg>
        <pc:spChg chg="add mod">
          <ac:chgData name="Andreas Koksrud" userId="9d9beba6-c052-407a-8599-c781a677a996" providerId="ADAL" clId="{4C89AD2D-B60A-479F-9F95-9D423A06FAEA}" dt="2024-06-17T18:45:12.299" v="11405" actId="20577"/>
          <ac:spMkLst>
            <pc:docMk/>
            <pc:sldMk cId="2885495848" sldId="923"/>
            <ac:spMk id="2" creationId="{E315A8C5-A2D8-8BA1-7ACE-221F2DCCF336}"/>
          </ac:spMkLst>
        </pc:spChg>
        <pc:spChg chg="add mod">
          <ac:chgData name="Andreas Koksrud" userId="9d9beba6-c052-407a-8599-c781a677a996" providerId="ADAL" clId="{4C89AD2D-B60A-479F-9F95-9D423A06FAEA}" dt="2024-06-14T18:14:04.213" v="6016"/>
          <ac:spMkLst>
            <pc:docMk/>
            <pc:sldMk cId="2885495848" sldId="923"/>
            <ac:spMk id="3" creationId="{5CEC595F-C6A3-731D-D0B9-B63CD8F566E5}"/>
          </ac:spMkLst>
        </pc:spChg>
        <pc:spChg chg="add">
          <ac:chgData name="Andreas Koksrud" userId="9d9beba6-c052-407a-8599-c781a677a996" providerId="ADAL" clId="{4C89AD2D-B60A-479F-9F95-9D423A06FAEA}" dt="2024-06-11T10:47:09.305" v="4478"/>
          <ac:spMkLst>
            <pc:docMk/>
            <pc:sldMk cId="2885495848" sldId="923"/>
            <ac:spMk id="3" creationId="{8A8F06B3-6479-634A-F5BA-F8A069635D54}"/>
          </ac:spMkLst>
        </pc:spChg>
        <pc:spChg chg="add mod">
          <ac:chgData name="Andreas Koksrud" userId="9d9beba6-c052-407a-8599-c781a677a996" providerId="ADAL" clId="{4C89AD2D-B60A-479F-9F95-9D423A06FAEA}" dt="2024-06-14T18:14:04.213" v="6016"/>
          <ac:spMkLst>
            <pc:docMk/>
            <pc:sldMk cId="2885495848" sldId="923"/>
            <ac:spMk id="4" creationId="{50517D77-3A64-BCFB-F79F-68CCDB48A57D}"/>
          </ac:spMkLst>
        </pc:spChg>
        <pc:spChg chg="add mod">
          <ac:chgData name="Andreas Koksrud" userId="9d9beba6-c052-407a-8599-c781a677a996" providerId="ADAL" clId="{4C89AD2D-B60A-479F-9F95-9D423A06FAEA}" dt="2024-07-20T17:23:19.335" v="26017" actId="6549"/>
          <ac:spMkLst>
            <pc:docMk/>
            <pc:sldMk cId="2885495848" sldId="923"/>
            <ac:spMk id="5" creationId="{9F47259F-08A8-ED91-1804-FF43494DA128}"/>
          </ac:spMkLst>
        </pc:spChg>
        <pc:spChg chg="add mod">
          <ac:chgData name="Andreas Koksrud" userId="9d9beba6-c052-407a-8599-c781a677a996" providerId="ADAL" clId="{4C89AD2D-B60A-479F-9F95-9D423A06FAEA}" dt="2024-07-31T19:50:04.754" v="31999" actId="20577"/>
          <ac:spMkLst>
            <pc:docMk/>
            <pc:sldMk cId="2885495848" sldId="923"/>
            <ac:spMk id="6" creationId="{229AD454-6D23-8DDF-3448-AAB35AD3CEDE}"/>
          </ac:spMkLst>
        </pc:spChg>
        <pc:spChg chg="add mod">
          <ac:chgData name="Andreas Koksrud" userId="9d9beba6-c052-407a-8599-c781a677a996" providerId="ADAL" clId="{4C89AD2D-B60A-479F-9F95-9D423A06FAEA}" dt="2024-07-31T19:49:28.335" v="31985" actId="14100"/>
          <ac:spMkLst>
            <pc:docMk/>
            <pc:sldMk cId="2885495848" sldId="923"/>
            <ac:spMk id="10" creationId="{1E65EB2D-33A5-DD93-8199-47B5A1192213}"/>
          </ac:spMkLst>
        </pc:spChg>
        <pc:spChg chg="add mod">
          <ac:chgData name="Andreas Koksrud" userId="9d9beba6-c052-407a-8599-c781a677a996" providerId="ADAL" clId="{4C89AD2D-B60A-479F-9F95-9D423A06FAEA}" dt="2024-07-31T19:49:42.631" v="31987" actId="14100"/>
          <ac:spMkLst>
            <pc:docMk/>
            <pc:sldMk cId="2885495848" sldId="923"/>
            <ac:spMk id="11" creationId="{5B89C1CF-0BA3-589B-3522-CE257DE67E20}"/>
          </ac:spMkLst>
        </pc:spChg>
        <pc:spChg chg="mod">
          <ac:chgData name="Andreas Koksrud" userId="9d9beba6-c052-407a-8599-c781a677a996" providerId="ADAL" clId="{4C89AD2D-B60A-479F-9F95-9D423A06FAEA}" dt="2024-06-17T18:40:19.673" v="11336" actId="20577"/>
          <ac:spMkLst>
            <pc:docMk/>
            <pc:sldMk cId="2885495848" sldId="923"/>
            <ac:spMk id="180" creationId="{00000000-0000-0000-0000-000000000000}"/>
          </ac:spMkLst>
        </pc:spChg>
        <pc:spChg chg="mod">
          <ac:chgData name="Andreas Koksrud" userId="9d9beba6-c052-407a-8599-c781a677a996" providerId="ADAL" clId="{4C89AD2D-B60A-479F-9F95-9D423A06FAEA}" dt="2024-06-17T18:45:20.141" v="11406" actId="6549"/>
          <ac:spMkLst>
            <pc:docMk/>
            <pc:sldMk cId="2885495848" sldId="923"/>
            <ac:spMk id="181" creationId="{00000000-0000-0000-0000-000000000000}"/>
          </ac:spMkLst>
        </pc:spChg>
        <pc:picChg chg="add del mod">
          <ac:chgData name="Andreas Koksrud" userId="9d9beba6-c052-407a-8599-c781a677a996" providerId="ADAL" clId="{4C89AD2D-B60A-479F-9F95-9D423A06FAEA}" dt="2024-06-11T10:54:17.431" v="4539" actId="478"/>
          <ac:picMkLst>
            <pc:docMk/>
            <pc:sldMk cId="2885495848" sldId="923"/>
            <ac:picMk id="5" creationId="{7544B2AA-7556-FAEE-F553-0CBEBD6D790F}"/>
          </ac:picMkLst>
        </pc:picChg>
        <pc:picChg chg="add mod">
          <ac:chgData name="Andreas Koksrud" userId="9d9beba6-c052-407a-8599-c781a677a996" providerId="ADAL" clId="{4C89AD2D-B60A-479F-9F95-9D423A06FAEA}" dt="2024-07-20T17:26:58.594" v="26018" actId="14826"/>
          <ac:picMkLst>
            <pc:docMk/>
            <pc:sldMk cId="2885495848" sldId="923"/>
            <ac:picMk id="7" creationId="{20DA3B42-7D79-4A47-C780-29C37E46A4F0}"/>
          </ac:picMkLst>
        </pc:picChg>
        <pc:picChg chg="add mod modCrop">
          <ac:chgData name="Andreas Koksrud" userId="9d9beba6-c052-407a-8599-c781a677a996" providerId="ADAL" clId="{4C89AD2D-B60A-479F-9F95-9D423A06FAEA}" dt="2024-07-20T17:28:07.807" v="26036" actId="1036"/>
          <ac:picMkLst>
            <pc:docMk/>
            <pc:sldMk cId="2885495848" sldId="923"/>
            <ac:picMk id="8" creationId="{89082960-D913-3B1F-5E70-CCC478E4D392}"/>
          </ac:picMkLst>
        </pc:picChg>
        <pc:picChg chg="add del mod modCrop">
          <ac:chgData name="Andreas Koksrud" userId="9d9beba6-c052-407a-8599-c781a677a996" providerId="ADAL" clId="{4C89AD2D-B60A-479F-9F95-9D423A06FAEA}" dt="2024-07-20T17:27:16.680" v="26019" actId="478"/>
          <ac:picMkLst>
            <pc:docMk/>
            <pc:sldMk cId="2885495848" sldId="923"/>
            <ac:picMk id="9" creationId="{7A5B6202-2110-4267-8196-A3160A499FA3}"/>
          </ac:picMkLst>
        </pc:picChg>
        <pc:cxnChg chg="add mod">
          <ac:chgData name="Andreas Koksrud" userId="9d9beba6-c052-407a-8599-c781a677a996" providerId="ADAL" clId="{4C89AD2D-B60A-479F-9F95-9D423A06FAEA}" dt="2024-07-31T19:50:16.410" v="32002" actId="14100"/>
          <ac:cxnSpMkLst>
            <pc:docMk/>
            <pc:sldMk cId="2885495848" sldId="923"/>
            <ac:cxnSpMk id="9" creationId="{91BAD381-F93D-ADAD-777A-AA1C54AC7706}"/>
          </ac:cxnSpMkLst>
        </pc:cxnChg>
        <pc:cxnChg chg="add mod">
          <ac:chgData name="Andreas Koksrud" userId="9d9beba6-c052-407a-8599-c781a677a996" providerId="ADAL" clId="{4C89AD2D-B60A-479F-9F95-9D423A06FAEA}" dt="2024-07-31T19:50:19.854" v="32003" actId="14100"/>
          <ac:cxnSpMkLst>
            <pc:docMk/>
            <pc:sldMk cId="2885495848" sldId="923"/>
            <ac:cxnSpMk id="13" creationId="{C9DAF261-AB42-114F-3A91-71D69C1F497D}"/>
          </ac:cxnSpMkLst>
        </pc:cxnChg>
      </pc:sldChg>
      <pc:sldChg chg="addSp delSp modSp add mod">
        <pc:chgData name="Andreas Koksrud" userId="9d9beba6-c052-407a-8599-c781a677a996" providerId="ADAL" clId="{4C89AD2D-B60A-479F-9F95-9D423A06FAEA}" dt="2024-07-31T19:30:01.841" v="31933" actId="20577"/>
        <pc:sldMkLst>
          <pc:docMk/>
          <pc:sldMk cId="670631779" sldId="924"/>
        </pc:sldMkLst>
        <pc:spChg chg="add mod">
          <ac:chgData name="Andreas Koksrud" userId="9d9beba6-c052-407a-8599-c781a677a996" providerId="ADAL" clId="{4C89AD2D-B60A-479F-9F95-9D423A06FAEA}" dt="2024-06-14T18:13:49.989" v="6009"/>
          <ac:spMkLst>
            <pc:docMk/>
            <pc:sldMk cId="670631779" sldId="924"/>
            <ac:spMk id="2" creationId="{3AB7FB49-71FE-C662-648D-B83B87BD4C2F}"/>
          </ac:spMkLst>
        </pc:spChg>
        <pc:spChg chg="add mod">
          <ac:chgData name="Andreas Koksrud" userId="9d9beba6-c052-407a-8599-c781a677a996" providerId="ADAL" clId="{4C89AD2D-B60A-479F-9F95-9D423A06FAEA}" dt="2024-06-14T18:13:49.989" v="6009"/>
          <ac:spMkLst>
            <pc:docMk/>
            <pc:sldMk cId="670631779" sldId="924"/>
            <ac:spMk id="3" creationId="{D0EF76BE-09AF-0665-13B3-1F2DA9491824}"/>
          </ac:spMkLst>
        </pc:spChg>
        <pc:spChg chg="add mod">
          <ac:chgData name="Andreas Koksrud" userId="9d9beba6-c052-407a-8599-c781a677a996" providerId="ADAL" clId="{4C89AD2D-B60A-479F-9F95-9D423A06FAEA}" dt="2024-07-31T19:30:01.841" v="31933" actId="20577"/>
          <ac:spMkLst>
            <pc:docMk/>
            <pc:sldMk cId="670631779" sldId="924"/>
            <ac:spMk id="16" creationId="{DA53A636-0A16-787D-A16E-AF212E41EC53}"/>
          </ac:spMkLst>
        </pc:spChg>
        <pc:spChg chg="mod">
          <ac:chgData name="Andreas Koksrud" userId="9d9beba6-c052-407a-8599-c781a677a996" providerId="ADAL" clId="{4C89AD2D-B60A-479F-9F95-9D423A06FAEA}" dt="2024-07-31T19:25:57.172" v="31710" actId="20577"/>
          <ac:spMkLst>
            <pc:docMk/>
            <pc:sldMk cId="670631779" sldId="924"/>
            <ac:spMk id="180" creationId="{00000000-0000-0000-0000-000000000000}"/>
          </ac:spMkLst>
        </pc:spChg>
        <pc:picChg chg="add del">
          <ac:chgData name="Andreas Koksrud" userId="9d9beba6-c052-407a-8599-c781a677a996" providerId="ADAL" clId="{4C89AD2D-B60A-479F-9F95-9D423A06FAEA}" dt="2024-06-17T18:10:55.180" v="11227" actId="22"/>
          <ac:picMkLst>
            <pc:docMk/>
            <pc:sldMk cId="670631779" sldId="924"/>
            <ac:picMk id="5" creationId="{72240E84-E020-E8E8-87E1-8D270DC49EA0}"/>
          </ac:picMkLst>
        </pc:picChg>
        <pc:picChg chg="add mod">
          <ac:chgData name="Andreas Koksrud" userId="9d9beba6-c052-407a-8599-c781a677a996" providerId="ADAL" clId="{4C89AD2D-B60A-479F-9F95-9D423A06FAEA}" dt="2024-07-31T19:29:18.037" v="31740" actId="1076"/>
          <ac:picMkLst>
            <pc:docMk/>
            <pc:sldMk cId="670631779" sldId="924"/>
            <ac:picMk id="5" creationId="{AF600DB4-76ED-E4A3-41DC-7E42016E42F1}"/>
          </ac:picMkLst>
        </pc:picChg>
        <pc:picChg chg="add mod">
          <ac:chgData name="Andreas Koksrud" userId="9d9beba6-c052-407a-8599-c781a677a996" providerId="ADAL" clId="{4C89AD2D-B60A-479F-9F95-9D423A06FAEA}" dt="2024-07-31T19:29:18.037" v="31740" actId="1076"/>
          <ac:picMkLst>
            <pc:docMk/>
            <pc:sldMk cId="670631779" sldId="924"/>
            <ac:picMk id="7" creationId="{1B2C4E18-F145-80BF-E219-3E01B94EBCF3}"/>
          </ac:picMkLst>
        </pc:picChg>
        <pc:picChg chg="add mod">
          <ac:chgData name="Andreas Koksrud" userId="9d9beba6-c052-407a-8599-c781a677a996" providerId="ADAL" clId="{4C89AD2D-B60A-479F-9F95-9D423A06FAEA}" dt="2024-07-31T19:29:18.037" v="31740" actId="1076"/>
          <ac:picMkLst>
            <pc:docMk/>
            <pc:sldMk cId="670631779" sldId="924"/>
            <ac:picMk id="9" creationId="{0668E857-9AC7-B9FE-EDDD-82555026676C}"/>
          </ac:picMkLst>
        </pc:picChg>
        <pc:picChg chg="add mod">
          <ac:chgData name="Andreas Koksrud" userId="9d9beba6-c052-407a-8599-c781a677a996" providerId="ADAL" clId="{4C89AD2D-B60A-479F-9F95-9D423A06FAEA}" dt="2024-07-31T19:29:18.037" v="31740" actId="1076"/>
          <ac:picMkLst>
            <pc:docMk/>
            <pc:sldMk cId="670631779" sldId="924"/>
            <ac:picMk id="11" creationId="{08A10331-330D-A88B-4D35-8AA6E8884243}"/>
          </ac:picMkLst>
        </pc:picChg>
        <pc:picChg chg="add mod">
          <ac:chgData name="Andreas Koksrud" userId="9d9beba6-c052-407a-8599-c781a677a996" providerId="ADAL" clId="{4C89AD2D-B60A-479F-9F95-9D423A06FAEA}" dt="2024-07-31T19:29:18.037" v="31740" actId="1076"/>
          <ac:picMkLst>
            <pc:docMk/>
            <pc:sldMk cId="670631779" sldId="924"/>
            <ac:picMk id="13" creationId="{08DDA882-C2C9-D08F-8116-79864E4BF7AC}"/>
          </ac:picMkLst>
        </pc:picChg>
        <pc:picChg chg="add mod">
          <ac:chgData name="Andreas Koksrud" userId="9d9beba6-c052-407a-8599-c781a677a996" providerId="ADAL" clId="{4C89AD2D-B60A-479F-9F95-9D423A06FAEA}" dt="2024-07-31T19:29:18.037" v="31740" actId="1076"/>
          <ac:picMkLst>
            <pc:docMk/>
            <pc:sldMk cId="670631779" sldId="924"/>
            <ac:picMk id="15" creationId="{1830161E-0BF3-C2EF-6ED8-D29AFF28B676}"/>
          </ac:picMkLst>
        </pc:picChg>
        <pc:picChg chg="add del">
          <ac:chgData name="Andreas Koksrud" userId="9d9beba6-c052-407a-8599-c781a677a996" providerId="ADAL" clId="{4C89AD2D-B60A-479F-9F95-9D423A06FAEA}" dt="2024-07-31T19:25:59.154" v="31711" actId="478"/>
          <ac:picMkLst>
            <pc:docMk/>
            <pc:sldMk cId="670631779" sldId="924"/>
            <ac:picMk id="1028" creationId="{8A408656-10AC-0501-E547-D47D713B2B11}"/>
          </ac:picMkLst>
        </pc:picChg>
      </pc:sldChg>
      <pc:sldChg chg="addSp modSp add del">
        <pc:chgData name="Andreas Koksrud" userId="9d9beba6-c052-407a-8599-c781a677a996" providerId="ADAL" clId="{4C89AD2D-B60A-479F-9F95-9D423A06FAEA}" dt="2024-06-17T18:10:07.656" v="11222" actId="47"/>
        <pc:sldMkLst>
          <pc:docMk/>
          <pc:sldMk cId="333031355" sldId="925"/>
        </pc:sldMkLst>
        <pc:spChg chg="add mod">
          <ac:chgData name="Andreas Koksrud" userId="9d9beba6-c052-407a-8599-c781a677a996" providerId="ADAL" clId="{4C89AD2D-B60A-479F-9F95-9D423A06FAEA}" dt="2024-06-14T18:13:54.416" v="6010"/>
          <ac:spMkLst>
            <pc:docMk/>
            <pc:sldMk cId="333031355" sldId="925"/>
            <ac:spMk id="2" creationId="{6595A971-4FC7-9256-C352-BB4E72D8B80C}"/>
          </ac:spMkLst>
        </pc:spChg>
        <pc:spChg chg="add mod">
          <ac:chgData name="Andreas Koksrud" userId="9d9beba6-c052-407a-8599-c781a677a996" providerId="ADAL" clId="{4C89AD2D-B60A-479F-9F95-9D423A06FAEA}" dt="2024-06-14T18:13:54.416" v="6010"/>
          <ac:spMkLst>
            <pc:docMk/>
            <pc:sldMk cId="333031355" sldId="925"/>
            <ac:spMk id="3" creationId="{E1AA61E8-AF6D-0910-25AD-65BAC0223528}"/>
          </ac:spMkLst>
        </pc:spChg>
      </pc:sldChg>
      <pc:sldChg chg="addSp delSp modSp add mod">
        <pc:chgData name="Andreas Koksrud" userId="9d9beba6-c052-407a-8599-c781a677a996" providerId="ADAL" clId="{4C89AD2D-B60A-479F-9F95-9D423A06FAEA}" dt="2024-07-20T19:00:39.985" v="26128" actId="6549"/>
        <pc:sldMkLst>
          <pc:docMk/>
          <pc:sldMk cId="3505595237" sldId="926"/>
        </pc:sldMkLst>
        <pc:spChg chg="add mod">
          <ac:chgData name="Andreas Koksrud" userId="9d9beba6-c052-407a-8599-c781a677a996" providerId="ADAL" clId="{4C89AD2D-B60A-479F-9F95-9D423A06FAEA}" dt="2024-06-14T18:14:02.393" v="6015"/>
          <ac:spMkLst>
            <pc:docMk/>
            <pc:sldMk cId="3505595237" sldId="926"/>
            <ac:spMk id="2" creationId="{0D3E814F-9E49-1BBA-32AD-3A1FFCA3858E}"/>
          </ac:spMkLst>
        </pc:spChg>
        <pc:spChg chg="add mod">
          <ac:chgData name="Andreas Koksrud" userId="9d9beba6-c052-407a-8599-c781a677a996" providerId="ADAL" clId="{4C89AD2D-B60A-479F-9F95-9D423A06FAEA}" dt="2024-06-14T18:14:02.393" v="6015"/>
          <ac:spMkLst>
            <pc:docMk/>
            <pc:sldMk cId="3505595237" sldId="926"/>
            <ac:spMk id="3" creationId="{D51B2049-628D-9035-C000-5C6F966B9944}"/>
          </ac:spMkLst>
        </pc:spChg>
        <pc:spChg chg="add mod">
          <ac:chgData name="Andreas Koksrud" userId="9d9beba6-c052-407a-8599-c781a677a996" providerId="ADAL" clId="{4C89AD2D-B60A-479F-9F95-9D423A06FAEA}" dt="2024-07-20T19:00:39.985" v="26128" actId="6549"/>
          <ac:spMkLst>
            <pc:docMk/>
            <pc:sldMk cId="3505595237" sldId="926"/>
            <ac:spMk id="4" creationId="{97BC605F-D37F-2460-5177-8642F587998D}"/>
          </ac:spMkLst>
        </pc:spChg>
        <pc:picChg chg="add mod modCrop">
          <ac:chgData name="Andreas Koksrud" userId="9d9beba6-c052-407a-8599-c781a677a996" providerId="ADAL" clId="{4C89AD2D-B60A-479F-9F95-9D423A06FAEA}" dt="2024-07-01T18:28:13.128" v="15920" actId="732"/>
          <ac:picMkLst>
            <pc:docMk/>
            <pc:sldMk cId="3505595237" sldId="926"/>
            <ac:picMk id="5" creationId="{F8A115C8-868B-5A69-F64C-E43508F21DE1}"/>
          </ac:picMkLst>
        </pc:picChg>
        <pc:picChg chg="add del mod">
          <ac:chgData name="Andreas Koksrud" userId="9d9beba6-c052-407a-8599-c781a677a996" providerId="ADAL" clId="{4C89AD2D-B60A-479F-9F95-9D423A06FAEA}" dt="2024-07-01T18:28:20.511" v="15929" actId="478"/>
          <ac:picMkLst>
            <pc:docMk/>
            <pc:sldMk cId="3505595237" sldId="926"/>
            <ac:picMk id="7" creationId="{7ADF71EA-625D-7040-37AE-E07C58C09CEE}"/>
          </ac:picMkLst>
        </pc:picChg>
        <pc:picChg chg="add del mod modCrop">
          <ac:chgData name="Andreas Koksrud" userId="9d9beba6-c052-407a-8599-c781a677a996" providerId="ADAL" clId="{4C89AD2D-B60A-479F-9F95-9D423A06FAEA}" dt="2024-07-01T18:28:19.723" v="15928" actId="478"/>
          <ac:picMkLst>
            <pc:docMk/>
            <pc:sldMk cId="3505595237" sldId="926"/>
            <ac:picMk id="9" creationId="{2EED6B9C-9E23-12C8-0E73-94257CA5C5A0}"/>
          </ac:picMkLst>
        </pc:picChg>
        <pc:picChg chg="del">
          <ac:chgData name="Andreas Koksrud" userId="9d9beba6-c052-407a-8599-c781a677a996" providerId="ADAL" clId="{4C89AD2D-B60A-479F-9F95-9D423A06FAEA}" dt="2024-06-17T18:35:50" v="11278" actId="478"/>
          <ac:picMkLst>
            <pc:docMk/>
            <pc:sldMk cId="3505595237" sldId="926"/>
            <ac:picMk id="12" creationId="{86F2D8AE-0330-0D0D-4F9D-8644154F55B1}"/>
          </ac:picMkLst>
        </pc:picChg>
        <pc:picChg chg="del">
          <ac:chgData name="Andreas Koksrud" userId="9d9beba6-c052-407a-8599-c781a677a996" providerId="ADAL" clId="{4C89AD2D-B60A-479F-9F95-9D423A06FAEA}" dt="2024-06-17T18:35:51.716" v="11279" actId="478"/>
          <ac:picMkLst>
            <pc:docMk/>
            <pc:sldMk cId="3505595237" sldId="926"/>
            <ac:picMk id="13" creationId="{33AEEC77-F65C-6D99-06BC-BFFFE5B85C7D}"/>
          </ac:picMkLst>
        </pc:picChg>
      </pc:sldChg>
      <pc:sldChg chg="addSp delSp modSp add del mod">
        <pc:chgData name="Andreas Koksrud" userId="9d9beba6-c052-407a-8599-c781a677a996" providerId="ADAL" clId="{4C89AD2D-B60A-479F-9F95-9D423A06FAEA}" dt="2024-08-01T08:29:52.146" v="32005" actId="47"/>
        <pc:sldMkLst>
          <pc:docMk/>
          <pc:sldMk cId="1585190168" sldId="927"/>
        </pc:sldMkLst>
        <pc:spChg chg="add mod">
          <ac:chgData name="Andreas Koksrud" userId="9d9beba6-c052-407a-8599-c781a677a996" providerId="ADAL" clId="{4C89AD2D-B60A-479F-9F95-9D423A06FAEA}" dt="2024-06-14T18:14:30.297" v="6027"/>
          <ac:spMkLst>
            <pc:docMk/>
            <pc:sldMk cId="1585190168" sldId="927"/>
            <ac:spMk id="2" creationId="{319D7D4B-8261-42E8-0E67-6032CFC5DF5E}"/>
          </ac:spMkLst>
        </pc:spChg>
        <pc:spChg chg="add mod">
          <ac:chgData name="Andreas Koksrud" userId="9d9beba6-c052-407a-8599-c781a677a996" providerId="ADAL" clId="{4C89AD2D-B60A-479F-9F95-9D423A06FAEA}" dt="2024-06-14T18:14:30.297" v="6027"/>
          <ac:spMkLst>
            <pc:docMk/>
            <pc:sldMk cId="1585190168" sldId="927"/>
            <ac:spMk id="3" creationId="{D7D99EE5-723F-67A0-2236-AC6034713261}"/>
          </ac:spMkLst>
        </pc:spChg>
        <pc:spChg chg="add mod">
          <ac:chgData name="Andreas Koksrud" userId="9d9beba6-c052-407a-8599-c781a677a996" providerId="ADAL" clId="{4C89AD2D-B60A-479F-9F95-9D423A06FAEA}" dt="2024-06-30T09:32:46.474" v="12623" actId="20577"/>
          <ac:spMkLst>
            <pc:docMk/>
            <pc:sldMk cId="1585190168" sldId="927"/>
            <ac:spMk id="4" creationId="{57E11F6B-F3A4-ACC7-2FE0-9C4C819C28B0}"/>
          </ac:spMkLst>
        </pc:spChg>
        <pc:spChg chg="mod">
          <ac:chgData name="Andreas Koksrud" userId="9d9beba6-c052-407a-8599-c781a677a996" providerId="ADAL" clId="{4C89AD2D-B60A-479F-9F95-9D423A06FAEA}" dt="2024-06-30T09:31:14.345" v="12474" actId="20577"/>
          <ac:spMkLst>
            <pc:docMk/>
            <pc:sldMk cId="1585190168" sldId="927"/>
            <ac:spMk id="180" creationId="{664A6AC7-5250-0851-8B5A-11B4DD8C3484}"/>
          </ac:spMkLst>
        </pc:spChg>
        <pc:picChg chg="del">
          <ac:chgData name="Andreas Koksrud" userId="9d9beba6-c052-407a-8599-c781a677a996" providerId="ADAL" clId="{4C89AD2D-B60A-479F-9F95-9D423A06FAEA}" dt="2024-06-30T09:31:00.617" v="12457" actId="21"/>
          <ac:picMkLst>
            <pc:docMk/>
            <pc:sldMk cId="1585190168" sldId="927"/>
            <ac:picMk id="2050" creationId="{4D1C5D00-C5E4-7749-7197-C9B46645681E}"/>
          </ac:picMkLst>
        </pc:picChg>
      </pc:sldChg>
      <pc:sldChg chg="addSp delSp modSp add mod">
        <pc:chgData name="Andreas Koksrud" userId="9d9beba6-c052-407a-8599-c781a677a996" providerId="ADAL" clId="{4C89AD2D-B60A-479F-9F95-9D423A06FAEA}" dt="2024-08-01T08:50:58.247" v="34014" actId="1036"/>
        <pc:sldMkLst>
          <pc:docMk/>
          <pc:sldMk cId="1761133344" sldId="928"/>
        </pc:sldMkLst>
        <pc:spChg chg="add mod">
          <ac:chgData name="Andreas Koksrud" userId="9d9beba6-c052-407a-8599-c781a677a996" providerId="ADAL" clId="{4C89AD2D-B60A-479F-9F95-9D423A06FAEA}" dt="2024-06-14T18:14:33.503" v="6029"/>
          <ac:spMkLst>
            <pc:docMk/>
            <pc:sldMk cId="1761133344" sldId="928"/>
            <ac:spMk id="2" creationId="{6DF7EEC5-F5E6-533D-9C40-91D60E2E674F}"/>
          </ac:spMkLst>
        </pc:spChg>
        <pc:spChg chg="add mod">
          <ac:chgData name="Andreas Koksrud" userId="9d9beba6-c052-407a-8599-c781a677a996" providerId="ADAL" clId="{4C89AD2D-B60A-479F-9F95-9D423A06FAEA}" dt="2024-06-14T18:14:33.503" v="6029"/>
          <ac:spMkLst>
            <pc:docMk/>
            <pc:sldMk cId="1761133344" sldId="928"/>
            <ac:spMk id="3" creationId="{02FDFBF1-BB30-908D-8469-B581AD113FAA}"/>
          </ac:spMkLst>
        </pc:spChg>
        <pc:spChg chg="add mod">
          <ac:chgData name="Andreas Koksrud" userId="9d9beba6-c052-407a-8599-c781a677a996" providerId="ADAL" clId="{4C89AD2D-B60A-479F-9F95-9D423A06FAEA}" dt="2024-08-01T08:41:11.310" v="32832" actId="14100"/>
          <ac:spMkLst>
            <pc:docMk/>
            <pc:sldMk cId="1761133344" sldId="928"/>
            <ac:spMk id="4" creationId="{A825D71F-DAB7-A57C-2314-A0F9411E9F6D}"/>
          </ac:spMkLst>
        </pc:spChg>
        <pc:spChg chg="add mod">
          <ac:chgData name="Andreas Koksrud" userId="9d9beba6-c052-407a-8599-c781a677a996" providerId="ADAL" clId="{4C89AD2D-B60A-479F-9F95-9D423A06FAEA}" dt="2024-08-01T08:41:13.923" v="32833" actId="14100"/>
          <ac:spMkLst>
            <pc:docMk/>
            <pc:sldMk cId="1761133344" sldId="928"/>
            <ac:spMk id="5" creationId="{4504FF40-DACF-678D-9A2C-5A99C4CFC8B3}"/>
          </ac:spMkLst>
        </pc:spChg>
        <pc:spChg chg="add mod">
          <ac:chgData name="Andreas Koksrud" userId="9d9beba6-c052-407a-8599-c781a677a996" providerId="ADAL" clId="{4C89AD2D-B60A-479F-9F95-9D423A06FAEA}" dt="2024-08-01T08:50:58.247" v="34014" actId="1036"/>
          <ac:spMkLst>
            <pc:docMk/>
            <pc:sldMk cId="1761133344" sldId="928"/>
            <ac:spMk id="6" creationId="{0B248B04-6F93-C05C-C0A9-BB72C4F1D8A3}"/>
          </ac:spMkLst>
        </pc:spChg>
        <pc:spChg chg="add mod">
          <ac:chgData name="Andreas Koksrud" userId="9d9beba6-c052-407a-8599-c781a677a996" providerId="ADAL" clId="{4C89AD2D-B60A-479F-9F95-9D423A06FAEA}" dt="2024-08-01T08:41:16.482" v="32834" actId="14100"/>
          <ac:spMkLst>
            <pc:docMk/>
            <pc:sldMk cId="1761133344" sldId="928"/>
            <ac:spMk id="7" creationId="{33D62527-3A40-24B7-F593-4328242B2F2C}"/>
          </ac:spMkLst>
        </pc:spChg>
        <pc:spChg chg="mod">
          <ac:chgData name="Andreas Koksrud" userId="9d9beba6-c052-407a-8599-c781a677a996" providerId="ADAL" clId="{4C89AD2D-B60A-479F-9F95-9D423A06FAEA}" dt="2024-06-30T09:31:48.297" v="12530" actId="20577"/>
          <ac:spMkLst>
            <pc:docMk/>
            <pc:sldMk cId="1761133344" sldId="928"/>
            <ac:spMk id="180" creationId="{F7147F2C-4A6A-27CF-97F0-BB84E5B79A27}"/>
          </ac:spMkLst>
        </pc:spChg>
        <pc:picChg chg="del mod">
          <ac:chgData name="Andreas Koksrud" userId="9d9beba6-c052-407a-8599-c781a677a996" providerId="ADAL" clId="{4C89AD2D-B60A-479F-9F95-9D423A06FAEA}" dt="2024-06-30T15:06:52.505" v="12788" actId="478"/>
          <ac:picMkLst>
            <pc:docMk/>
            <pc:sldMk cId="1761133344" sldId="928"/>
            <ac:picMk id="6" creationId="{6A053093-6BC5-2836-70FE-51BD12BEB5DE}"/>
          </ac:picMkLst>
        </pc:picChg>
        <pc:picChg chg="del">
          <ac:chgData name="Andreas Koksrud" userId="9d9beba6-c052-407a-8599-c781a677a996" providerId="ADAL" clId="{4C89AD2D-B60A-479F-9F95-9D423A06FAEA}" dt="2024-06-30T15:06:23.372" v="12784" actId="478"/>
          <ac:picMkLst>
            <pc:docMk/>
            <pc:sldMk cId="1761133344" sldId="928"/>
            <ac:picMk id="8" creationId="{368CD9F1-99D7-08A8-7C96-68D2D27C15A8}"/>
          </ac:picMkLst>
        </pc:picChg>
      </pc:sldChg>
      <pc:sldChg chg="addSp modSp add mod">
        <pc:chgData name="Andreas Koksrud" userId="9d9beba6-c052-407a-8599-c781a677a996" providerId="ADAL" clId="{4C89AD2D-B60A-479F-9F95-9D423A06FAEA}" dt="2024-07-05T19:25:45.989" v="20199" actId="14100"/>
        <pc:sldMkLst>
          <pc:docMk/>
          <pc:sldMk cId="3496916072" sldId="929"/>
        </pc:sldMkLst>
        <pc:spChg chg="add mod">
          <ac:chgData name="Andreas Koksrud" userId="9d9beba6-c052-407a-8599-c781a677a996" providerId="ADAL" clId="{4C89AD2D-B60A-479F-9F95-9D423A06FAEA}" dt="2024-06-14T18:17:44.155" v="6338"/>
          <ac:spMkLst>
            <pc:docMk/>
            <pc:sldMk cId="3496916072" sldId="929"/>
            <ac:spMk id="2" creationId="{0BAF9CDF-1F31-022B-DFDF-222C55018715}"/>
          </ac:spMkLst>
        </pc:spChg>
        <pc:spChg chg="mod">
          <ac:chgData name="Andreas Koksrud" userId="9d9beba6-c052-407a-8599-c781a677a996" providerId="ADAL" clId="{4C89AD2D-B60A-479F-9F95-9D423A06FAEA}" dt="2024-07-05T19:25:45.989" v="20199" actId="14100"/>
          <ac:spMkLst>
            <pc:docMk/>
            <pc:sldMk cId="3496916072" sldId="929"/>
            <ac:spMk id="3" creationId="{FE703E88-4252-FC56-3A11-F54BBB369E0F}"/>
          </ac:spMkLst>
        </pc:spChg>
        <pc:spChg chg="mod">
          <ac:chgData name="Andreas Koksrud" userId="9d9beba6-c052-407a-8599-c781a677a996" providerId="ADAL" clId="{4C89AD2D-B60A-479F-9F95-9D423A06FAEA}" dt="2024-07-05T19:25:37.121" v="20195" actId="6549"/>
          <ac:spMkLst>
            <pc:docMk/>
            <pc:sldMk cId="3496916072" sldId="929"/>
            <ac:spMk id="4" creationId="{42F1134E-0AF3-BB43-946F-E13A2D832C8F}"/>
          </ac:spMkLst>
        </pc:spChg>
        <pc:spChg chg="add mod">
          <ac:chgData name="Andreas Koksrud" userId="9d9beba6-c052-407a-8599-c781a677a996" providerId="ADAL" clId="{4C89AD2D-B60A-479F-9F95-9D423A06FAEA}" dt="2024-06-14T18:17:44.155" v="6338"/>
          <ac:spMkLst>
            <pc:docMk/>
            <pc:sldMk cId="3496916072" sldId="929"/>
            <ac:spMk id="5" creationId="{B596EF22-E31D-A2E8-341E-3D77773F09FD}"/>
          </ac:spMkLst>
        </pc:spChg>
        <pc:spChg chg="mod">
          <ac:chgData name="Andreas Koksrud" userId="9d9beba6-c052-407a-8599-c781a677a996" providerId="ADAL" clId="{4C89AD2D-B60A-479F-9F95-9D423A06FAEA}" dt="2024-07-05T19:25:13.061" v="20088" actId="20577"/>
          <ac:spMkLst>
            <pc:docMk/>
            <pc:sldMk cId="3496916072" sldId="929"/>
            <ac:spMk id="180" creationId="{11405684-5900-5AB4-405B-25BB0F7CBAD5}"/>
          </ac:spMkLst>
        </pc:spChg>
      </pc:sldChg>
      <pc:sldChg chg="addSp modSp add">
        <pc:chgData name="Andreas Koksrud" userId="9d9beba6-c052-407a-8599-c781a677a996" providerId="ADAL" clId="{4C89AD2D-B60A-479F-9F95-9D423A06FAEA}" dt="2024-06-14T18:17:45.436" v="6339"/>
        <pc:sldMkLst>
          <pc:docMk/>
          <pc:sldMk cId="1794767992" sldId="930"/>
        </pc:sldMkLst>
        <pc:spChg chg="add mod">
          <ac:chgData name="Andreas Koksrud" userId="9d9beba6-c052-407a-8599-c781a677a996" providerId="ADAL" clId="{4C89AD2D-B60A-479F-9F95-9D423A06FAEA}" dt="2024-06-14T18:17:45.436" v="6339"/>
          <ac:spMkLst>
            <pc:docMk/>
            <pc:sldMk cId="1794767992" sldId="930"/>
            <ac:spMk id="2" creationId="{6F46EA79-4C3C-6251-5313-9DB6A0BB8DE5}"/>
          </ac:spMkLst>
        </pc:spChg>
        <pc:spChg chg="add mod">
          <ac:chgData name="Andreas Koksrud" userId="9d9beba6-c052-407a-8599-c781a677a996" providerId="ADAL" clId="{4C89AD2D-B60A-479F-9F95-9D423A06FAEA}" dt="2024-06-14T18:17:45.436" v="6339"/>
          <ac:spMkLst>
            <pc:docMk/>
            <pc:sldMk cId="1794767992" sldId="930"/>
            <ac:spMk id="4" creationId="{7C8786C3-5E58-2E1E-62BF-C38169340900}"/>
          </ac:spMkLst>
        </pc:spChg>
      </pc:sldChg>
      <pc:sldChg chg="addSp delSp modSp add mod">
        <pc:chgData name="Andreas Koksrud" userId="9d9beba6-c052-407a-8599-c781a677a996" providerId="ADAL" clId="{4C89AD2D-B60A-479F-9F95-9D423A06FAEA}" dt="2024-08-04T15:56:37.305" v="36286" actId="20577"/>
        <pc:sldMkLst>
          <pc:docMk/>
          <pc:sldMk cId="2544668817" sldId="931"/>
        </pc:sldMkLst>
        <pc:spChg chg="add mod">
          <ac:chgData name="Andreas Koksrud" userId="9d9beba6-c052-407a-8599-c781a677a996" providerId="ADAL" clId="{4C89AD2D-B60A-479F-9F95-9D423A06FAEA}" dt="2024-06-14T18:17:46.586" v="6340"/>
          <ac:spMkLst>
            <pc:docMk/>
            <pc:sldMk cId="2544668817" sldId="931"/>
            <ac:spMk id="2" creationId="{D71C1957-CF13-E573-D007-BD19A1E67927}"/>
          </ac:spMkLst>
        </pc:spChg>
        <pc:spChg chg="mod">
          <ac:chgData name="Andreas Koksrud" userId="9d9beba6-c052-407a-8599-c781a677a996" providerId="ADAL" clId="{4C89AD2D-B60A-479F-9F95-9D423A06FAEA}" dt="2024-08-04T15:56:37.305" v="36286" actId="20577"/>
          <ac:spMkLst>
            <pc:docMk/>
            <pc:sldMk cId="2544668817" sldId="931"/>
            <ac:spMk id="5" creationId="{9EE63497-A543-48A3-EA75-634D1E366B33}"/>
          </ac:spMkLst>
        </pc:spChg>
        <pc:spChg chg="del">
          <ac:chgData name="Andreas Koksrud" userId="9d9beba6-c052-407a-8599-c781a677a996" providerId="ADAL" clId="{4C89AD2D-B60A-479F-9F95-9D423A06FAEA}" dt="2024-07-15T20:27:24.194" v="23400" actId="478"/>
          <ac:spMkLst>
            <pc:docMk/>
            <pc:sldMk cId="2544668817" sldId="931"/>
            <ac:spMk id="6" creationId="{0735D571-DE80-55D5-C5CD-E9727FF81CD6}"/>
          </ac:spMkLst>
        </pc:spChg>
        <pc:spChg chg="add mod">
          <ac:chgData name="Andreas Koksrud" userId="9d9beba6-c052-407a-8599-c781a677a996" providerId="ADAL" clId="{4C89AD2D-B60A-479F-9F95-9D423A06FAEA}" dt="2024-06-14T18:17:46.586" v="6340"/>
          <ac:spMkLst>
            <pc:docMk/>
            <pc:sldMk cId="2544668817" sldId="931"/>
            <ac:spMk id="7" creationId="{9827CC03-792F-6275-16E4-B4CAE92C3026}"/>
          </ac:spMkLst>
        </pc:spChg>
        <pc:picChg chg="add mod">
          <ac:chgData name="Andreas Koksrud" userId="9d9beba6-c052-407a-8599-c781a677a996" providerId="ADAL" clId="{4C89AD2D-B60A-479F-9F95-9D423A06FAEA}" dt="2024-07-16T13:48:37.496" v="24641" actId="1076"/>
          <ac:picMkLst>
            <pc:docMk/>
            <pc:sldMk cId="2544668817" sldId="931"/>
            <ac:picMk id="3" creationId="{66120AFA-DE2E-2AF7-BF03-20984A46B2B0}"/>
          </ac:picMkLst>
        </pc:picChg>
        <pc:picChg chg="add del mod">
          <ac:chgData name="Andreas Koksrud" userId="9d9beba6-c052-407a-8599-c781a677a996" providerId="ADAL" clId="{4C89AD2D-B60A-479F-9F95-9D423A06FAEA}" dt="2024-07-16T13:47:48.990" v="24635" actId="21"/>
          <ac:picMkLst>
            <pc:docMk/>
            <pc:sldMk cId="2544668817" sldId="931"/>
            <ac:picMk id="2050" creationId="{66120AFA-DE2E-2AF7-BF03-20984A46B2B0}"/>
          </ac:picMkLst>
        </pc:picChg>
        <pc:picChg chg="mod">
          <ac:chgData name="Andreas Koksrud" userId="9d9beba6-c052-407a-8599-c781a677a996" providerId="ADAL" clId="{4C89AD2D-B60A-479F-9F95-9D423A06FAEA}" dt="2024-07-16T13:48:31.157" v="24638" actId="1076"/>
          <ac:picMkLst>
            <pc:docMk/>
            <pc:sldMk cId="2544668817" sldId="931"/>
            <ac:picMk id="3074" creationId="{9A7141FC-3A91-4D15-1D9A-8AAAD3BC4D21}"/>
          </ac:picMkLst>
        </pc:picChg>
      </pc:sldChg>
      <pc:sldChg chg="addSp delSp modSp add del mod">
        <pc:chgData name="Andreas Koksrud" userId="9d9beba6-c052-407a-8599-c781a677a996" providerId="ADAL" clId="{4C89AD2D-B60A-479F-9F95-9D423A06FAEA}" dt="2024-08-04T15:58:43.106" v="36387" actId="20577"/>
        <pc:sldMkLst>
          <pc:docMk/>
          <pc:sldMk cId="1016572018" sldId="932"/>
        </pc:sldMkLst>
        <pc:spChg chg="mod">
          <ac:chgData name="Andreas Koksrud" userId="9d9beba6-c052-407a-8599-c781a677a996" providerId="ADAL" clId="{4C89AD2D-B60A-479F-9F95-9D423A06FAEA}" dt="2024-07-16T13:41:23.966" v="24167" actId="21"/>
          <ac:spMkLst>
            <pc:docMk/>
            <pc:sldMk cId="1016572018" sldId="932"/>
            <ac:spMk id="2" creationId="{F8E83C25-8CA5-D584-5289-4C949008223D}"/>
          </ac:spMkLst>
        </pc:spChg>
        <pc:spChg chg="del mod">
          <ac:chgData name="Andreas Koksrud" userId="9d9beba6-c052-407a-8599-c781a677a996" providerId="ADAL" clId="{4C89AD2D-B60A-479F-9F95-9D423A06FAEA}" dt="2024-07-15T21:00:48.390" v="24031" actId="478"/>
          <ac:spMkLst>
            <pc:docMk/>
            <pc:sldMk cId="1016572018" sldId="932"/>
            <ac:spMk id="3" creationId="{F12BCEAD-17C7-BE91-5976-50915688488F}"/>
          </ac:spMkLst>
        </pc:spChg>
        <pc:spChg chg="add mod">
          <ac:chgData name="Andreas Koksrud" userId="9d9beba6-c052-407a-8599-c781a677a996" providerId="ADAL" clId="{4C89AD2D-B60A-479F-9F95-9D423A06FAEA}" dt="2024-06-14T18:17:51.231" v="6342"/>
          <ac:spMkLst>
            <pc:docMk/>
            <pc:sldMk cId="1016572018" sldId="932"/>
            <ac:spMk id="5" creationId="{669F1CE0-07E7-BAD6-EDD5-383BB50DD5EC}"/>
          </ac:spMkLst>
        </pc:spChg>
        <pc:spChg chg="add mod">
          <ac:chgData name="Andreas Koksrud" userId="9d9beba6-c052-407a-8599-c781a677a996" providerId="ADAL" clId="{4C89AD2D-B60A-479F-9F95-9D423A06FAEA}" dt="2024-06-14T18:17:51.231" v="6342"/>
          <ac:spMkLst>
            <pc:docMk/>
            <pc:sldMk cId="1016572018" sldId="932"/>
            <ac:spMk id="6" creationId="{FD64D427-7605-26F7-2631-74925BA54A34}"/>
          </ac:spMkLst>
        </pc:spChg>
        <pc:spChg chg="add mod ord">
          <ac:chgData name="Andreas Koksrud" userId="9d9beba6-c052-407a-8599-c781a677a996" providerId="ADAL" clId="{4C89AD2D-B60A-479F-9F95-9D423A06FAEA}" dt="2024-08-04T15:58:43.106" v="36387" actId="20577"/>
          <ac:spMkLst>
            <pc:docMk/>
            <pc:sldMk cId="1016572018" sldId="932"/>
            <ac:spMk id="7" creationId="{A6D2F896-55A4-CD41-BF58-9C3ADF744611}"/>
          </ac:spMkLst>
        </pc:spChg>
        <pc:spChg chg="add mod">
          <ac:chgData name="Andreas Koksrud" userId="9d9beba6-c052-407a-8599-c781a677a996" providerId="ADAL" clId="{4C89AD2D-B60A-479F-9F95-9D423A06FAEA}" dt="2024-07-16T14:11:46.819" v="25305" actId="20577"/>
          <ac:spMkLst>
            <pc:docMk/>
            <pc:sldMk cId="1016572018" sldId="932"/>
            <ac:spMk id="8" creationId="{ACE2674A-C183-6B54-CC23-416FEB788024}"/>
          </ac:spMkLst>
        </pc:spChg>
        <pc:spChg chg="mod">
          <ac:chgData name="Andreas Koksrud" userId="9d9beba6-c052-407a-8599-c781a677a996" providerId="ADAL" clId="{4C89AD2D-B60A-479F-9F95-9D423A06FAEA}" dt="2024-07-15T20:58:58.670" v="23806" actId="20577"/>
          <ac:spMkLst>
            <pc:docMk/>
            <pc:sldMk cId="1016572018" sldId="932"/>
            <ac:spMk id="180" creationId="{2F18F86A-BD31-AF17-88B8-2BD58E719633}"/>
          </ac:spMkLst>
        </pc:spChg>
        <pc:cxnChg chg="del">
          <ac:chgData name="Andreas Koksrud" userId="9d9beba6-c052-407a-8599-c781a677a996" providerId="ADAL" clId="{4C89AD2D-B60A-479F-9F95-9D423A06FAEA}" dt="2024-07-15T21:00:25.882" v="23958" actId="478"/>
          <ac:cxnSpMkLst>
            <pc:docMk/>
            <pc:sldMk cId="1016572018" sldId="932"/>
            <ac:cxnSpMk id="4" creationId="{751BA97A-CC9A-A26E-AB90-2C8A6D1938AE}"/>
          </ac:cxnSpMkLst>
        </pc:cxnChg>
      </pc:sldChg>
      <pc:sldChg chg="addSp modSp add mod">
        <pc:chgData name="Andreas Koksrud" userId="9d9beba6-c052-407a-8599-c781a677a996" providerId="ADAL" clId="{4C89AD2D-B60A-479F-9F95-9D423A06FAEA}" dt="2024-08-04T16:08:12.683" v="36545" actId="20577"/>
        <pc:sldMkLst>
          <pc:docMk/>
          <pc:sldMk cId="516132435" sldId="933"/>
        </pc:sldMkLst>
        <pc:spChg chg="add mod">
          <ac:chgData name="Andreas Koksrud" userId="9d9beba6-c052-407a-8599-c781a677a996" providerId="ADAL" clId="{4C89AD2D-B60A-479F-9F95-9D423A06FAEA}" dt="2024-06-14T18:17:59.449" v="6343"/>
          <ac:spMkLst>
            <pc:docMk/>
            <pc:sldMk cId="516132435" sldId="933"/>
            <ac:spMk id="2" creationId="{7CCECBB3-F2C8-EAF3-AF80-4556AC197C91}"/>
          </ac:spMkLst>
        </pc:spChg>
        <pc:spChg chg="add mod">
          <ac:chgData name="Andreas Koksrud" userId="9d9beba6-c052-407a-8599-c781a677a996" providerId="ADAL" clId="{4C89AD2D-B60A-479F-9F95-9D423A06FAEA}" dt="2024-06-14T18:17:59.449" v="6343"/>
          <ac:spMkLst>
            <pc:docMk/>
            <pc:sldMk cId="516132435" sldId="933"/>
            <ac:spMk id="3" creationId="{E6E2C634-F92E-B8DF-A450-18C8D00FCA8C}"/>
          </ac:spMkLst>
        </pc:spChg>
        <pc:spChg chg="mod">
          <ac:chgData name="Andreas Koksrud" userId="9d9beba6-c052-407a-8599-c781a677a996" providerId="ADAL" clId="{4C89AD2D-B60A-479F-9F95-9D423A06FAEA}" dt="2024-08-04T16:08:12.683" v="36545" actId="20577"/>
          <ac:spMkLst>
            <pc:docMk/>
            <pc:sldMk cId="516132435" sldId="933"/>
            <ac:spMk id="180" creationId="{00000000-0000-0000-0000-000000000000}"/>
          </ac:spMkLst>
        </pc:spChg>
        <pc:spChg chg="mod">
          <ac:chgData name="Andreas Koksrud" userId="9d9beba6-c052-407a-8599-c781a677a996" providerId="ADAL" clId="{4C89AD2D-B60A-479F-9F95-9D423A06FAEA}" dt="2024-07-05T19:30:16.909" v="20634" actId="20577"/>
          <ac:spMkLst>
            <pc:docMk/>
            <pc:sldMk cId="516132435" sldId="933"/>
            <ac:spMk id="181" creationId="{00000000-0000-0000-0000-000000000000}"/>
          </ac:spMkLst>
        </pc:spChg>
      </pc:sldChg>
      <pc:sldChg chg="addSp modSp add mod">
        <pc:chgData name="Andreas Koksrud" userId="9d9beba6-c052-407a-8599-c781a677a996" providerId="ADAL" clId="{4C89AD2D-B60A-479F-9F95-9D423A06FAEA}" dt="2024-08-06T13:27:28.675" v="39219" actId="20577"/>
        <pc:sldMkLst>
          <pc:docMk/>
          <pc:sldMk cId="100500619" sldId="934"/>
        </pc:sldMkLst>
        <pc:spChg chg="mod">
          <ac:chgData name="Andreas Koksrud" userId="9d9beba6-c052-407a-8599-c781a677a996" providerId="ADAL" clId="{4C89AD2D-B60A-479F-9F95-9D423A06FAEA}" dt="2024-08-06T13:27:21.576" v="39216" actId="20577"/>
          <ac:spMkLst>
            <pc:docMk/>
            <pc:sldMk cId="100500619" sldId="934"/>
            <ac:spMk id="2" creationId="{6B539DEF-BEF0-2AA6-A90D-BC67AC4C73CD}"/>
          </ac:spMkLst>
        </pc:spChg>
        <pc:spChg chg="add mod">
          <ac:chgData name="Andreas Koksrud" userId="9d9beba6-c052-407a-8599-c781a677a996" providerId="ADAL" clId="{4C89AD2D-B60A-479F-9F95-9D423A06FAEA}" dt="2024-06-14T18:19:23.784" v="6425"/>
          <ac:spMkLst>
            <pc:docMk/>
            <pc:sldMk cId="100500619" sldId="934"/>
            <ac:spMk id="5" creationId="{154927B6-778C-CCEB-F6B5-24A57E91074E}"/>
          </ac:spMkLst>
        </pc:spChg>
        <pc:spChg chg="mod">
          <ac:chgData name="Andreas Koksrud" userId="9d9beba6-c052-407a-8599-c781a677a996" providerId="ADAL" clId="{4C89AD2D-B60A-479F-9F95-9D423A06FAEA}" dt="2024-08-06T13:27:28.675" v="39219" actId="20577"/>
          <ac:spMkLst>
            <pc:docMk/>
            <pc:sldMk cId="100500619" sldId="934"/>
            <ac:spMk id="6" creationId="{5BDD3AAC-325F-DE80-3D51-9E564913C38B}"/>
          </ac:spMkLst>
        </pc:spChg>
        <pc:spChg chg="add mod">
          <ac:chgData name="Andreas Koksrud" userId="9d9beba6-c052-407a-8599-c781a677a996" providerId="ADAL" clId="{4C89AD2D-B60A-479F-9F95-9D423A06FAEA}" dt="2024-06-14T18:19:23.784" v="6425"/>
          <ac:spMkLst>
            <pc:docMk/>
            <pc:sldMk cId="100500619" sldId="934"/>
            <ac:spMk id="10" creationId="{2B6E741D-F3B6-E374-050C-D8C0B42D6623}"/>
          </ac:spMkLst>
        </pc:spChg>
        <pc:spChg chg="add mod">
          <ac:chgData name="Andreas Koksrud" userId="9d9beba6-c052-407a-8599-c781a677a996" providerId="ADAL" clId="{4C89AD2D-B60A-479F-9F95-9D423A06FAEA}" dt="2024-08-06T13:25:29.784" v="39153" actId="14100"/>
          <ac:spMkLst>
            <pc:docMk/>
            <pc:sldMk cId="100500619" sldId="934"/>
            <ac:spMk id="11" creationId="{C1BF4C83-C256-5DB1-6B8B-EB67D2A307FD}"/>
          </ac:spMkLst>
        </pc:spChg>
        <pc:spChg chg="mod">
          <ac:chgData name="Andreas Koksrud" userId="9d9beba6-c052-407a-8599-c781a677a996" providerId="ADAL" clId="{4C89AD2D-B60A-479F-9F95-9D423A06FAEA}" dt="2024-08-06T13:25:18.364" v="39150" actId="20577"/>
          <ac:spMkLst>
            <pc:docMk/>
            <pc:sldMk cId="100500619" sldId="934"/>
            <ac:spMk id="180" creationId="{00000000-0000-0000-0000-000000000000}"/>
          </ac:spMkLst>
        </pc:spChg>
        <pc:cxnChg chg="mod">
          <ac:chgData name="Andreas Koksrud" userId="9d9beba6-c052-407a-8599-c781a677a996" providerId="ADAL" clId="{4C89AD2D-B60A-479F-9F95-9D423A06FAEA}" dt="2024-08-06T13:26:31.778" v="39157" actId="208"/>
          <ac:cxnSpMkLst>
            <pc:docMk/>
            <pc:sldMk cId="100500619" sldId="934"/>
            <ac:cxnSpMk id="9" creationId="{7868819B-3F17-B71E-77A4-74D92C33BDC7}"/>
          </ac:cxnSpMkLst>
        </pc:cxnChg>
        <pc:cxnChg chg="add mod">
          <ac:chgData name="Andreas Koksrud" userId="9d9beba6-c052-407a-8599-c781a677a996" providerId="ADAL" clId="{4C89AD2D-B60A-479F-9F95-9D423A06FAEA}" dt="2024-08-06T13:26:31.778" v="39157" actId="208"/>
          <ac:cxnSpMkLst>
            <pc:docMk/>
            <pc:sldMk cId="100500619" sldId="934"/>
            <ac:cxnSpMk id="12" creationId="{3AE8501E-2243-7050-929E-CBDB6D6504EA}"/>
          </ac:cxnSpMkLst>
        </pc:cxnChg>
        <pc:cxnChg chg="add mod">
          <ac:chgData name="Andreas Koksrud" userId="9d9beba6-c052-407a-8599-c781a677a996" providerId="ADAL" clId="{4C89AD2D-B60A-479F-9F95-9D423A06FAEA}" dt="2024-08-06T13:26:31.778" v="39157" actId="208"/>
          <ac:cxnSpMkLst>
            <pc:docMk/>
            <pc:sldMk cId="100500619" sldId="934"/>
            <ac:cxnSpMk id="15" creationId="{38864A63-14C0-1326-4AF4-BA5E6A839014}"/>
          </ac:cxnSpMkLst>
        </pc:cxnChg>
      </pc:sldChg>
      <pc:sldChg chg="addSp modSp add mod">
        <pc:chgData name="Andreas Koksrud" userId="9d9beba6-c052-407a-8599-c781a677a996" providerId="ADAL" clId="{4C89AD2D-B60A-479F-9F95-9D423A06FAEA}" dt="2024-08-06T13:28:20.255" v="39292" actId="14100"/>
        <pc:sldMkLst>
          <pc:docMk/>
          <pc:sldMk cId="1678513824" sldId="935"/>
        </pc:sldMkLst>
        <pc:spChg chg="add mod">
          <ac:chgData name="Andreas Koksrud" userId="9d9beba6-c052-407a-8599-c781a677a996" providerId="ADAL" clId="{4C89AD2D-B60A-479F-9F95-9D423A06FAEA}" dt="2024-06-14T18:19:54.613" v="6483"/>
          <ac:spMkLst>
            <pc:docMk/>
            <pc:sldMk cId="1678513824" sldId="935"/>
            <ac:spMk id="2" creationId="{791BB8FD-1C81-38DC-5A43-CAF32F603AC6}"/>
          </ac:spMkLst>
        </pc:spChg>
        <pc:spChg chg="add mod">
          <ac:chgData name="Andreas Koksrud" userId="9d9beba6-c052-407a-8599-c781a677a996" providerId="ADAL" clId="{4C89AD2D-B60A-479F-9F95-9D423A06FAEA}" dt="2024-06-14T18:19:54.613" v="6483"/>
          <ac:spMkLst>
            <pc:docMk/>
            <pc:sldMk cId="1678513824" sldId="935"/>
            <ac:spMk id="3" creationId="{BEE715C8-924E-89E0-FF32-E171CAA2C874}"/>
          </ac:spMkLst>
        </pc:spChg>
        <pc:spChg chg="mod">
          <ac:chgData name="Andreas Koksrud" userId="9d9beba6-c052-407a-8599-c781a677a996" providerId="ADAL" clId="{4C89AD2D-B60A-479F-9F95-9D423A06FAEA}" dt="2024-08-06T13:28:20.255" v="39292" actId="14100"/>
          <ac:spMkLst>
            <pc:docMk/>
            <pc:sldMk cId="1678513824" sldId="935"/>
            <ac:spMk id="10" creationId="{15D97F99-86F7-5050-D416-F947C5E33DC8}"/>
          </ac:spMkLst>
        </pc:spChg>
      </pc:sldChg>
      <pc:sldChg chg="addSp modSp add">
        <pc:chgData name="Andreas Koksrud" userId="9d9beba6-c052-407a-8599-c781a677a996" providerId="ADAL" clId="{4C89AD2D-B60A-479F-9F95-9D423A06FAEA}" dt="2024-06-14T18:19:55.618" v="6484"/>
        <pc:sldMkLst>
          <pc:docMk/>
          <pc:sldMk cId="1640846257" sldId="936"/>
        </pc:sldMkLst>
        <pc:spChg chg="add mod">
          <ac:chgData name="Andreas Koksrud" userId="9d9beba6-c052-407a-8599-c781a677a996" providerId="ADAL" clId="{4C89AD2D-B60A-479F-9F95-9D423A06FAEA}" dt="2024-06-14T18:19:55.618" v="6484"/>
          <ac:spMkLst>
            <pc:docMk/>
            <pc:sldMk cId="1640846257" sldId="936"/>
            <ac:spMk id="2" creationId="{0E0A0551-72DF-0801-B2A0-F36EBAA01C31}"/>
          </ac:spMkLst>
        </pc:spChg>
        <pc:spChg chg="add mod">
          <ac:chgData name="Andreas Koksrud" userId="9d9beba6-c052-407a-8599-c781a677a996" providerId="ADAL" clId="{4C89AD2D-B60A-479F-9F95-9D423A06FAEA}" dt="2024-06-14T18:19:55.618" v="6484"/>
          <ac:spMkLst>
            <pc:docMk/>
            <pc:sldMk cId="1640846257" sldId="936"/>
            <ac:spMk id="3" creationId="{AEB67DE2-4419-6A35-1303-4FFA243B08DC}"/>
          </ac:spMkLst>
        </pc:spChg>
      </pc:sldChg>
      <pc:sldChg chg="addSp modSp add mod">
        <pc:chgData name="Andreas Koksrud" userId="9d9beba6-c052-407a-8599-c781a677a996" providerId="ADAL" clId="{4C89AD2D-B60A-479F-9F95-9D423A06FAEA}" dt="2024-08-06T13:29:08.151" v="39368" actId="6549"/>
        <pc:sldMkLst>
          <pc:docMk/>
          <pc:sldMk cId="1343251663" sldId="937"/>
        </pc:sldMkLst>
        <pc:spChg chg="add mod">
          <ac:chgData name="Andreas Koksrud" userId="9d9beba6-c052-407a-8599-c781a677a996" providerId="ADAL" clId="{4C89AD2D-B60A-479F-9F95-9D423A06FAEA}" dt="2024-06-14T18:20:00.297" v="6487"/>
          <ac:spMkLst>
            <pc:docMk/>
            <pc:sldMk cId="1343251663" sldId="937"/>
            <ac:spMk id="2" creationId="{670F7EB4-8D5D-9A17-1683-98C8DEE44950}"/>
          </ac:spMkLst>
        </pc:spChg>
        <pc:spChg chg="mod">
          <ac:chgData name="Andreas Koksrud" userId="9d9beba6-c052-407a-8599-c781a677a996" providerId="ADAL" clId="{4C89AD2D-B60A-479F-9F95-9D423A06FAEA}" dt="2024-08-06T13:29:08.151" v="39368" actId="6549"/>
          <ac:spMkLst>
            <pc:docMk/>
            <pc:sldMk cId="1343251663" sldId="937"/>
            <ac:spMk id="4" creationId="{153DFF42-04F3-FF32-29A1-3C1146724836}"/>
          </ac:spMkLst>
        </pc:spChg>
        <pc:spChg chg="add mod">
          <ac:chgData name="Andreas Koksrud" userId="9d9beba6-c052-407a-8599-c781a677a996" providerId="ADAL" clId="{4C89AD2D-B60A-479F-9F95-9D423A06FAEA}" dt="2024-06-14T18:20:00.297" v="6487"/>
          <ac:spMkLst>
            <pc:docMk/>
            <pc:sldMk cId="1343251663" sldId="937"/>
            <ac:spMk id="5" creationId="{C561C956-1C4A-D184-51D0-81304FB91DE8}"/>
          </ac:spMkLst>
        </pc:spChg>
      </pc:sldChg>
      <pc:sldChg chg="addSp modSp add mod">
        <pc:chgData name="Andreas Koksrud" userId="9d9beba6-c052-407a-8599-c781a677a996" providerId="ADAL" clId="{4C89AD2D-B60A-479F-9F95-9D423A06FAEA}" dt="2024-08-06T13:29:28.639" v="39468" actId="20577"/>
        <pc:sldMkLst>
          <pc:docMk/>
          <pc:sldMk cId="4244963184" sldId="938"/>
        </pc:sldMkLst>
        <pc:spChg chg="add mod">
          <ac:chgData name="Andreas Koksrud" userId="9d9beba6-c052-407a-8599-c781a677a996" providerId="ADAL" clId="{4C89AD2D-B60A-479F-9F95-9D423A06FAEA}" dt="2024-06-14T18:20:02.219" v="6488"/>
          <ac:spMkLst>
            <pc:docMk/>
            <pc:sldMk cId="4244963184" sldId="938"/>
            <ac:spMk id="2" creationId="{A6A1603D-E614-D490-5E97-7F11D3A40156}"/>
          </ac:spMkLst>
        </pc:spChg>
        <pc:spChg chg="add mod">
          <ac:chgData name="Andreas Koksrud" userId="9d9beba6-c052-407a-8599-c781a677a996" providerId="ADAL" clId="{4C89AD2D-B60A-479F-9F95-9D423A06FAEA}" dt="2024-06-14T18:20:02.219" v="6488"/>
          <ac:spMkLst>
            <pc:docMk/>
            <pc:sldMk cId="4244963184" sldId="938"/>
            <ac:spMk id="3" creationId="{50E6E05E-D759-39DF-4A3C-A48ED2CBDA8B}"/>
          </ac:spMkLst>
        </pc:spChg>
        <pc:spChg chg="mod">
          <ac:chgData name="Andreas Koksrud" userId="9d9beba6-c052-407a-8599-c781a677a996" providerId="ADAL" clId="{4C89AD2D-B60A-479F-9F95-9D423A06FAEA}" dt="2024-08-06T13:29:28.639" v="39468" actId="20577"/>
          <ac:spMkLst>
            <pc:docMk/>
            <pc:sldMk cId="4244963184" sldId="938"/>
            <ac:spMk id="7" creationId="{AB39B2EF-DA75-2EBD-A607-63447DACDE5B}"/>
          </ac:spMkLst>
        </pc:spChg>
      </pc:sldChg>
      <pc:sldChg chg="addSp modSp add mod">
        <pc:chgData name="Andreas Koksrud" userId="9d9beba6-c052-407a-8599-c781a677a996" providerId="ADAL" clId="{4C89AD2D-B60A-479F-9F95-9D423A06FAEA}" dt="2024-07-20T19:00:30.718" v="26124" actId="20577"/>
        <pc:sldMkLst>
          <pc:docMk/>
          <pc:sldMk cId="4271162885" sldId="939"/>
        </pc:sldMkLst>
        <pc:spChg chg="add mod">
          <ac:chgData name="Andreas Koksrud" userId="9d9beba6-c052-407a-8599-c781a677a996" providerId="ADAL" clId="{4C89AD2D-B60A-479F-9F95-9D423A06FAEA}" dt="2024-06-14T18:22:34.559" v="6644"/>
          <ac:spMkLst>
            <pc:docMk/>
            <pc:sldMk cId="4271162885" sldId="939"/>
            <ac:spMk id="2" creationId="{E6EF352B-E62D-2EEE-F73E-40AC0571A477}"/>
          </ac:spMkLst>
        </pc:spChg>
        <pc:spChg chg="add mod">
          <ac:chgData name="Andreas Koksrud" userId="9d9beba6-c052-407a-8599-c781a677a996" providerId="ADAL" clId="{4C89AD2D-B60A-479F-9F95-9D423A06FAEA}" dt="2024-06-14T18:22:34.559" v="6644"/>
          <ac:spMkLst>
            <pc:docMk/>
            <pc:sldMk cId="4271162885" sldId="939"/>
            <ac:spMk id="4" creationId="{3A2CAB68-8A05-2C53-6B03-3DE61ABEB52F}"/>
          </ac:spMkLst>
        </pc:spChg>
        <pc:spChg chg="mod">
          <ac:chgData name="Andreas Koksrud" userId="9d9beba6-c052-407a-8599-c781a677a996" providerId="ADAL" clId="{4C89AD2D-B60A-479F-9F95-9D423A06FAEA}" dt="2024-07-20T19:00:30.718" v="26124" actId="20577"/>
          <ac:spMkLst>
            <pc:docMk/>
            <pc:sldMk cId="4271162885" sldId="939"/>
            <ac:spMk id="180" creationId="{00000000-0000-0000-0000-000000000000}"/>
          </ac:spMkLst>
        </pc:spChg>
      </pc:sldChg>
      <pc:sldChg chg="addSp modSp add">
        <pc:chgData name="Andreas Koksrud" userId="9d9beba6-c052-407a-8599-c781a677a996" providerId="ADAL" clId="{4C89AD2D-B60A-479F-9F95-9D423A06FAEA}" dt="2024-06-14T18:22:35.705" v="6645"/>
        <pc:sldMkLst>
          <pc:docMk/>
          <pc:sldMk cId="76786861" sldId="940"/>
        </pc:sldMkLst>
        <pc:spChg chg="add mod">
          <ac:chgData name="Andreas Koksrud" userId="9d9beba6-c052-407a-8599-c781a677a996" providerId="ADAL" clId="{4C89AD2D-B60A-479F-9F95-9D423A06FAEA}" dt="2024-06-14T18:22:35.705" v="6645"/>
          <ac:spMkLst>
            <pc:docMk/>
            <pc:sldMk cId="76786861" sldId="940"/>
            <ac:spMk id="2" creationId="{36AF9587-D6ED-F993-3FBE-FFAD7203A1EF}"/>
          </ac:spMkLst>
        </pc:spChg>
        <pc:spChg chg="add mod">
          <ac:chgData name="Andreas Koksrud" userId="9d9beba6-c052-407a-8599-c781a677a996" providerId="ADAL" clId="{4C89AD2D-B60A-479F-9F95-9D423A06FAEA}" dt="2024-06-14T18:22:35.705" v="6645"/>
          <ac:spMkLst>
            <pc:docMk/>
            <pc:sldMk cId="76786861" sldId="940"/>
            <ac:spMk id="3" creationId="{B413C2F3-1902-95F7-CB03-5D0B4F83B1E9}"/>
          </ac:spMkLst>
        </pc:spChg>
      </pc:sldChg>
      <pc:sldChg chg="addSp modSp add">
        <pc:chgData name="Andreas Koksrud" userId="9d9beba6-c052-407a-8599-c781a677a996" providerId="ADAL" clId="{4C89AD2D-B60A-479F-9F95-9D423A06FAEA}" dt="2024-06-14T18:22:40.183" v="6648"/>
        <pc:sldMkLst>
          <pc:docMk/>
          <pc:sldMk cId="259599803" sldId="941"/>
        </pc:sldMkLst>
        <pc:spChg chg="add mod">
          <ac:chgData name="Andreas Koksrud" userId="9d9beba6-c052-407a-8599-c781a677a996" providerId="ADAL" clId="{4C89AD2D-B60A-479F-9F95-9D423A06FAEA}" dt="2024-06-14T18:22:40.183" v="6648"/>
          <ac:spMkLst>
            <pc:docMk/>
            <pc:sldMk cId="259599803" sldId="941"/>
            <ac:spMk id="2" creationId="{9AD72738-2F49-9D24-3B33-BEFDF5A504D6}"/>
          </ac:spMkLst>
        </pc:spChg>
        <pc:spChg chg="add mod">
          <ac:chgData name="Andreas Koksrud" userId="9d9beba6-c052-407a-8599-c781a677a996" providerId="ADAL" clId="{4C89AD2D-B60A-479F-9F95-9D423A06FAEA}" dt="2024-06-14T18:22:40.183" v="6648"/>
          <ac:spMkLst>
            <pc:docMk/>
            <pc:sldMk cId="259599803" sldId="941"/>
            <ac:spMk id="4" creationId="{9E108B55-399A-539F-F2A1-D0959DE8F5C3}"/>
          </ac:spMkLst>
        </pc:spChg>
      </pc:sldChg>
      <pc:sldChg chg="addSp modSp add">
        <pc:chgData name="Andreas Koksrud" userId="9d9beba6-c052-407a-8599-c781a677a996" providerId="ADAL" clId="{4C89AD2D-B60A-479F-9F95-9D423A06FAEA}" dt="2024-06-14T18:22:41.411" v="6649"/>
        <pc:sldMkLst>
          <pc:docMk/>
          <pc:sldMk cId="617464026" sldId="942"/>
        </pc:sldMkLst>
        <pc:spChg chg="add mod">
          <ac:chgData name="Andreas Koksrud" userId="9d9beba6-c052-407a-8599-c781a677a996" providerId="ADAL" clId="{4C89AD2D-B60A-479F-9F95-9D423A06FAEA}" dt="2024-06-14T18:22:41.411" v="6649"/>
          <ac:spMkLst>
            <pc:docMk/>
            <pc:sldMk cId="617464026" sldId="942"/>
            <ac:spMk id="3" creationId="{84A65EE2-B38A-7140-3AA7-791B4144D394}"/>
          </ac:spMkLst>
        </pc:spChg>
        <pc:spChg chg="add mod">
          <ac:chgData name="Andreas Koksrud" userId="9d9beba6-c052-407a-8599-c781a677a996" providerId="ADAL" clId="{4C89AD2D-B60A-479F-9F95-9D423A06FAEA}" dt="2024-06-14T18:22:41.411" v="6649"/>
          <ac:spMkLst>
            <pc:docMk/>
            <pc:sldMk cId="617464026" sldId="942"/>
            <ac:spMk id="4" creationId="{8173962E-BB88-FF4F-CEEE-E0845749D92B}"/>
          </ac:spMkLst>
        </pc:spChg>
      </pc:sldChg>
      <pc:sldChg chg="addSp modSp add">
        <pc:chgData name="Andreas Koksrud" userId="9d9beba6-c052-407a-8599-c781a677a996" providerId="ADAL" clId="{4C89AD2D-B60A-479F-9F95-9D423A06FAEA}" dt="2024-06-14T18:23:16.873" v="6650"/>
        <pc:sldMkLst>
          <pc:docMk/>
          <pc:sldMk cId="2452820001" sldId="943"/>
        </pc:sldMkLst>
        <pc:spChg chg="add mod">
          <ac:chgData name="Andreas Koksrud" userId="9d9beba6-c052-407a-8599-c781a677a996" providerId="ADAL" clId="{4C89AD2D-B60A-479F-9F95-9D423A06FAEA}" dt="2024-06-14T18:23:16.873" v="6650"/>
          <ac:spMkLst>
            <pc:docMk/>
            <pc:sldMk cId="2452820001" sldId="943"/>
            <ac:spMk id="3" creationId="{3C169EF6-6670-EED8-F29E-3497806729F3}"/>
          </ac:spMkLst>
        </pc:spChg>
        <pc:spChg chg="add mod">
          <ac:chgData name="Andreas Koksrud" userId="9d9beba6-c052-407a-8599-c781a677a996" providerId="ADAL" clId="{4C89AD2D-B60A-479F-9F95-9D423A06FAEA}" dt="2024-06-14T18:23:16.873" v="6650"/>
          <ac:spMkLst>
            <pc:docMk/>
            <pc:sldMk cId="2452820001" sldId="943"/>
            <ac:spMk id="5" creationId="{D24EEDCF-1E5F-74A8-B3D0-D1A7F76F4093}"/>
          </ac:spMkLst>
        </pc:spChg>
      </pc:sldChg>
      <pc:sldChg chg="addSp modSp add">
        <pc:chgData name="Andreas Koksrud" userId="9d9beba6-c052-407a-8599-c781a677a996" providerId="ADAL" clId="{4C89AD2D-B60A-479F-9F95-9D423A06FAEA}" dt="2024-06-14T18:23:19.465" v="6652"/>
        <pc:sldMkLst>
          <pc:docMk/>
          <pc:sldMk cId="831372640" sldId="944"/>
        </pc:sldMkLst>
        <pc:spChg chg="add mod">
          <ac:chgData name="Andreas Koksrud" userId="9d9beba6-c052-407a-8599-c781a677a996" providerId="ADAL" clId="{4C89AD2D-B60A-479F-9F95-9D423A06FAEA}" dt="2024-06-14T18:23:19.465" v="6652"/>
          <ac:spMkLst>
            <pc:docMk/>
            <pc:sldMk cId="831372640" sldId="944"/>
            <ac:spMk id="3" creationId="{457CCFBC-6A5D-730D-BC8C-AF75E90E90DF}"/>
          </ac:spMkLst>
        </pc:spChg>
        <pc:spChg chg="add mod">
          <ac:chgData name="Andreas Koksrud" userId="9d9beba6-c052-407a-8599-c781a677a996" providerId="ADAL" clId="{4C89AD2D-B60A-479F-9F95-9D423A06FAEA}" dt="2024-06-14T18:23:19.465" v="6652"/>
          <ac:spMkLst>
            <pc:docMk/>
            <pc:sldMk cId="831372640" sldId="944"/>
            <ac:spMk id="4" creationId="{B585DD2A-806B-D39B-E1D0-313C5FA5D46A}"/>
          </ac:spMkLst>
        </pc:spChg>
      </pc:sldChg>
      <pc:sldChg chg="addSp modSp add">
        <pc:chgData name="Andreas Koksrud" userId="9d9beba6-c052-407a-8599-c781a677a996" providerId="ADAL" clId="{4C89AD2D-B60A-479F-9F95-9D423A06FAEA}" dt="2024-06-14T18:23:20.631" v="6653"/>
        <pc:sldMkLst>
          <pc:docMk/>
          <pc:sldMk cId="3301216787" sldId="945"/>
        </pc:sldMkLst>
        <pc:spChg chg="add mod">
          <ac:chgData name="Andreas Koksrud" userId="9d9beba6-c052-407a-8599-c781a677a996" providerId="ADAL" clId="{4C89AD2D-B60A-479F-9F95-9D423A06FAEA}" dt="2024-06-14T18:23:20.631" v="6653"/>
          <ac:spMkLst>
            <pc:docMk/>
            <pc:sldMk cId="3301216787" sldId="945"/>
            <ac:spMk id="3" creationId="{12F43E12-F701-F902-7325-01B77A39EF08}"/>
          </ac:spMkLst>
        </pc:spChg>
        <pc:spChg chg="add mod">
          <ac:chgData name="Andreas Koksrud" userId="9d9beba6-c052-407a-8599-c781a677a996" providerId="ADAL" clId="{4C89AD2D-B60A-479F-9F95-9D423A06FAEA}" dt="2024-06-14T18:23:20.631" v="6653"/>
          <ac:spMkLst>
            <pc:docMk/>
            <pc:sldMk cId="3301216787" sldId="945"/>
            <ac:spMk id="5" creationId="{D8450E26-15C0-8ACC-6FC8-BF5D04CD9185}"/>
          </ac:spMkLst>
        </pc:spChg>
      </pc:sldChg>
      <pc:sldChg chg="addSp modSp add">
        <pc:chgData name="Andreas Koksrud" userId="9d9beba6-c052-407a-8599-c781a677a996" providerId="ADAL" clId="{4C89AD2D-B60A-479F-9F95-9D423A06FAEA}" dt="2024-06-14T18:23:21.605" v="6654"/>
        <pc:sldMkLst>
          <pc:docMk/>
          <pc:sldMk cId="3558541316" sldId="946"/>
        </pc:sldMkLst>
        <pc:spChg chg="add mod">
          <ac:chgData name="Andreas Koksrud" userId="9d9beba6-c052-407a-8599-c781a677a996" providerId="ADAL" clId="{4C89AD2D-B60A-479F-9F95-9D423A06FAEA}" dt="2024-06-14T18:23:21.605" v="6654"/>
          <ac:spMkLst>
            <pc:docMk/>
            <pc:sldMk cId="3558541316" sldId="946"/>
            <ac:spMk id="3" creationId="{CA852D5C-7E0D-3E86-72F5-E2BE2ABF710F}"/>
          </ac:spMkLst>
        </pc:spChg>
        <pc:spChg chg="add mod">
          <ac:chgData name="Andreas Koksrud" userId="9d9beba6-c052-407a-8599-c781a677a996" providerId="ADAL" clId="{4C89AD2D-B60A-479F-9F95-9D423A06FAEA}" dt="2024-06-14T18:23:21.605" v="6654"/>
          <ac:spMkLst>
            <pc:docMk/>
            <pc:sldMk cId="3558541316" sldId="946"/>
            <ac:spMk id="4" creationId="{A3106713-D15E-53AF-DF34-EF62F5DEBDF3}"/>
          </ac:spMkLst>
        </pc:spChg>
      </pc:sldChg>
      <pc:sldChg chg="addSp modSp add">
        <pc:chgData name="Andreas Koksrud" userId="9d9beba6-c052-407a-8599-c781a677a996" providerId="ADAL" clId="{4C89AD2D-B60A-479F-9F95-9D423A06FAEA}" dt="2024-06-14T18:23:25.711" v="6658"/>
        <pc:sldMkLst>
          <pc:docMk/>
          <pc:sldMk cId="1488992746" sldId="947"/>
        </pc:sldMkLst>
        <pc:spChg chg="add mod">
          <ac:chgData name="Andreas Koksrud" userId="9d9beba6-c052-407a-8599-c781a677a996" providerId="ADAL" clId="{4C89AD2D-B60A-479F-9F95-9D423A06FAEA}" dt="2024-06-14T18:23:25.711" v="6658"/>
          <ac:spMkLst>
            <pc:docMk/>
            <pc:sldMk cId="1488992746" sldId="947"/>
            <ac:spMk id="3" creationId="{7DBB5A89-16EC-4CC9-3788-496FCC35E72D}"/>
          </ac:spMkLst>
        </pc:spChg>
        <pc:spChg chg="add mod">
          <ac:chgData name="Andreas Koksrud" userId="9d9beba6-c052-407a-8599-c781a677a996" providerId="ADAL" clId="{4C89AD2D-B60A-479F-9F95-9D423A06FAEA}" dt="2024-06-14T18:23:25.711" v="6658"/>
          <ac:spMkLst>
            <pc:docMk/>
            <pc:sldMk cId="1488992746" sldId="947"/>
            <ac:spMk id="4" creationId="{7C36F6FE-4DFA-556F-4CE8-643236914185}"/>
          </ac:spMkLst>
        </pc:spChg>
      </pc:sldChg>
      <pc:sldChg chg="addSp modSp add">
        <pc:chgData name="Andreas Koksrud" userId="9d9beba6-c052-407a-8599-c781a677a996" providerId="ADAL" clId="{4C89AD2D-B60A-479F-9F95-9D423A06FAEA}" dt="2024-06-14T18:23:29.418" v="6661"/>
        <pc:sldMkLst>
          <pc:docMk/>
          <pc:sldMk cId="3691710986" sldId="948"/>
        </pc:sldMkLst>
        <pc:spChg chg="add mod">
          <ac:chgData name="Andreas Koksrud" userId="9d9beba6-c052-407a-8599-c781a677a996" providerId="ADAL" clId="{4C89AD2D-B60A-479F-9F95-9D423A06FAEA}" dt="2024-06-14T18:23:29.418" v="6661"/>
          <ac:spMkLst>
            <pc:docMk/>
            <pc:sldMk cId="3691710986" sldId="948"/>
            <ac:spMk id="3" creationId="{FCECE710-782A-1158-E64C-C4F05AD52C5E}"/>
          </ac:spMkLst>
        </pc:spChg>
        <pc:spChg chg="add mod">
          <ac:chgData name="Andreas Koksrud" userId="9d9beba6-c052-407a-8599-c781a677a996" providerId="ADAL" clId="{4C89AD2D-B60A-479F-9F95-9D423A06FAEA}" dt="2024-06-14T18:23:29.418" v="6661"/>
          <ac:spMkLst>
            <pc:docMk/>
            <pc:sldMk cId="3691710986" sldId="948"/>
            <ac:spMk id="4" creationId="{B6ED1B6B-095A-0432-2E5E-7E52F8BE2216}"/>
          </ac:spMkLst>
        </pc:spChg>
      </pc:sldChg>
      <pc:sldChg chg="addSp modSp add">
        <pc:chgData name="Andreas Koksrud" userId="9d9beba6-c052-407a-8599-c781a677a996" providerId="ADAL" clId="{4C89AD2D-B60A-479F-9F95-9D423A06FAEA}" dt="2024-06-14T18:23:33.176" v="6664"/>
        <pc:sldMkLst>
          <pc:docMk/>
          <pc:sldMk cId="1547393795" sldId="949"/>
        </pc:sldMkLst>
        <pc:spChg chg="add mod">
          <ac:chgData name="Andreas Koksrud" userId="9d9beba6-c052-407a-8599-c781a677a996" providerId="ADAL" clId="{4C89AD2D-B60A-479F-9F95-9D423A06FAEA}" dt="2024-06-14T18:23:33.176" v="6664"/>
          <ac:spMkLst>
            <pc:docMk/>
            <pc:sldMk cId="1547393795" sldId="949"/>
            <ac:spMk id="3" creationId="{0A52683A-5F94-B07A-BCDE-2020421FF659}"/>
          </ac:spMkLst>
        </pc:spChg>
        <pc:spChg chg="add mod">
          <ac:chgData name="Andreas Koksrud" userId="9d9beba6-c052-407a-8599-c781a677a996" providerId="ADAL" clId="{4C89AD2D-B60A-479F-9F95-9D423A06FAEA}" dt="2024-06-14T18:23:33.176" v="6664"/>
          <ac:spMkLst>
            <pc:docMk/>
            <pc:sldMk cId="1547393795" sldId="949"/>
            <ac:spMk id="6" creationId="{B94BB94E-EE99-3D04-B4F6-5BDD03C47B50}"/>
          </ac:spMkLst>
        </pc:spChg>
      </pc:sldChg>
      <pc:sldChg chg="addSp modSp add">
        <pc:chgData name="Andreas Koksrud" userId="9d9beba6-c052-407a-8599-c781a677a996" providerId="ADAL" clId="{4C89AD2D-B60A-479F-9F95-9D423A06FAEA}" dt="2024-06-14T18:23:34.260" v="6665"/>
        <pc:sldMkLst>
          <pc:docMk/>
          <pc:sldMk cId="2750337227" sldId="950"/>
        </pc:sldMkLst>
        <pc:spChg chg="add mod">
          <ac:chgData name="Andreas Koksrud" userId="9d9beba6-c052-407a-8599-c781a677a996" providerId="ADAL" clId="{4C89AD2D-B60A-479F-9F95-9D423A06FAEA}" dt="2024-06-14T18:23:34.260" v="6665"/>
          <ac:spMkLst>
            <pc:docMk/>
            <pc:sldMk cId="2750337227" sldId="950"/>
            <ac:spMk id="3" creationId="{A902EC83-1181-E459-8E83-A43E69825F15}"/>
          </ac:spMkLst>
        </pc:spChg>
        <pc:spChg chg="add mod">
          <ac:chgData name="Andreas Koksrud" userId="9d9beba6-c052-407a-8599-c781a677a996" providerId="ADAL" clId="{4C89AD2D-B60A-479F-9F95-9D423A06FAEA}" dt="2024-06-14T18:23:34.260" v="6665"/>
          <ac:spMkLst>
            <pc:docMk/>
            <pc:sldMk cId="2750337227" sldId="950"/>
            <ac:spMk id="4" creationId="{5AB85F1B-36EA-6EA1-C9AB-7C8698B57DCD}"/>
          </ac:spMkLst>
        </pc:spChg>
      </pc:sldChg>
      <pc:sldChg chg="addSp modSp add">
        <pc:chgData name="Andreas Koksrud" userId="9d9beba6-c052-407a-8599-c781a677a996" providerId="ADAL" clId="{4C89AD2D-B60A-479F-9F95-9D423A06FAEA}" dt="2024-06-14T18:23:37.433" v="6666"/>
        <pc:sldMkLst>
          <pc:docMk/>
          <pc:sldMk cId="1760940084" sldId="951"/>
        </pc:sldMkLst>
        <pc:spChg chg="add mod">
          <ac:chgData name="Andreas Koksrud" userId="9d9beba6-c052-407a-8599-c781a677a996" providerId="ADAL" clId="{4C89AD2D-B60A-479F-9F95-9D423A06FAEA}" dt="2024-06-14T18:23:37.433" v="6666"/>
          <ac:spMkLst>
            <pc:docMk/>
            <pc:sldMk cId="1760940084" sldId="951"/>
            <ac:spMk id="2" creationId="{913A5A6F-61E9-F718-DA1D-7D93CC8AD998}"/>
          </ac:spMkLst>
        </pc:spChg>
        <pc:spChg chg="add mod">
          <ac:chgData name="Andreas Koksrud" userId="9d9beba6-c052-407a-8599-c781a677a996" providerId="ADAL" clId="{4C89AD2D-B60A-479F-9F95-9D423A06FAEA}" dt="2024-06-14T18:23:37.433" v="6666"/>
          <ac:spMkLst>
            <pc:docMk/>
            <pc:sldMk cId="1760940084" sldId="951"/>
            <ac:spMk id="5" creationId="{D11CBD96-12BB-08CF-B4C1-F5C3B38F8998}"/>
          </ac:spMkLst>
        </pc:spChg>
      </pc:sldChg>
      <pc:sldChg chg="addSp modSp add">
        <pc:chgData name="Andreas Koksrud" userId="9d9beba6-c052-407a-8599-c781a677a996" providerId="ADAL" clId="{4C89AD2D-B60A-479F-9F95-9D423A06FAEA}" dt="2024-06-14T18:23:39.639" v="6667"/>
        <pc:sldMkLst>
          <pc:docMk/>
          <pc:sldMk cId="3149545615" sldId="952"/>
        </pc:sldMkLst>
        <pc:spChg chg="add mod">
          <ac:chgData name="Andreas Koksrud" userId="9d9beba6-c052-407a-8599-c781a677a996" providerId="ADAL" clId="{4C89AD2D-B60A-479F-9F95-9D423A06FAEA}" dt="2024-06-14T18:23:39.639" v="6667"/>
          <ac:spMkLst>
            <pc:docMk/>
            <pc:sldMk cId="3149545615" sldId="952"/>
            <ac:spMk id="2" creationId="{C9C8F01D-EE8D-B612-99FA-147FAD8F88CE}"/>
          </ac:spMkLst>
        </pc:spChg>
        <pc:spChg chg="add mod">
          <ac:chgData name="Andreas Koksrud" userId="9d9beba6-c052-407a-8599-c781a677a996" providerId="ADAL" clId="{4C89AD2D-B60A-479F-9F95-9D423A06FAEA}" dt="2024-06-14T18:23:39.639" v="6667"/>
          <ac:spMkLst>
            <pc:docMk/>
            <pc:sldMk cId="3149545615" sldId="952"/>
            <ac:spMk id="7" creationId="{2EC2B93E-8F05-7461-8E4E-50D055129B8C}"/>
          </ac:spMkLst>
        </pc:spChg>
      </pc:sldChg>
      <pc:sldChg chg="addSp modSp add">
        <pc:chgData name="Andreas Koksrud" userId="9d9beba6-c052-407a-8599-c781a677a996" providerId="ADAL" clId="{4C89AD2D-B60A-479F-9F95-9D423A06FAEA}" dt="2024-06-14T18:23:44.192" v="6668"/>
        <pc:sldMkLst>
          <pc:docMk/>
          <pc:sldMk cId="1639579349" sldId="953"/>
        </pc:sldMkLst>
        <pc:spChg chg="add mod">
          <ac:chgData name="Andreas Koksrud" userId="9d9beba6-c052-407a-8599-c781a677a996" providerId="ADAL" clId="{4C89AD2D-B60A-479F-9F95-9D423A06FAEA}" dt="2024-06-14T18:23:44.192" v="6668"/>
          <ac:spMkLst>
            <pc:docMk/>
            <pc:sldMk cId="1639579349" sldId="953"/>
            <ac:spMk id="2" creationId="{0E94FAC2-FC4A-96FF-8B0D-64742AD58342}"/>
          </ac:spMkLst>
        </pc:spChg>
        <pc:spChg chg="add mod">
          <ac:chgData name="Andreas Koksrud" userId="9d9beba6-c052-407a-8599-c781a677a996" providerId="ADAL" clId="{4C89AD2D-B60A-479F-9F95-9D423A06FAEA}" dt="2024-06-14T18:23:44.192" v="6668"/>
          <ac:spMkLst>
            <pc:docMk/>
            <pc:sldMk cId="1639579349" sldId="953"/>
            <ac:spMk id="5" creationId="{203565F2-A241-F539-AE13-C8512BA23C15}"/>
          </ac:spMkLst>
        </pc:spChg>
      </pc:sldChg>
      <pc:sldChg chg="addSp modSp add setBg">
        <pc:chgData name="Andreas Koksrud" userId="9d9beba6-c052-407a-8599-c781a677a996" providerId="ADAL" clId="{4C89AD2D-B60A-479F-9F95-9D423A06FAEA}" dt="2024-06-14T18:23:46.824" v="6669"/>
        <pc:sldMkLst>
          <pc:docMk/>
          <pc:sldMk cId="621067258" sldId="954"/>
        </pc:sldMkLst>
        <pc:spChg chg="add mod">
          <ac:chgData name="Andreas Koksrud" userId="9d9beba6-c052-407a-8599-c781a677a996" providerId="ADAL" clId="{4C89AD2D-B60A-479F-9F95-9D423A06FAEA}" dt="2024-06-14T18:23:46.824" v="6669"/>
          <ac:spMkLst>
            <pc:docMk/>
            <pc:sldMk cId="621067258" sldId="954"/>
            <ac:spMk id="2" creationId="{4064B696-41FB-7407-18EC-D1F31C4595FD}"/>
          </ac:spMkLst>
        </pc:spChg>
        <pc:spChg chg="add mod">
          <ac:chgData name="Andreas Koksrud" userId="9d9beba6-c052-407a-8599-c781a677a996" providerId="ADAL" clId="{4C89AD2D-B60A-479F-9F95-9D423A06FAEA}" dt="2024-06-14T18:23:46.824" v="6669"/>
          <ac:spMkLst>
            <pc:docMk/>
            <pc:sldMk cId="621067258" sldId="954"/>
            <ac:spMk id="3" creationId="{CB2B9C7C-D0E0-7856-6CE2-E610803AC57A}"/>
          </ac:spMkLst>
        </pc:spChg>
      </pc:sldChg>
      <pc:sldChg chg="addSp modSp add mod">
        <pc:chgData name="Andreas Koksrud" userId="9d9beba6-c052-407a-8599-c781a677a996" providerId="ADAL" clId="{4C89AD2D-B60A-479F-9F95-9D423A06FAEA}" dt="2024-06-14T18:24:04.204" v="6683" actId="20577"/>
        <pc:sldMkLst>
          <pc:docMk/>
          <pc:sldMk cId="900096217" sldId="955"/>
        </pc:sldMkLst>
        <pc:spChg chg="add mod">
          <ac:chgData name="Andreas Koksrud" userId="9d9beba6-c052-407a-8599-c781a677a996" providerId="ADAL" clId="{4C89AD2D-B60A-479F-9F95-9D423A06FAEA}" dt="2024-06-14T18:23:59.091" v="6677"/>
          <ac:spMkLst>
            <pc:docMk/>
            <pc:sldMk cId="900096217" sldId="955"/>
            <ac:spMk id="3" creationId="{A96FD00A-64BA-F461-517E-4AC6E9D83052}"/>
          </ac:spMkLst>
        </pc:spChg>
        <pc:spChg chg="add mod">
          <ac:chgData name="Andreas Koksrud" userId="9d9beba6-c052-407a-8599-c781a677a996" providerId="ADAL" clId="{4C89AD2D-B60A-479F-9F95-9D423A06FAEA}" dt="2024-06-14T18:24:04.204" v="6683" actId="20577"/>
          <ac:spMkLst>
            <pc:docMk/>
            <pc:sldMk cId="900096217" sldId="955"/>
            <ac:spMk id="5" creationId="{44123601-5542-285D-2F12-E1CAC6FB9891}"/>
          </ac:spMkLst>
        </pc:spChg>
      </pc:sldChg>
      <pc:sldChg chg="addSp delSp modSp add del mod">
        <pc:chgData name="Andreas Koksrud" userId="9d9beba6-c052-407a-8599-c781a677a996" providerId="ADAL" clId="{4C89AD2D-B60A-479F-9F95-9D423A06FAEA}" dt="2024-07-01T18:56:27.681" v="16966" actId="47"/>
        <pc:sldMkLst>
          <pc:docMk/>
          <pc:sldMk cId="710612878" sldId="956"/>
        </pc:sldMkLst>
        <pc:spChg chg="add mod">
          <ac:chgData name="Andreas Koksrud" userId="9d9beba6-c052-407a-8599-c781a677a996" providerId="ADAL" clId="{4C89AD2D-B60A-479F-9F95-9D423A06FAEA}" dt="2024-06-14T18:15:01.655" v="6051"/>
          <ac:spMkLst>
            <pc:docMk/>
            <pc:sldMk cId="710612878" sldId="956"/>
            <ac:spMk id="3" creationId="{FA843765-07C8-3AC7-60CB-8B0176C87519}"/>
          </ac:spMkLst>
        </pc:spChg>
        <pc:spChg chg="add mod">
          <ac:chgData name="Andreas Koksrud" userId="9d9beba6-c052-407a-8599-c781a677a996" providerId="ADAL" clId="{4C89AD2D-B60A-479F-9F95-9D423A06FAEA}" dt="2024-06-14T18:15:01.655" v="6051"/>
          <ac:spMkLst>
            <pc:docMk/>
            <pc:sldMk cId="710612878" sldId="956"/>
            <ac:spMk id="5" creationId="{4332C754-181F-671F-D83E-5644260EEDBF}"/>
          </ac:spMkLst>
        </pc:spChg>
        <pc:spChg chg="del">
          <ac:chgData name="Andreas Koksrud" userId="9d9beba6-c052-407a-8599-c781a677a996" providerId="ADAL" clId="{4C89AD2D-B60A-479F-9F95-9D423A06FAEA}" dt="2024-06-11T10:59:26.035" v="4554" actId="478"/>
          <ac:spMkLst>
            <pc:docMk/>
            <pc:sldMk cId="710612878" sldId="956"/>
            <ac:spMk id="10" creationId="{54FB830F-DBF4-1B20-3C76-0E40DC07965B}"/>
          </ac:spMkLst>
        </pc:spChg>
        <pc:spChg chg="del mod">
          <ac:chgData name="Andreas Koksrud" userId="9d9beba6-c052-407a-8599-c781a677a996" providerId="ADAL" clId="{4C89AD2D-B60A-479F-9F95-9D423A06FAEA}" dt="2024-06-11T10:59:22.861" v="4553" actId="478"/>
          <ac:spMkLst>
            <pc:docMk/>
            <pc:sldMk cId="710612878" sldId="956"/>
            <ac:spMk id="13" creationId="{252FE080-F115-3517-B2CA-BD200A8AADA8}"/>
          </ac:spMkLst>
        </pc:spChg>
        <pc:spChg chg="del">
          <ac:chgData name="Andreas Koksrud" userId="9d9beba6-c052-407a-8599-c781a677a996" providerId="ADAL" clId="{4C89AD2D-B60A-479F-9F95-9D423A06FAEA}" dt="2024-06-11T10:59:30.350" v="4556" actId="478"/>
          <ac:spMkLst>
            <pc:docMk/>
            <pc:sldMk cId="710612878" sldId="956"/>
            <ac:spMk id="18" creationId="{689B3815-DD1B-BFC6-4AC3-949A67D41B7D}"/>
          </ac:spMkLst>
        </pc:spChg>
        <pc:picChg chg="add mod">
          <ac:chgData name="Andreas Koksrud" userId="9d9beba6-c052-407a-8599-c781a677a996" providerId="ADAL" clId="{4C89AD2D-B60A-479F-9F95-9D423A06FAEA}" dt="2024-06-11T11:02:59.743" v="4576" actId="1076"/>
          <ac:picMkLst>
            <pc:docMk/>
            <pc:sldMk cId="710612878" sldId="956"/>
            <ac:picMk id="4" creationId="{1DCEC257-88FC-30D6-F99E-2119FFE8D009}"/>
          </ac:picMkLst>
        </pc:picChg>
        <pc:picChg chg="add mod ord">
          <ac:chgData name="Andreas Koksrud" userId="9d9beba6-c052-407a-8599-c781a677a996" providerId="ADAL" clId="{4C89AD2D-B60A-479F-9F95-9D423A06FAEA}" dt="2024-06-11T11:00:39.971" v="4567" actId="1076"/>
          <ac:picMkLst>
            <pc:docMk/>
            <pc:sldMk cId="710612878" sldId="956"/>
            <ac:picMk id="6" creationId="{D8EC1C5A-9B95-C332-83FA-6AC87921E54D}"/>
          </ac:picMkLst>
        </pc:picChg>
        <pc:picChg chg="add mod">
          <ac:chgData name="Andreas Koksrud" userId="9d9beba6-c052-407a-8599-c781a677a996" providerId="ADAL" clId="{4C89AD2D-B60A-479F-9F95-9D423A06FAEA}" dt="2024-06-11T11:00:38.357" v="4566" actId="1076"/>
          <ac:picMkLst>
            <pc:docMk/>
            <pc:sldMk cId="710612878" sldId="956"/>
            <ac:picMk id="8" creationId="{73D8CAE5-5322-FE3D-6DB6-BED3FA3D0623}"/>
          </ac:picMkLst>
        </pc:picChg>
        <pc:picChg chg="del">
          <ac:chgData name="Andreas Koksrud" userId="9d9beba6-c052-407a-8599-c781a677a996" providerId="ADAL" clId="{4C89AD2D-B60A-479F-9F95-9D423A06FAEA}" dt="2024-06-11T10:59:21.280" v="4551" actId="478"/>
          <ac:picMkLst>
            <pc:docMk/>
            <pc:sldMk cId="710612878" sldId="956"/>
            <ac:picMk id="9" creationId="{E632C49C-0402-44E0-7A4D-52ABC0883461}"/>
          </ac:picMkLst>
        </pc:picChg>
        <pc:picChg chg="add mod">
          <ac:chgData name="Andreas Koksrud" userId="9d9beba6-c052-407a-8599-c781a677a996" providerId="ADAL" clId="{4C89AD2D-B60A-479F-9F95-9D423A06FAEA}" dt="2024-06-11T11:01:29.533" v="4571" actId="1076"/>
          <ac:picMkLst>
            <pc:docMk/>
            <pc:sldMk cId="710612878" sldId="956"/>
            <ac:picMk id="17" creationId="{AB830461-A165-DC8B-EB8F-B34C5F230467}"/>
          </ac:picMkLst>
        </pc:picChg>
        <pc:picChg chg="add del mod ord">
          <ac:chgData name="Andreas Koksrud" userId="9d9beba6-c052-407a-8599-c781a677a996" providerId="ADAL" clId="{4C89AD2D-B60A-479F-9F95-9D423A06FAEA}" dt="2024-06-11T11:03:42.181" v="4581" actId="478"/>
          <ac:picMkLst>
            <pc:docMk/>
            <pc:sldMk cId="710612878" sldId="956"/>
            <ac:picMk id="21" creationId="{8F8B04AE-98CC-8B5B-705C-231D4DDC65D9}"/>
          </ac:picMkLst>
        </pc:picChg>
        <pc:picChg chg="add del">
          <ac:chgData name="Andreas Koksrud" userId="9d9beba6-c052-407a-8599-c781a677a996" providerId="ADAL" clId="{4C89AD2D-B60A-479F-9F95-9D423A06FAEA}" dt="2024-06-11T11:03:43.882" v="4582" actId="478"/>
          <ac:picMkLst>
            <pc:docMk/>
            <pc:sldMk cId="710612878" sldId="956"/>
            <ac:picMk id="25" creationId="{2E9961A5-D98B-97AA-81B7-63238C454A76}"/>
          </ac:picMkLst>
        </pc:picChg>
        <pc:picChg chg="add mod ord">
          <ac:chgData name="Andreas Koksrud" userId="9d9beba6-c052-407a-8599-c781a677a996" providerId="ADAL" clId="{4C89AD2D-B60A-479F-9F95-9D423A06FAEA}" dt="2024-06-11T11:05:18.407" v="4590" actId="1076"/>
          <ac:picMkLst>
            <pc:docMk/>
            <pc:sldMk cId="710612878" sldId="956"/>
            <ac:picMk id="27" creationId="{2DAB582B-A889-29AF-1981-95843A34F32D}"/>
          </ac:picMkLst>
        </pc:picChg>
        <pc:picChg chg="add mod">
          <ac:chgData name="Andreas Koksrud" userId="9d9beba6-c052-407a-8599-c781a677a996" providerId="ADAL" clId="{4C89AD2D-B60A-479F-9F95-9D423A06FAEA}" dt="2024-06-11T11:05:21.019" v="4591" actId="1076"/>
          <ac:picMkLst>
            <pc:docMk/>
            <pc:sldMk cId="710612878" sldId="956"/>
            <ac:picMk id="30" creationId="{FD70291B-819F-91FE-EA32-8D57A4F4BDD0}"/>
          </ac:picMkLst>
        </pc:picChg>
        <pc:cxnChg chg="mod ord">
          <ac:chgData name="Andreas Koksrud" userId="9d9beba6-c052-407a-8599-c781a677a996" providerId="ADAL" clId="{4C89AD2D-B60A-479F-9F95-9D423A06FAEA}" dt="2024-06-11T11:05:18.407" v="4590" actId="1076"/>
          <ac:cxnSpMkLst>
            <pc:docMk/>
            <pc:sldMk cId="710612878" sldId="956"/>
            <ac:cxnSpMk id="12" creationId="{9B6E8DAF-67C9-ED70-3B04-3C8637A4A1DF}"/>
          </ac:cxnSpMkLst>
        </pc:cxnChg>
        <pc:cxnChg chg="mod">
          <ac:chgData name="Andreas Koksrud" userId="9d9beba6-c052-407a-8599-c781a677a996" providerId="ADAL" clId="{4C89AD2D-B60A-479F-9F95-9D423A06FAEA}" dt="2024-06-11T11:00:45.805" v="4569" actId="14100"/>
          <ac:cxnSpMkLst>
            <pc:docMk/>
            <pc:sldMk cId="710612878" sldId="956"/>
            <ac:cxnSpMk id="14" creationId="{DBF7F714-869C-033E-BBE2-33225E14A83C}"/>
          </ac:cxnSpMkLst>
        </pc:cxnChg>
        <pc:cxnChg chg="del">
          <ac:chgData name="Andreas Koksrud" userId="9d9beba6-c052-407a-8599-c781a677a996" providerId="ADAL" clId="{4C89AD2D-B60A-479F-9F95-9D423A06FAEA}" dt="2024-06-11T10:59:30.350" v="4556" actId="478"/>
          <ac:cxnSpMkLst>
            <pc:docMk/>
            <pc:sldMk cId="710612878" sldId="956"/>
            <ac:cxnSpMk id="19" creationId="{9C699369-623A-3E79-0C3E-04851F5A9734}"/>
          </ac:cxnSpMkLst>
        </pc:cxnChg>
      </pc:sldChg>
      <pc:sldChg chg="addSp delSp modSp add mod">
        <pc:chgData name="Andreas Koksrud" userId="9d9beba6-c052-407a-8599-c781a677a996" providerId="ADAL" clId="{4C89AD2D-B60A-479F-9F95-9D423A06FAEA}" dt="2024-08-04T15:50:03.536" v="36063" actId="790"/>
        <pc:sldMkLst>
          <pc:docMk/>
          <pc:sldMk cId="3891081161" sldId="957"/>
        </pc:sldMkLst>
        <pc:spChg chg="add mod">
          <ac:chgData name="Andreas Koksrud" userId="9d9beba6-c052-407a-8599-c781a677a996" providerId="ADAL" clId="{4C89AD2D-B60A-479F-9F95-9D423A06FAEA}" dt="2024-06-14T15:02:35.815" v="5426" actId="20577"/>
          <ac:spMkLst>
            <pc:docMk/>
            <pc:sldMk cId="3891081161" sldId="957"/>
            <ac:spMk id="2" creationId="{092F375E-88F1-2491-C4B4-4FFB2575B3FC}"/>
          </ac:spMkLst>
        </pc:spChg>
        <pc:spChg chg="add mod">
          <ac:chgData name="Andreas Koksrud" userId="9d9beba6-c052-407a-8599-c781a677a996" providerId="ADAL" clId="{4C89AD2D-B60A-479F-9F95-9D423A06FAEA}" dt="2024-08-04T15:50:03.536" v="36063" actId="790"/>
          <ac:spMkLst>
            <pc:docMk/>
            <pc:sldMk cId="3891081161" sldId="957"/>
            <ac:spMk id="3" creationId="{F59EEECA-109D-5388-A048-2DDBD1869174}"/>
          </ac:spMkLst>
        </pc:spChg>
        <pc:spChg chg="add del mod">
          <ac:chgData name="Andreas Koksrud" userId="9d9beba6-c052-407a-8599-c781a677a996" providerId="ADAL" clId="{4C89AD2D-B60A-479F-9F95-9D423A06FAEA}" dt="2024-06-17T18:36:30.918" v="11282" actId="478"/>
          <ac:spMkLst>
            <pc:docMk/>
            <pc:sldMk cId="3891081161" sldId="957"/>
            <ac:spMk id="4" creationId="{0114B071-0FD4-F7BB-E6D7-8CBCBBAFA715}"/>
          </ac:spMkLst>
        </pc:spChg>
        <pc:spChg chg="add mod">
          <ac:chgData name="Andreas Koksrud" userId="9d9beba6-c052-407a-8599-c781a677a996" providerId="ADAL" clId="{4C89AD2D-B60A-479F-9F95-9D423A06FAEA}" dt="2024-08-03T09:39:35.855" v="35408" actId="1076"/>
          <ac:spMkLst>
            <pc:docMk/>
            <pc:sldMk cId="3891081161" sldId="957"/>
            <ac:spMk id="4" creationId="{8404ECDC-CA8F-CF03-541A-F191CC9A3ABD}"/>
          </ac:spMkLst>
        </pc:spChg>
        <pc:spChg chg="add del mod">
          <ac:chgData name="Andreas Koksrud" userId="9d9beba6-c052-407a-8599-c781a677a996" providerId="ADAL" clId="{4C89AD2D-B60A-479F-9F95-9D423A06FAEA}" dt="2024-06-14T17:38:23.152" v="5477" actId="478"/>
          <ac:spMkLst>
            <pc:docMk/>
            <pc:sldMk cId="3891081161" sldId="957"/>
            <ac:spMk id="4" creationId="{983E76E7-A707-9589-938A-3A5E56DFB3F6}"/>
          </ac:spMkLst>
        </pc:spChg>
        <pc:spChg chg="add mod">
          <ac:chgData name="Andreas Koksrud" userId="9d9beba6-c052-407a-8599-c781a677a996" providerId="ADAL" clId="{4C89AD2D-B60A-479F-9F95-9D423A06FAEA}" dt="2024-08-03T09:39:50.108" v="35438" actId="20577"/>
          <ac:spMkLst>
            <pc:docMk/>
            <pc:sldMk cId="3891081161" sldId="957"/>
            <ac:spMk id="5" creationId="{A9096DD0-6AF2-620C-D74F-665FE2D6FDA2}"/>
          </ac:spMkLst>
        </pc:spChg>
        <pc:spChg chg="add mod">
          <ac:chgData name="Andreas Koksrud" userId="9d9beba6-c052-407a-8599-c781a677a996" providerId="ADAL" clId="{4C89AD2D-B60A-479F-9F95-9D423A06FAEA}" dt="2024-06-22T19:52:52.587" v="11529" actId="20577"/>
          <ac:spMkLst>
            <pc:docMk/>
            <pc:sldMk cId="3891081161" sldId="957"/>
            <ac:spMk id="37" creationId="{95B27A29-FE90-9A04-68D9-F0B8445DA3A2}"/>
          </ac:spMkLst>
        </pc:spChg>
        <pc:spChg chg="add mod">
          <ac:chgData name="Andreas Koksrud" userId="9d9beba6-c052-407a-8599-c781a677a996" providerId="ADAL" clId="{4C89AD2D-B60A-479F-9F95-9D423A06FAEA}" dt="2024-07-02T15:21:21.219" v="18750" actId="6549"/>
          <ac:spMkLst>
            <pc:docMk/>
            <pc:sldMk cId="3891081161" sldId="957"/>
            <ac:spMk id="38" creationId="{441691CC-9FA7-3018-1713-2E8E242F570C}"/>
          </ac:spMkLst>
        </pc:spChg>
        <pc:spChg chg="add mod">
          <ac:chgData name="Andreas Koksrud" userId="9d9beba6-c052-407a-8599-c781a677a996" providerId="ADAL" clId="{4C89AD2D-B60A-479F-9F95-9D423A06FAEA}" dt="2024-06-14T18:14:06.310" v="6017"/>
          <ac:spMkLst>
            <pc:docMk/>
            <pc:sldMk cId="3891081161" sldId="957"/>
            <ac:spMk id="46" creationId="{4E062DF5-099B-D535-7830-ECF433AE23F5}"/>
          </ac:spMkLst>
        </pc:spChg>
        <pc:spChg chg="add mod">
          <ac:chgData name="Andreas Koksrud" userId="9d9beba6-c052-407a-8599-c781a677a996" providerId="ADAL" clId="{4C89AD2D-B60A-479F-9F95-9D423A06FAEA}" dt="2024-06-14T18:14:06.310" v="6017"/>
          <ac:spMkLst>
            <pc:docMk/>
            <pc:sldMk cId="3891081161" sldId="957"/>
            <ac:spMk id="47" creationId="{713F7C4B-5CF6-CD54-CC64-EEF0747F9838}"/>
          </ac:spMkLst>
        </pc:spChg>
        <pc:spChg chg="del mod">
          <ac:chgData name="Andreas Koksrud" userId="9d9beba6-c052-407a-8599-c781a677a996" providerId="ADAL" clId="{4C89AD2D-B60A-479F-9F95-9D423A06FAEA}" dt="2024-06-17T18:36:27.681" v="11281" actId="478"/>
          <ac:spMkLst>
            <pc:docMk/>
            <pc:sldMk cId="3891081161" sldId="957"/>
            <ac:spMk id="180" creationId="{00000000-0000-0000-0000-000000000000}"/>
          </ac:spMkLst>
        </pc:spChg>
        <pc:spChg chg="del">
          <ac:chgData name="Andreas Koksrud" userId="9d9beba6-c052-407a-8599-c781a677a996" providerId="ADAL" clId="{4C89AD2D-B60A-479F-9F95-9D423A06FAEA}" dt="2024-06-14T15:02:40.040" v="5427" actId="478"/>
          <ac:spMkLst>
            <pc:docMk/>
            <pc:sldMk cId="3891081161" sldId="957"/>
            <ac:spMk id="181" creationId="{00000000-0000-0000-0000-000000000000}"/>
          </ac:spMkLst>
        </pc:spChg>
        <pc:picChg chg="add del mod">
          <ac:chgData name="Andreas Koksrud" userId="9d9beba6-c052-407a-8599-c781a677a996" providerId="ADAL" clId="{4C89AD2D-B60A-479F-9F95-9D423A06FAEA}" dt="2024-06-14T17:47:43.939" v="5743" actId="478"/>
          <ac:picMkLst>
            <pc:docMk/>
            <pc:sldMk cId="3891081161" sldId="957"/>
            <ac:picMk id="6" creationId="{91E6156A-A563-E619-D1F6-BD5412E01740}"/>
          </ac:picMkLst>
        </pc:picChg>
        <pc:picChg chg="del">
          <ac:chgData name="Andreas Koksrud" userId="9d9beba6-c052-407a-8599-c781a677a996" providerId="ADAL" clId="{4C89AD2D-B60A-479F-9F95-9D423A06FAEA}" dt="2024-06-14T15:02:46.614" v="5429" actId="478"/>
          <ac:picMkLst>
            <pc:docMk/>
            <pc:sldMk cId="3891081161" sldId="957"/>
            <ac:picMk id="7" creationId="{20DA3B42-7D79-4A47-C780-29C37E46A4F0}"/>
          </ac:picMkLst>
        </pc:picChg>
        <pc:picChg chg="del">
          <ac:chgData name="Andreas Koksrud" userId="9d9beba6-c052-407a-8599-c781a677a996" providerId="ADAL" clId="{4C89AD2D-B60A-479F-9F95-9D423A06FAEA}" dt="2024-06-14T15:02:47.410" v="5430" actId="478"/>
          <ac:picMkLst>
            <pc:docMk/>
            <pc:sldMk cId="3891081161" sldId="957"/>
            <ac:picMk id="9" creationId="{7A5B6202-2110-4267-8196-A3160A499FA3}"/>
          </ac:picMkLst>
        </pc:picChg>
        <pc:picChg chg="add del mod">
          <ac:chgData name="Andreas Koksrud" userId="9d9beba6-c052-407a-8599-c781a677a996" providerId="ADAL" clId="{4C89AD2D-B60A-479F-9F95-9D423A06FAEA}" dt="2024-06-14T17:47:49.384" v="5744" actId="478"/>
          <ac:picMkLst>
            <pc:docMk/>
            <pc:sldMk cId="3891081161" sldId="957"/>
            <ac:picMk id="10" creationId="{FB701CB5-6D02-D8B1-E5FE-0166B7CB3753}"/>
          </ac:picMkLst>
        </pc:picChg>
        <pc:picChg chg="add mod modCrop">
          <ac:chgData name="Andreas Koksrud" userId="9d9beba6-c052-407a-8599-c781a677a996" providerId="ADAL" clId="{4C89AD2D-B60A-479F-9F95-9D423A06FAEA}" dt="2024-06-14T17:48:49.353" v="5753" actId="732"/>
          <ac:picMkLst>
            <pc:docMk/>
            <pc:sldMk cId="3891081161" sldId="957"/>
            <ac:picMk id="12" creationId="{31065A3F-005F-8170-27F1-D666F665FD11}"/>
          </ac:picMkLst>
        </pc:picChg>
        <pc:picChg chg="add del mod">
          <ac:chgData name="Andreas Koksrud" userId="9d9beba6-c052-407a-8599-c781a677a996" providerId="ADAL" clId="{4C89AD2D-B60A-479F-9F95-9D423A06FAEA}" dt="2024-06-14T15:07:42.325" v="5439" actId="478"/>
          <ac:picMkLst>
            <pc:docMk/>
            <pc:sldMk cId="3891081161" sldId="957"/>
            <ac:picMk id="14" creationId="{3A741D50-93B8-C125-6D01-774F764B8E15}"/>
          </ac:picMkLst>
        </pc:picChg>
        <pc:picChg chg="add del mod">
          <ac:chgData name="Andreas Koksrud" userId="9d9beba6-c052-407a-8599-c781a677a996" providerId="ADAL" clId="{4C89AD2D-B60A-479F-9F95-9D423A06FAEA}" dt="2024-06-14T15:57:26.929" v="5450" actId="478"/>
          <ac:picMkLst>
            <pc:docMk/>
            <pc:sldMk cId="3891081161" sldId="957"/>
            <ac:picMk id="16" creationId="{33764427-72FC-8AD1-0948-6712CC1BAB7A}"/>
          </ac:picMkLst>
        </pc:picChg>
        <pc:picChg chg="add mod modCrop">
          <ac:chgData name="Andreas Koksrud" userId="9d9beba6-c052-407a-8599-c781a677a996" providerId="ADAL" clId="{4C89AD2D-B60A-479F-9F95-9D423A06FAEA}" dt="2024-06-14T17:50:25.562" v="5767" actId="1076"/>
          <ac:picMkLst>
            <pc:docMk/>
            <pc:sldMk cId="3891081161" sldId="957"/>
            <ac:picMk id="18" creationId="{4D11162B-F2ED-B950-F8DC-ABD52C197FBC}"/>
          </ac:picMkLst>
        </pc:picChg>
        <pc:picChg chg="add mod modCrop">
          <ac:chgData name="Andreas Koksrud" userId="9d9beba6-c052-407a-8599-c781a677a996" providerId="ADAL" clId="{4C89AD2D-B60A-479F-9F95-9D423A06FAEA}" dt="2024-06-14T17:49:45.742" v="5762" actId="1076"/>
          <ac:picMkLst>
            <pc:docMk/>
            <pc:sldMk cId="3891081161" sldId="957"/>
            <ac:picMk id="20" creationId="{03539320-1EA0-1DB6-6C9A-0584BD1224BF}"/>
          </ac:picMkLst>
        </pc:picChg>
        <pc:picChg chg="add del mod modCrop">
          <ac:chgData name="Andreas Koksrud" userId="9d9beba6-c052-407a-8599-c781a677a996" providerId="ADAL" clId="{4C89AD2D-B60A-479F-9F95-9D423A06FAEA}" dt="2024-06-14T17:40:53.643" v="5483" actId="478"/>
          <ac:picMkLst>
            <pc:docMk/>
            <pc:sldMk cId="3891081161" sldId="957"/>
            <ac:picMk id="22" creationId="{05D0B095-4AA2-E1A2-D6B4-ABD8928BF86D}"/>
          </ac:picMkLst>
        </pc:picChg>
        <pc:picChg chg="add del mod">
          <ac:chgData name="Andreas Koksrud" userId="9d9beba6-c052-407a-8599-c781a677a996" providerId="ADAL" clId="{4C89AD2D-B60A-479F-9F95-9D423A06FAEA}" dt="2024-06-14T17:37:10.743" v="5469" actId="478"/>
          <ac:picMkLst>
            <pc:docMk/>
            <pc:sldMk cId="3891081161" sldId="957"/>
            <ac:picMk id="24" creationId="{628C12D4-F8F5-4F69-4613-57E76960BD78}"/>
          </ac:picMkLst>
        </pc:picChg>
        <pc:picChg chg="add del mod">
          <ac:chgData name="Andreas Koksrud" userId="9d9beba6-c052-407a-8599-c781a677a996" providerId="ADAL" clId="{4C89AD2D-B60A-479F-9F95-9D423A06FAEA}" dt="2024-06-14T17:37:22.674" v="5473" actId="478"/>
          <ac:picMkLst>
            <pc:docMk/>
            <pc:sldMk cId="3891081161" sldId="957"/>
            <ac:picMk id="26" creationId="{BE16B5F1-00E9-B899-9F42-5A67BF733C78}"/>
          </ac:picMkLst>
        </pc:picChg>
        <pc:picChg chg="add del mod">
          <ac:chgData name="Andreas Koksrud" userId="9d9beba6-c052-407a-8599-c781a677a996" providerId="ADAL" clId="{4C89AD2D-B60A-479F-9F95-9D423A06FAEA}" dt="2024-06-14T17:40:52.787" v="5482" actId="478"/>
          <ac:picMkLst>
            <pc:docMk/>
            <pc:sldMk cId="3891081161" sldId="957"/>
            <ac:picMk id="28" creationId="{B632A37E-F81D-4878-889C-A48B0963D873}"/>
          </ac:picMkLst>
        </pc:picChg>
        <pc:picChg chg="add del mod">
          <ac:chgData name="Andreas Koksrud" userId="9d9beba6-c052-407a-8599-c781a677a996" providerId="ADAL" clId="{4C89AD2D-B60A-479F-9F95-9D423A06FAEA}" dt="2024-06-14T17:40:52.095" v="5481" actId="478"/>
          <ac:picMkLst>
            <pc:docMk/>
            <pc:sldMk cId="3891081161" sldId="957"/>
            <ac:picMk id="30" creationId="{D35AE1B2-F008-84E0-1E27-9F2890310000}"/>
          </ac:picMkLst>
        </pc:picChg>
        <pc:picChg chg="add mod">
          <ac:chgData name="Andreas Koksrud" userId="9d9beba6-c052-407a-8599-c781a677a996" providerId="ADAL" clId="{4C89AD2D-B60A-479F-9F95-9D423A06FAEA}" dt="2024-06-14T17:49:57.580" v="5763" actId="1076"/>
          <ac:picMkLst>
            <pc:docMk/>
            <pc:sldMk cId="3891081161" sldId="957"/>
            <ac:picMk id="32" creationId="{39EB8162-2F1B-8F63-D92A-75E086162C78}"/>
          </ac:picMkLst>
        </pc:picChg>
        <pc:picChg chg="add mod">
          <ac:chgData name="Andreas Koksrud" userId="9d9beba6-c052-407a-8599-c781a677a996" providerId="ADAL" clId="{4C89AD2D-B60A-479F-9F95-9D423A06FAEA}" dt="2024-08-03T09:39:45.486" v="35428" actId="1035"/>
          <ac:picMkLst>
            <pc:docMk/>
            <pc:sldMk cId="3891081161" sldId="957"/>
            <ac:picMk id="34" creationId="{A2F951E7-CAE4-6880-14FD-E358DE19C974}"/>
          </ac:picMkLst>
        </pc:picChg>
        <pc:picChg chg="add mod">
          <ac:chgData name="Andreas Koksrud" userId="9d9beba6-c052-407a-8599-c781a677a996" providerId="ADAL" clId="{4C89AD2D-B60A-479F-9F95-9D423A06FAEA}" dt="2024-06-14T17:49:03.487" v="5754" actId="1076"/>
          <ac:picMkLst>
            <pc:docMk/>
            <pc:sldMk cId="3891081161" sldId="957"/>
            <ac:picMk id="36" creationId="{DEFE8EC0-B755-072C-D4C0-686A131808ED}"/>
          </ac:picMkLst>
        </pc:picChg>
        <pc:picChg chg="add mod modCrop">
          <ac:chgData name="Andreas Koksrud" userId="9d9beba6-c052-407a-8599-c781a677a996" providerId="ADAL" clId="{4C89AD2D-B60A-479F-9F95-9D423A06FAEA}" dt="2024-06-14T17:48:07.039" v="5748" actId="732"/>
          <ac:picMkLst>
            <pc:docMk/>
            <pc:sldMk cId="3891081161" sldId="957"/>
            <ac:picMk id="41" creationId="{997F2965-D0D8-838D-B577-BC557588CDB0}"/>
          </ac:picMkLst>
        </pc:picChg>
        <pc:cxnChg chg="add mod ord">
          <ac:chgData name="Andreas Koksrud" userId="9d9beba6-c052-407a-8599-c781a677a996" providerId="ADAL" clId="{4C89AD2D-B60A-479F-9F95-9D423A06FAEA}" dt="2024-06-14T17:49:26.818" v="5759" actId="14100"/>
          <ac:cxnSpMkLst>
            <pc:docMk/>
            <pc:sldMk cId="3891081161" sldId="957"/>
            <ac:cxnSpMk id="39" creationId="{6815ECF9-4EC7-69AF-79A8-251036CC0710}"/>
          </ac:cxnSpMkLst>
        </pc:cxnChg>
      </pc:sldChg>
      <pc:sldChg chg="addSp modSp add del mod">
        <pc:chgData name="Andreas Koksrud" userId="9d9beba6-c052-407a-8599-c781a677a996" providerId="ADAL" clId="{4C89AD2D-B60A-479F-9F95-9D423A06FAEA}" dt="2024-07-25T22:00:06.070" v="28206" actId="47"/>
        <pc:sldMkLst>
          <pc:docMk/>
          <pc:sldMk cId="4094782500" sldId="958"/>
        </pc:sldMkLst>
        <pc:spChg chg="add mod">
          <ac:chgData name="Andreas Koksrud" userId="9d9beba6-c052-407a-8599-c781a677a996" providerId="ADAL" clId="{4C89AD2D-B60A-479F-9F95-9D423A06FAEA}" dt="2024-06-15T12:42:35.334" v="7767" actId="6549"/>
          <ac:spMkLst>
            <pc:docMk/>
            <pc:sldMk cId="4094782500" sldId="958"/>
            <ac:spMk id="2" creationId="{A414C899-A3A3-2CE8-A35A-BA6863CFCAA5}"/>
          </ac:spMkLst>
        </pc:spChg>
        <pc:spChg chg="mod">
          <ac:chgData name="Andreas Koksrud" userId="9d9beba6-c052-407a-8599-c781a677a996" providerId="ADAL" clId="{4C89AD2D-B60A-479F-9F95-9D423A06FAEA}" dt="2024-07-25T21:43:16.972" v="27658" actId="20577"/>
          <ac:spMkLst>
            <pc:docMk/>
            <pc:sldMk cId="4094782500" sldId="958"/>
            <ac:spMk id="180" creationId="{00000000-0000-0000-0000-000000000000}"/>
          </ac:spMkLst>
        </pc:spChg>
        <pc:spChg chg="mod">
          <ac:chgData name="Andreas Koksrud" userId="9d9beba6-c052-407a-8599-c781a677a996" providerId="ADAL" clId="{4C89AD2D-B60A-479F-9F95-9D423A06FAEA}" dt="2024-06-15T12:42:31.527" v="7766" actId="20577"/>
          <ac:spMkLst>
            <pc:docMk/>
            <pc:sldMk cId="4094782500" sldId="958"/>
            <ac:spMk id="181" creationId="{00000000-0000-0000-0000-000000000000}"/>
          </ac:spMkLst>
        </pc:spChg>
      </pc:sldChg>
      <pc:sldChg chg="modSp add mod">
        <pc:chgData name="Andreas Koksrud" userId="9d9beba6-c052-407a-8599-c781a677a996" providerId="ADAL" clId="{4C89AD2D-B60A-479F-9F95-9D423A06FAEA}" dt="2024-07-27T10:51:42.146" v="30371" actId="6549"/>
        <pc:sldMkLst>
          <pc:docMk/>
          <pc:sldMk cId="2483814496" sldId="959"/>
        </pc:sldMkLst>
        <pc:spChg chg="mod">
          <ac:chgData name="Andreas Koksrud" userId="9d9beba6-c052-407a-8599-c781a677a996" providerId="ADAL" clId="{4C89AD2D-B60A-479F-9F95-9D423A06FAEA}" dt="2024-06-15T12:42:46.043" v="7780" actId="20577"/>
          <ac:spMkLst>
            <pc:docMk/>
            <pc:sldMk cId="2483814496" sldId="959"/>
            <ac:spMk id="180" creationId="{00000000-0000-0000-0000-000000000000}"/>
          </ac:spMkLst>
        </pc:spChg>
        <pc:spChg chg="mod">
          <ac:chgData name="Andreas Koksrud" userId="9d9beba6-c052-407a-8599-c781a677a996" providerId="ADAL" clId="{4C89AD2D-B60A-479F-9F95-9D423A06FAEA}" dt="2024-07-27T10:51:42.146" v="30371" actId="6549"/>
          <ac:spMkLst>
            <pc:docMk/>
            <pc:sldMk cId="2483814496" sldId="959"/>
            <ac:spMk id="181" creationId="{00000000-0000-0000-0000-000000000000}"/>
          </ac:spMkLst>
        </pc:spChg>
      </pc:sldChg>
      <pc:sldChg chg="addSp modSp add mod">
        <pc:chgData name="Andreas Koksrud" userId="9d9beba6-c052-407a-8599-c781a677a996" providerId="ADAL" clId="{4C89AD2D-B60A-479F-9F95-9D423A06FAEA}" dt="2024-07-31T19:21:07.984" v="31656" actId="6549"/>
        <pc:sldMkLst>
          <pc:docMk/>
          <pc:sldMk cId="1059178978" sldId="960"/>
        </pc:sldMkLst>
        <pc:spChg chg="mod">
          <ac:chgData name="Andreas Koksrud" userId="9d9beba6-c052-407a-8599-c781a677a996" providerId="ADAL" clId="{4C89AD2D-B60A-479F-9F95-9D423A06FAEA}" dt="2024-07-16T13:46:03.061" v="24624" actId="14100"/>
          <ac:spMkLst>
            <pc:docMk/>
            <pc:sldMk cId="1059178978" sldId="960"/>
            <ac:spMk id="2" creationId="{D2218BBC-5F79-26A8-11EB-A8418B65A000}"/>
          </ac:spMkLst>
        </pc:spChg>
        <pc:spChg chg="add mod">
          <ac:chgData name="Andreas Koksrud" userId="9d9beba6-c052-407a-8599-c781a677a996" providerId="ADAL" clId="{4C89AD2D-B60A-479F-9F95-9D423A06FAEA}" dt="2024-07-31T19:21:07.984" v="31656" actId="6549"/>
          <ac:spMkLst>
            <pc:docMk/>
            <pc:sldMk cId="1059178978" sldId="960"/>
            <ac:spMk id="3" creationId="{063297C5-9880-F6FD-7DBE-410ADC3232DE}"/>
          </ac:spMkLst>
        </pc:spChg>
        <pc:spChg chg="mod">
          <ac:chgData name="Andreas Koksrud" userId="9d9beba6-c052-407a-8599-c781a677a996" providerId="ADAL" clId="{4C89AD2D-B60A-479F-9F95-9D423A06FAEA}" dt="2024-07-16T13:41:50.497" v="24171" actId="20577"/>
          <ac:spMkLst>
            <pc:docMk/>
            <pc:sldMk cId="1059178978" sldId="960"/>
            <ac:spMk id="180" creationId="{00000000-0000-0000-0000-000000000000}"/>
          </ac:spMkLst>
        </pc:spChg>
        <pc:spChg chg="mod">
          <ac:chgData name="Andreas Koksrud" userId="9d9beba6-c052-407a-8599-c781a677a996" providerId="ADAL" clId="{4C89AD2D-B60A-479F-9F95-9D423A06FAEA}" dt="2024-07-16T13:45:24.151" v="24584" actId="20577"/>
          <ac:spMkLst>
            <pc:docMk/>
            <pc:sldMk cId="1059178978" sldId="960"/>
            <ac:spMk id="181" creationId="{00000000-0000-0000-0000-000000000000}"/>
          </ac:spMkLst>
        </pc:spChg>
      </pc:sldChg>
      <pc:sldChg chg="addSp delSp modSp add mod">
        <pc:chgData name="Andreas Koksrud" userId="9d9beba6-c052-407a-8599-c781a677a996" providerId="ADAL" clId="{4C89AD2D-B60A-479F-9F95-9D423A06FAEA}" dt="2024-07-28T11:13:00.157" v="30621" actId="14100"/>
        <pc:sldMkLst>
          <pc:docMk/>
          <pc:sldMk cId="3805325624" sldId="961"/>
        </pc:sldMkLst>
        <pc:spChg chg="add del mod">
          <ac:chgData name="Andreas Koksrud" userId="9d9beba6-c052-407a-8599-c781a677a996" providerId="ADAL" clId="{4C89AD2D-B60A-479F-9F95-9D423A06FAEA}" dt="2024-07-01T18:22:42.819" v="15857" actId="478"/>
          <ac:spMkLst>
            <pc:docMk/>
            <pc:sldMk cId="3805325624" sldId="961"/>
            <ac:spMk id="2" creationId="{8D14831C-75D1-89B1-A9CF-2D4B4E628994}"/>
          </ac:spMkLst>
        </pc:spChg>
        <pc:spChg chg="add mod">
          <ac:chgData name="Andreas Koksrud" userId="9d9beba6-c052-407a-8599-c781a677a996" providerId="ADAL" clId="{4C89AD2D-B60A-479F-9F95-9D423A06FAEA}" dt="2024-07-28T11:13:00.157" v="30621" actId="14100"/>
          <ac:spMkLst>
            <pc:docMk/>
            <pc:sldMk cId="3805325624" sldId="961"/>
            <ac:spMk id="2" creationId="{9A64133E-BFC0-3C2E-97B8-45B35F02AD76}"/>
          </ac:spMkLst>
        </pc:spChg>
        <pc:spChg chg="add mod">
          <ac:chgData name="Andreas Koksrud" userId="9d9beba6-c052-407a-8599-c781a677a996" providerId="ADAL" clId="{4C89AD2D-B60A-479F-9F95-9D423A06FAEA}" dt="2024-07-25T22:24:13.238" v="30275" actId="1076"/>
          <ac:spMkLst>
            <pc:docMk/>
            <pc:sldMk cId="3805325624" sldId="961"/>
            <ac:spMk id="7" creationId="{A8B7B111-653E-4B53-BBD1-A75F603564D2}"/>
          </ac:spMkLst>
        </pc:spChg>
        <pc:spChg chg="add mod">
          <ac:chgData name="Andreas Koksrud" userId="9d9beba6-c052-407a-8599-c781a677a996" providerId="ADAL" clId="{4C89AD2D-B60A-479F-9F95-9D423A06FAEA}" dt="2024-07-25T22:24:04.034" v="30272" actId="20577"/>
          <ac:spMkLst>
            <pc:docMk/>
            <pc:sldMk cId="3805325624" sldId="961"/>
            <ac:spMk id="8" creationId="{F806712D-BD76-753F-A112-30B2E003A117}"/>
          </ac:spMkLst>
        </pc:spChg>
        <pc:spChg chg="add del mod">
          <ac:chgData name="Andreas Koksrud" userId="9d9beba6-c052-407a-8599-c781a677a996" providerId="ADAL" clId="{4C89AD2D-B60A-479F-9F95-9D423A06FAEA}" dt="2024-06-15T12:46:24.820" v="7953" actId="478"/>
          <ac:spMkLst>
            <pc:docMk/>
            <pc:sldMk cId="3805325624" sldId="961"/>
            <ac:spMk id="9" creationId="{59D9CBF0-BD00-CD63-8BC8-59B36D101FF4}"/>
          </ac:spMkLst>
        </pc:spChg>
        <pc:spChg chg="add mod">
          <ac:chgData name="Andreas Koksrud" userId="9d9beba6-c052-407a-8599-c781a677a996" providerId="ADAL" clId="{4C89AD2D-B60A-479F-9F95-9D423A06FAEA}" dt="2024-07-28T11:12:41.114" v="30618" actId="1037"/>
          <ac:spMkLst>
            <pc:docMk/>
            <pc:sldMk cId="3805325624" sldId="961"/>
            <ac:spMk id="9" creationId="{F386E354-D797-30F3-B881-935184B27FB1}"/>
          </ac:spMkLst>
        </pc:spChg>
        <pc:spChg chg="add mod">
          <ac:chgData name="Andreas Koksrud" userId="9d9beba6-c052-407a-8599-c781a677a996" providerId="ADAL" clId="{4C89AD2D-B60A-479F-9F95-9D423A06FAEA}" dt="2024-07-26T11:21:56.177" v="30319" actId="14100"/>
          <ac:spMkLst>
            <pc:docMk/>
            <pc:sldMk cId="3805325624" sldId="961"/>
            <ac:spMk id="10" creationId="{449916E7-DD9D-ECEF-6588-FBFD982FA007}"/>
          </ac:spMkLst>
        </pc:spChg>
        <pc:spChg chg="del mod">
          <ac:chgData name="Andreas Koksrud" userId="9d9beba6-c052-407a-8599-c781a677a996" providerId="ADAL" clId="{4C89AD2D-B60A-479F-9F95-9D423A06FAEA}" dt="2024-06-15T12:46:23.422" v="7952" actId="478"/>
          <ac:spMkLst>
            <pc:docMk/>
            <pc:sldMk cId="3805325624" sldId="961"/>
            <ac:spMk id="180" creationId="{00000000-0000-0000-0000-000000000000}"/>
          </ac:spMkLst>
        </pc:spChg>
        <pc:spChg chg="del mod">
          <ac:chgData name="Andreas Koksrud" userId="9d9beba6-c052-407a-8599-c781a677a996" providerId="ADAL" clId="{4C89AD2D-B60A-479F-9F95-9D423A06FAEA}" dt="2024-06-15T12:45:21.444" v="7944" actId="478"/>
          <ac:spMkLst>
            <pc:docMk/>
            <pc:sldMk cId="3805325624" sldId="961"/>
            <ac:spMk id="181" creationId="{00000000-0000-0000-0000-000000000000}"/>
          </ac:spMkLst>
        </pc:spChg>
        <pc:picChg chg="add del mod">
          <ac:chgData name="Andreas Koksrud" userId="9d9beba6-c052-407a-8599-c781a677a996" providerId="ADAL" clId="{4C89AD2D-B60A-479F-9F95-9D423A06FAEA}" dt="2024-06-17T11:36:20.209" v="10878" actId="478"/>
          <ac:picMkLst>
            <pc:docMk/>
            <pc:sldMk cId="3805325624" sldId="961"/>
            <ac:picMk id="3" creationId="{17FEA64C-252A-BD47-0023-84D6B2F572FB}"/>
          </ac:picMkLst>
        </pc:picChg>
        <pc:picChg chg="add mod modCrop">
          <ac:chgData name="Andreas Koksrud" userId="9d9beba6-c052-407a-8599-c781a677a996" providerId="ADAL" clId="{4C89AD2D-B60A-479F-9F95-9D423A06FAEA}" dt="2024-07-26T11:21:53.680" v="30318" actId="1076"/>
          <ac:picMkLst>
            <pc:docMk/>
            <pc:sldMk cId="3805325624" sldId="961"/>
            <ac:picMk id="3" creationId="{7294C548-54FB-1EB5-6AE5-F4FEE0514EE4}"/>
          </ac:picMkLst>
        </pc:picChg>
        <pc:picChg chg="add mod">
          <ac:chgData name="Andreas Koksrud" userId="9d9beba6-c052-407a-8599-c781a677a996" providerId="ADAL" clId="{4C89AD2D-B60A-479F-9F95-9D423A06FAEA}" dt="2024-07-26T11:21:41.699" v="30315" actId="1076"/>
          <ac:picMkLst>
            <pc:docMk/>
            <pc:sldMk cId="3805325624" sldId="961"/>
            <ac:picMk id="6" creationId="{DB6A23B5-33C1-32FC-9D78-89EC9BDAB4D4}"/>
          </ac:picMkLst>
        </pc:picChg>
        <pc:picChg chg="add del mod">
          <ac:chgData name="Andreas Koksrud" userId="9d9beba6-c052-407a-8599-c781a677a996" providerId="ADAL" clId="{4C89AD2D-B60A-479F-9F95-9D423A06FAEA}" dt="2024-06-17T11:36:20.865" v="10879" actId="478"/>
          <ac:picMkLst>
            <pc:docMk/>
            <pc:sldMk cId="3805325624" sldId="961"/>
            <ac:picMk id="7" creationId="{B6756254-E3C5-85CB-BBCB-A31B5CC2D617}"/>
          </ac:picMkLst>
        </pc:picChg>
        <pc:picChg chg="add del mod">
          <ac:chgData name="Andreas Koksrud" userId="9d9beba6-c052-407a-8599-c781a677a996" providerId="ADAL" clId="{4C89AD2D-B60A-479F-9F95-9D423A06FAEA}" dt="2024-07-01T18:24:50.729" v="15862" actId="478"/>
          <ac:picMkLst>
            <pc:docMk/>
            <pc:sldMk cId="3805325624" sldId="961"/>
            <ac:picMk id="9" creationId="{A243345F-FA4F-9837-9E4F-407061CB6E78}"/>
          </ac:picMkLst>
        </pc:picChg>
        <pc:picChg chg="add mod modCrop">
          <ac:chgData name="Andreas Koksrud" userId="9d9beba6-c052-407a-8599-c781a677a996" providerId="ADAL" clId="{4C89AD2D-B60A-479F-9F95-9D423A06FAEA}" dt="2024-07-28T11:12:36.583" v="30615" actId="14826"/>
          <ac:picMkLst>
            <pc:docMk/>
            <pc:sldMk cId="3805325624" sldId="961"/>
            <ac:picMk id="11" creationId="{7788CF72-20F5-BC83-82EA-CE4A2EA5CC1F}"/>
          </ac:picMkLst>
        </pc:picChg>
      </pc:sldChg>
      <pc:sldChg chg="addSp delSp modSp add mod">
        <pc:chgData name="Andreas Koksrud" userId="9d9beba6-c052-407a-8599-c781a677a996" providerId="ADAL" clId="{4C89AD2D-B60A-479F-9F95-9D423A06FAEA}" dt="2024-07-29T08:32:37.307" v="31262" actId="14100"/>
        <pc:sldMkLst>
          <pc:docMk/>
          <pc:sldMk cId="3646121032" sldId="962"/>
        </pc:sldMkLst>
        <pc:spChg chg="add mod">
          <ac:chgData name="Andreas Koksrud" userId="9d9beba6-c052-407a-8599-c781a677a996" providerId="ADAL" clId="{4C89AD2D-B60A-479F-9F95-9D423A06FAEA}" dt="2024-07-28T11:15:44.918" v="30637" actId="14100"/>
          <ac:spMkLst>
            <pc:docMk/>
            <pc:sldMk cId="3646121032" sldId="962"/>
            <ac:spMk id="2" creationId="{7FFEBBB5-F2CA-22B2-3A05-0C0158B06738}"/>
          </ac:spMkLst>
        </pc:spChg>
        <pc:spChg chg="add del mod">
          <ac:chgData name="Andreas Koksrud" userId="9d9beba6-c052-407a-8599-c781a677a996" providerId="ADAL" clId="{4C89AD2D-B60A-479F-9F95-9D423A06FAEA}" dt="2024-07-26T19:29:37.576" v="30342" actId="478"/>
          <ac:spMkLst>
            <pc:docMk/>
            <pc:sldMk cId="3646121032" sldId="962"/>
            <ac:spMk id="7" creationId="{76002B7D-C91E-23BA-0D8D-05E4F9A06FB4}"/>
          </ac:spMkLst>
        </pc:spChg>
        <pc:spChg chg="add mod">
          <ac:chgData name="Andreas Koksrud" userId="9d9beba6-c052-407a-8599-c781a677a996" providerId="ADAL" clId="{4C89AD2D-B60A-479F-9F95-9D423A06FAEA}" dt="2024-07-28T11:15:38.290" v="30635" actId="1036"/>
          <ac:spMkLst>
            <pc:docMk/>
            <pc:sldMk cId="3646121032" sldId="962"/>
            <ac:spMk id="10" creationId="{D891B3C5-BFE6-DABA-4CAF-89294DD5DBF7}"/>
          </ac:spMkLst>
        </pc:spChg>
        <pc:spChg chg="add mod">
          <ac:chgData name="Andreas Koksrud" userId="9d9beba6-c052-407a-8599-c781a677a996" providerId="ADAL" clId="{4C89AD2D-B60A-479F-9F95-9D423A06FAEA}" dt="2024-07-29T08:32:37.307" v="31262" actId="14100"/>
          <ac:spMkLst>
            <pc:docMk/>
            <pc:sldMk cId="3646121032" sldId="962"/>
            <ac:spMk id="11" creationId="{FE117581-C506-B448-2897-31ED75AF39A3}"/>
          </ac:spMkLst>
        </pc:spChg>
        <pc:spChg chg="add mod">
          <ac:chgData name="Andreas Koksrud" userId="9d9beba6-c052-407a-8599-c781a677a996" providerId="ADAL" clId="{4C89AD2D-B60A-479F-9F95-9D423A06FAEA}" dt="2024-07-27T10:59:24.868" v="30389"/>
          <ac:spMkLst>
            <pc:docMk/>
            <pc:sldMk cId="3646121032" sldId="962"/>
            <ac:spMk id="12" creationId="{EA234594-0152-27D2-AE80-D30C7EE91562}"/>
          </ac:spMkLst>
        </pc:spChg>
        <pc:spChg chg="add del mod">
          <ac:chgData name="Andreas Koksrud" userId="9d9beba6-c052-407a-8599-c781a677a996" providerId="ADAL" clId="{4C89AD2D-B60A-479F-9F95-9D423A06FAEA}" dt="2024-07-28T11:15:53.044" v="30638" actId="478"/>
          <ac:spMkLst>
            <pc:docMk/>
            <pc:sldMk cId="3646121032" sldId="962"/>
            <ac:spMk id="13" creationId="{9BB4CDF9-D485-1E40-0546-EB7315ADD745}"/>
          </ac:spMkLst>
        </pc:spChg>
        <pc:picChg chg="add del mod">
          <ac:chgData name="Andreas Koksrud" userId="9d9beba6-c052-407a-8599-c781a677a996" providerId="ADAL" clId="{4C89AD2D-B60A-479F-9F95-9D423A06FAEA}" dt="2024-07-26T11:23:13.702" v="30328" actId="478"/>
          <ac:picMkLst>
            <pc:docMk/>
            <pc:sldMk cId="3646121032" sldId="962"/>
            <ac:picMk id="3" creationId="{0B851662-25E7-2A56-D90F-0B43A8E01BCB}"/>
          </ac:picMkLst>
        </pc:picChg>
        <pc:picChg chg="del">
          <ac:chgData name="Andreas Koksrud" userId="9d9beba6-c052-407a-8599-c781a677a996" providerId="ADAL" clId="{4C89AD2D-B60A-479F-9F95-9D423A06FAEA}" dt="2024-06-15T12:46:39.514" v="7955" actId="478"/>
          <ac:picMkLst>
            <pc:docMk/>
            <pc:sldMk cId="3646121032" sldId="962"/>
            <ac:picMk id="3" creationId="{17FEA64C-252A-BD47-0023-84D6B2F572FB}"/>
          </ac:picMkLst>
        </pc:picChg>
        <pc:picChg chg="add mod ord">
          <ac:chgData name="Andreas Koksrud" userId="9d9beba6-c052-407a-8599-c781a677a996" providerId="ADAL" clId="{4C89AD2D-B60A-479F-9F95-9D423A06FAEA}" dt="2024-07-29T08:32:30.910" v="31260" actId="167"/>
          <ac:picMkLst>
            <pc:docMk/>
            <pc:sldMk cId="3646121032" sldId="962"/>
            <ac:picMk id="6" creationId="{326FC5A4-7235-C73B-1B82-41CB7A993CC2}"/>
          </ac:picMkLst>
        </pc:picChg>
        <pc:picChg chg="add del mod">
          <ac:chgData name="Andreas Koksrud" userId="9d9beba6-c052-407a-8599-c781a677a996" providerId="ADAL" clId="{4C89AD2D-B60A-479F-9F95-9D423A06FAEA}" dt="2024-07-26T11:23:15.984" v="30329" actId="478"/>
          <ac:picMkLst>
            <pc:docMk/>
            <pc:sldMk cId="3646121032" sldId="962"/>
            <ac:picMk id="6" creationId="{C091B1B9-EB67-EFE2-A135-B14C09FF99DD}"/>
          </ac:picMkLst>
        </pc:picChg>
        <pc:picChg chg="del">
          <ac:chgData name="Andreas Koksrud" userId="9d9beba6-c052-407a-8599-c781a677a996" providerId="ADAL" clId="{4C89AD2D-B60A-479F-9F95-9D423A06FAEA}" dt="2024-06-15T12:46:40.065" v="7956" actId="478"/>
          <ac:picMkLst>
            <pc:docMk/>
            <pc:sldMk cId="3646121032" sldId="962"/>
            <ac:picMk id="7" creationId="{B6756254-E3C5-85CB-BBCB-A31B5CC2D617}"/>
          </ac:picMkLst>
        </pc:picChg>
        <pc:picChg chg="add mod ord">
          <ac:chgData name="Andreas Koksrud" userId="9d9beba6-c052-407a-8599-c781a677a996" providerId="ADAL" clId="{4C89AD2D-B60A-479F-9F95-9D423A06FAEA}" dt="2024-07-28T11:15:33.816" v="30627" actId="167"/>
          <ac:picMkLst>
            <pc:docMk/>
            <pc:sldMk cId="3646121032" sldId="962"/>
            <ac:picMk id="8" creationId="{C2EA39C4-4A27-6DF2-E8EE-74CD34F2F71C}"/>
          </ac:picMkLst>
        </pc:picChg>
        <pc:picChg chg="add del mod">
          <ac:chgData name="Andreas Koksrud" userId="9d9beba6-c052-407a-8599-c781a677a996" providerId="ADAL" clId="{4C89AD2D-B60A-479F-9F95-9D423A06FAEA}" dt="2024-07-29T08:32:23.983" v="31257" actId="478"/>
          <ac:picMkLst>
            <pc:docMk/>
            <pc:sldMk cId="3646121032" sldId="962"/>
            <ac:picMk id="9" creationId="{5FE47D63-2765-2C0C-65D0-6D887825D43B}"/>
          </ac:picMkLst>
        </pc:picChg>
      </pc:sldChg>
      <pc:sldChg chg="addSp delSp modSp add mod">
        <pc:chgData name="Andreas Koksrud" userId="9d9beba6-c052-407a-8599-c781a677a996" providerId="ADAL" clId="{4C89AD2D-B60A-479F-9F95-9D423A06FAEA}" dt="2024-07-27T11:00:37.227" v="30420" actId="1076"/>
        <pc:sldMkLst>
          <pc:docMk/>
          <pc:sldMk cId="2529490906" sldId="963"/>
        </pc:sldMkLst>
        <pc:spChg chg="add mod">
          <ac:chgData name="Andreas Koksrud" userId="9d9beba6-c052-407a-8599-c781a677a996" providerId="ADAL" clId="{4C89AD2D-B60A-479F-9F95-9D423A06FAEA}" dt="2024-07-27T11:00:37.227" v="30420" actId="1076"/>
          <ac:spMkLst>
            <pc:docMk/>
            <pc:sldMk cId="2529490906" sldId="963"/>
            <ac:spMk id="2" creationId="{FFA76594-4E07-72CA-3551-3794F7BC1C63}"/>
          </ac:spMkLst>
        </pc:spChg>
        <pc:spChg chg="add mod">
          <ac:chgData name="Andreas Koksrud" userId="9d9beba6-c052-407a-8599-c781a677a996" providerId="ADAL" clId="{4C89AD2D-B60A-479F-9F95-9D423A06FAEA}" dt="2024-07-27T10:59:52.243" v="30394"/>
          <ac:spMkLst>
            <pc:docMk/>
            <pc:sldMk cId="2529490906" sldId="963"/>
            <ac:spMk id="6" creationId="{4848947F-8901-D8DF-CBBB-E1B0A4F1ED40}"/>
          </ac:spMkLst>
        </pc:spChg>
        <pc:picChg chg="add mod">
          <ac:chgData name="Andreas Koksrud" userId="9d9beba6-c052-407a-8599-c781a677a996" providerId="ADAL" clId="{4C89AD2D-B60A-479F-9F95-9D423A06FAEA}" dt="2024-07-27T11:00:37.227" v="30420" actId="1076"/>
          <ac:picMkLst>
            <pc:docMk/>
            <pc:sldMk cId="2529490906" sldId="963"/>
            <ac:picMk id="3" creationId="{E00D6391-184B-5DBB-4FC8-640302E1EA79}"/>
          </ac:picMkLst>
        </pc:picChg>
        <pc:picChg chg="del">
          <ac:chgData name="Andreas Koksrud" userId="9d9beba6-c052-407a-8599-c781a677a996" providerId="ADAL" clId="{4C89AD2D-B60A-479F-9F95-9D423A06FAEA}" dt="2024-06-15T12:47:24.637" v="7962" actId="478"/>
          <ac:picMkLst>
            <pc:docMk/>
            <pc:sldMk cId="2529490906" sldId="963"/>
            <ac:picMk id="6" creationId="{C091B1B9-EB67-EFE2-A135-B14C09FF99DD}"/>
          </ac:picMkLst>
        </pc:picChg>
        <pc:picChg chg="add mod">
          <ac:chgData name="Andreas Koksrud" userId="9d9beba6-c052-407a-8599-c781a677a996" providerId="ADAL" clId="{4C89AD2D-B60A-479F-9F95-9D423A06FAEA}" dt="2024-07-27T11:00:30.668" v="30419" actId="12788"/>
          <ac:picMkLst>
            <pc:docMk/>
            <pc:sldMk cId="2529490906" sldId="963"/>
            <ac:picMk id="8" creationId="{E9A4313E-C033-932B-328E-556A1DA48D40}"/>
          </ac:picMkLst>
        </pc:picChg>
        <pc:picChg chg="del">
          <ac:chgData name="Andreas Koksrud" userId="9d9beba6-c052-407a-8599-c781a677a996" providerId="ADAL" clId="{4C89AD2D-B60A-479F-9F95-9D423A06FAEA}" dt="2024-06-15T12:47:25.247" v="7963" actId="478"/>
          <ac:picMkLst>
            <pc:docMk/>
            <pc:sldMk cId="2529490906" sldId="963"/>
            <ac:picMk id="9" creationId="{5FE47D63-2765-2C0C-65D0-6D887825D43B}"/>
          </ac:picMkLst>
        </pc:picChg>
      </pc:sldChg>
      <pc:sldChg chg="addSp delSp modSp add mod">
        <pc:chgData name="Andreas Koksrud" userId="9d9beba6-c052-407a-8599-c781a677a996" providerId="ADAL" clId="{4C89AD2D-B60A-479F-9F95-9D423A06FAEA}" dt="2024-07-27T11:24:55.206" v="30491"/>
        <pc:sldMkLst>
          <pc:docMk/>
          <pc:sldMk cId="1707712711" sldId="964"/>
        </pc:sldMkLst>
        <pc:spChg chg="add mod">
          <ac:chgData name="Andreas Koksrud" userId="9d9beba6-c052-407a-8599-c781a677a996" providerId="ADAL" clId="{4C89AD2D-B60A-479F-9F95-9D423A06FAEA}" dt="2024-06-17T11:37:46.345" v="10983"/>
          <ac:spMkLst>
            <pc:docMk/>
            <pc:sldMk cId="1707712711" sldId="964"/>
            <ac:spMk id="2" creationId="{5ED842A1-28CA-1457-F546-76D53F658AB1}"/>
          </ac:spMkLst>
        </pc:spChg>
        <pc:spChg chg="add mod">
          <ac:chgData name="Andreas Koksrud" userId="9d9beba6-c052-407a-8599-c781a677a996" providerId="ADAL" clId="{4C89AD2D-B60A-479F-9F95-9D423A06FAEA}" dt="2024-07-26T19:31:41.079" v="30352" actId="14100"/>
          <ac:spMkLst>
            <pc:docMk/>
            <pc:sldMk cId="1707712711" sldId="964"/>
            <ac:spMk id="8" creationId="{B03C8EE1-469F-D8E7-729D-80671FFD6AB9}"/>
          </ac:spMkLst>
        </pc:spChg>
        <pc:spChg chg="add mod">
          <ac:chgData name="Andreas Koksrud" userId="9d9beba6-c052-407a-8599-c781a677a996" providerId="ADAL" clId="{4C89AD2D-B60A-479F-9F95-9D423A06FAEA}" dt="2024-07-27T10:52:45.410" v="30373" actId="14100"/>
          <ac:spMkLst>
            <pc:docMk/>
            <pc:sldMk cId="1707712711" sldId="964"/>
            <ac:spMk id="10" creationId="{465C960E-B05B-DFE9-2174-4B75B3922834}"/>
          </ac:spMkLst>
        </pc:spChg>
        <pc:spChg chg="add mod">
          <ac:chgData name="Andreas Koksrud" userId="9d9beba6-c052-407a-8599-c781a677a996" providerId="ADAL" clId="{4C89AD2D-B60A-479F-9F95-9D423A06FAEA}" dt="2024-07-27T10:55:28.002" v="30375" actId="1076"/>
          <ac:spMkLst>
            <pc:docMk/>
            <pc:sldMk cId="1707712711" sldId="964"/>
            <ac:spMk id="11" creationId="{AD7709AB-603A-0638-066E-1B8BF75AFC6E}"/>
          </ac:spMkLst>
        </pc:spChg>
        <pc:spChg chg="add mod">
          <ac:chgData name="Andreas Koksrud" userId="9d9beba6-c052-407a-8599-c781a677a996" providerId="ADAL" clId="{4C89AD2D-B60A-479F-9F95-9D423A06FAEA}" dt="2024-07-27T11:24:55.206" v="30491"/>
          <ac:spMkLst>
            <pc:docMk/>
            <pc:sldMk cId="1707712711" sldId="964"/>
            <ac:spMk id="12" creationId="{53C8D2C6-988E-FFD4-365B-3C3C2927AF2D}"/>
          </ac:spMkLst>
        </pc:spChg>
        <pc:picChg chg="del">
          <ac:chgData name="Andreas Koksrud" userId="9d9beba6-c052-407a-8599-c781a677a996" providerId="ADAL" clId="{4C89AD2D-B60A-479F-9F95-9D423A06FAEA}" dt="2024-06-15T12:48:05.093" v="7970" actId="478"/>
          <ac:picMkLst>
            <pc:docMk/>
            <pc:sldMk cId="1707712711" sldId="964"/>
            <ac:picMk id="3" creationId="{E00D6391-184B-5DBB-4FC8-640302E1EA79}"/>
          </ac:picMkLst>
        </pc:picChg>
        <pc:picChg chg="add mod">
          <ac:chgData name="Andreas Koksrud" userId="9d9beba6-c052-407a-8599-c781a677a996" providerId="ADAL" clId="{4C89AD2D-B60A-479F-9F95-9D423A06FAEA}" dt="2024-07-26T19:31:33.828" v="30350" actId="1076"/>
          <ac:picMkLst>
            <pc:docMk/>
            <pc:sldMk cId="1707712711" sldId="964"/>
            <ac:picMk id="6" creationId="{FCB7E24D-8A93-D00E-7EEE-DA98DABA9D68}"/>
          </ac:picMkLst>
        </pc:picChg>
        <pc:picChg chg="del">
          <ac:chgData name="Andreas Koksrud" userId="9d9beba6-c052-407a-8599-c781a677a996" providerId="ADAL" clId="{4C89AD2D-B60A-479F-9F95-9D423A06FAEA}" dt="2024-06-15T12:48:05.672" v="7971" actId="478"/>
          <ac:picMkLst>
            <pc:docMk/>
            <pc:sldMk cId="1707712711" sldId="964"/>
            <ac:picMk id="8" creationId="{E9A4313E-C033-932B-328E-556A1DA48D40}"/>
          </ac:picMkLst>
        </pc:picChg>
        <pc:picChg chg="add mod">
          <ac:chgData name="Andreas Koksrud" userId="9d9beba6-c052-407a-8599-c781a677a996" providerId="ADAL" clId="{4C89AD2D-B60A-479F-9F95-9D423A06FAEA}" dt="2024-06-15T12:48:30.025" v="7975" actId="1076"/>
          <ac:picMkLst>
            <pc:docMk/>
            <pc:sldMk cId="1707712711" sldId="964"/>
            <ac:picMk id="9" creationId="{34D0E976-98EB-38FD-5CD1-E5FC3D1F0575}"/>
          </ac:picMkLst>
        </pc:picChg>
        <pc:cxnChg chg="add mod">
          <ac:chgData name="Andreas Koksrud" userId="9d9beba6-c052-407a-8599-c781a677a996" providerId="ADAL" clId="{4C89AD2D-B60A-479F-9F95-9D423A06FAEA}" dt="2024-06-17T11:38:11.896" v="10988" actId="14100"/>
          <ac:cxnSpMkLst>
            <pc:docMk/>
            <pc:sldMk cId="1707712711" sldId="964"/>
            <ac:cxnSpMk id="3" creationId="{FB9D83D5-DE56-1945-E905-F8CD2FF78126}"/>
          </ac:cxnSpMkLst>
        </pc:cxnChg>
        <pc:cxnChg chg="add mod">
          <ac:chgData name="Andreas Koksrud" userId="9d9beba6-c052-407a-8599-c781a677a996" providerId="ADAL" clId="{4C89AD2D-B60A-479F-9F95-9D423A06FAEA}" dt="2024-06-17T11:38:08.037" v="10987" actId="14100"/>
          <ac:cxnSpMkLst>
            <pc:docMk/>
            <pc:sldMk cId="1707712711" sldId="964"/>
            <ac:cxnSpMk id="7" creationId="{9DC1183C-1F1A-601A-CB07-961FBCEDD582}"/>
          </ac:cxnSpMkLst>
        </pc:cxnChg>
      </pc:sldChg>
      <pc:sldChg chg="addSp delSp modSp add mod">
        <pc:chgData name="Andreas Koksrud" userId="9d9beba6-c052-407a-8599-c781a677a996" providerId="ADAL" clId="{4C89AD2D-B60A-479F-9F95-9D423A06FAEA}" dt="2024-07-27T11:24:57.417" v="30493"/>
        <pc:sldMkLst>
          <pc:docMk/>
          <pc:sldMk cId="24496870" sldId="965"/>
        </pc:sldMkLst>
        <pc:spChg chg="add mod">
          <ac:chgData name="Andreas Koksrud" userId="9d9beba6-c052-407a-8599-c781a677a996" providerId="ADAL" clId="{4C89AD2D-B60A-479F-9F95-9D423A06FAEA}" dt="2024-07-27T11:24:22.397" v="30488" actId="14100"/>
          <ac:spMkLst>
            <pc:docMk/>
            <pc:sldMk cId="24496870" sldId="965"/>
            <ac:spMk id="2" creationId="{05753520-ACCD-498B-D8E5-0CE7F22A6270}"/>
          </ac:spMkLst>
        </pc:spChg>
        <pc:spChg chg="add mod">
          <ac:chgData name="Andreas Koksrud" userId="9d9beba6-c052-407a-8599-c781a677a996" providerId="ADAL" clId="{4C89AD2D-B60A-479F-9F95-9D423A06FAEA}" dt="2024-07-27T11:24:29.499" v="30490" actId="14100"/>
          <ac:spMkLst>
            <pc:docMk/>
            <pc:sldMk cId="24496870" sldId="965"/>
            <ac:spMk id="6" creationId="{CD55D0FD-CB7E-B5DC-D323-EC7F34696F2C}"/>
          </ac:spMkLst>
        </pc:spChg>
        <pc:spChg chg="add mod">
          <ac:chgData name="Andreas Koksrud" userId="9d9beba6-c052-407a-8599-c781a677a996" providerId="ADAL" clId="{4C89AD2D-B60A-479F-9F95-9D423A06FAEA}" dt="2024-07-27T11:24:57.417" v="30493"/>
          <ac:spMkLst>
            <pc:docMk/>
            <pc:sldMk cId="24496870" sldId="965"/>
            <ac:spMk id="7" creationId="{B946366C-436D-0D6B-6FF3-804AFEF25D3C}"/>
          </ac:spMkLst>
        </pc:spChg>
        <pc:picChg chg="add mod">
          <ac:chgData name="Andreas Koksrud" userId="9d9beba6-c052-407a-8599-c781a677a996" providerId="ADAL" clId="{4C89AD2D-B60A-479F-9F95-9D423A06FAEA}" dt="2024-06-15T12:48:52.938" v="7980" actId="1076"/>
          <ac:picMkLst>
            <pc:docMk/>
            <pc:sldMk cId="24496870" sldId="965"/>
            <ac:picMk id="3" creationId="{121F7C4F-7BB0-87DF-98AB-1FF1908CA98F}"/>
          </ac:picMkLst>
        </pc:picChg>
        <pc:picChg chg="del">
          <ac:chgData name="Andreas Koksrud" userId="9d9beba6-c052-407a-8599-c781a677a996" providerId="ADAL" clId="{4C89AD2D-B60A-479F-9F95-9D423A06FAEA}" dt="2024-06-15T12:48:35.969" v="7977" actId="478"/>
          <ac:picMkLst>
            <pc:docMk/>
            <pc:sldMk cId="24496870" sldId="965"/>
            <ac:picMk id="6" creationId="{FCB7E24D-8A93-D00E-7EEE-DA98DABA9D68}"/>
          </ac:picMkLst>
        </pc:picChg>
        <pc:picChg chg="add mod">
          <ac:chgData name="Andreas Koksrud" userId="9d9beba6-c052-407a-8599-c781a677a996" providerId="ADAL" clId="{4C89AD2D-B60A-479F-9F95-9D423A06FAEA}" dt="2024-07-27T11:24:17.098" v="30486" actId="1076"/>
          <ac:picMkLst>
            <pc:docMk/>
            <pc:sldMk cId="24496870" sldId="965"/>
            <ac:picMk id="8" creationId="{14ED94B3-9926-53DA-4258-951F426A653A}"/>
          </ac:picMkLst>
        </pc:picChg>
        <pc:picChg chg="del">
          <ac:chgData name="Andreas Koksrud" userId="9d9beba6-c052-407a-8599-c781a677a996" providerId="ADAL" clId="{4C89AD2D-B60A-479F-9F95-9D423A06FAEA}" dt="2024-06-15T12:48:36.594" v="7978" actId="478"/>
          <ac:picMkLst>
            <pc:docMk/>
            <pc:sldMk cId="24496870" sldId="965"/>
            <ac:picMk id="9" creationId="{34D0E976-98EB-38FD-5CD1-E5FC3D1F0575}"/>
          </ac:picMkLst>
        </pc:picChg>
      </pc:sldChg>
      <pc:sldChg chg="addSp delSp modSp add mod">
        <pc:chgData name="Andreas Koksrud" userId="9d9beba6-c052-407a-8599-c781a677a996" providerId="ADAL" clId="{4C89AD2D-B60A-479F-9F95-9D423A06FAEA}" dt="2024-07-31T19:17:13.506" v="31652"/>
        <pc:sldMkLst>
          <pc:docMk/>
          <pc:sldMk cId="2495026824" sldId="966"/>
        </pc:sldMkLst>
        <pc:spChg chg="add mod">
          <ac:chgData name="Andreas Koksrud" userId="9d9beba6-c052-407a-8599-c781a677a996" providerId="ADAL" clId="{4C89AD2D-B60A-479F-9F95-9D423A06FAEA}" dt="2024-07-30T19:27:40.215" v="31650" actId="27636"/>
          <ac:spMkLst>
            <pc:docMk/>
            <pc:sldMk cId="2495026824" sldId="966"/>
            <ac:spMk id="2" creationId="{56CBBD6A-956B-BEA7-6225-FA64D93E5644}"/>
          </ac:spMkLst>
        </pc:spChg>
        <pc:spChg chg="add mod">
          <ac:chgData name="Andreas Koksrud" userId="9d9beba6-c052-407a-8599-c781a677a996" providerId="ADAL" clId="{4C89AD2D-B60A-479F-9F95-9D423A06FAEA}" dt="2024-07-31T19:17:13.506" v="31652"/>
          <ac:spMkLst>
            <pc:docMk/>
            <pc:sldMk cId="2495026824" sldId="966"/>
            <ac:spMk id="3" creationId="{06CD824E-9413-7DC7-ED5E-8441587B9B63}"/>
          </ac:spMkLst>
        </pc:spChg>
        <pc:spChg chg="add mod">
          <ac:chgData name="Andreas Koksrud" userId="9d9beba6-c052-407a-8599-c781a677a996" providerId="ADAL" clId="{4C89AD2D-B60A-479F-9F95-9D423A06FAEA}" dt="2024-06-15T15:49:28.302" v="9346" actId="20577"/>
          <ac:spMkLst>
            <pc:docMk/>
            <pc:sldMk cId="2495026824" sldId="966"/>
            <ac:spMk id="6" creationId="{76DF55EF-4958-0709-B60A-BCEC6F2DED0B}"/>
          </ac:spMkLst>
        </pc:spChg>
        <pc:picChg chg="del">
          <ac:chgData name="Andreas Koksrud" userId="9d9beba6-c052-407a-8599-c781a677a996" providerId="ADAL" clId="{4C89AD2D-B60A-479F-9F95-9D423A06FAEA}" dt="2024-06-15T12:54:30.487" v="7984" actId="478"/>
          <ac:picMkLst>
            <pc:docMk/>
            <pc:sldMk cId="2495026824" sldId="966"/>
            <ac:picMk id="3" creationId="{121F7C4F-7BB0-87DF-98AB-1FF1908CA98F}"/>
          </ac:picMkLst>
        </pc:picChg>
        <pc:picChg chg="del">
          <ac:chgData name="Andreas Koksrud" userId="9d9beba6-c052-407a-8599-c781a677a996" providerId="ADAL" clId="{4C89AD2D-B60A-479F-9F95-9D423A06FAEA}" dt="2024-06-15T12:54:31.074" v="7985" actId="478"/>
          <ac:picMkLst>
            <pc:docMk/>
            <pc:sldMk cId="2495026824" sldId="966"/>
            <ac:picMk id="8" creationId="{14ED94B3-9926-53DA-4258-951F426A653A}"/>
          </ac:picMkLst>
        </pc:picChg>
        <pc:picChg chg="add mod modCrop">
          <ac:chgData name="Andreas Koksrud" userId="9d9beba6-c052-407a-8599-c781a677a996" providerId="ADAL" clId="{4C89AD2D-B60A-479F-9F95-9D423A06FAEA}" dt="2024-06-16T14:13:12.679" v="10266" actId="1036"/>
          <ac:picMkLst>
            <pc:docMk/>
            <pc:sldMk cId="2495026824" sldId="966"/>
            <ac:picMk id="11" creationId="{DFE9FAC9-F721-4AFE-94F0-8CEEAB5D3F44}"/>
          </ac:picMkLst>
        </pc:picChg>
        <pc:cxnChg chg="add mod">
          <ac:chgData name="Andreas Koksrud" userId="9d9beba6-c052-407a-8599-c781a677a996" providerId="ADAL" clId="{4C89AD2D-B60A-479F-9F95-9D423A06FAEA}" dt="2024-06-16T14:13:18.528" v="10267" actId="14100"/>
          <ac:cxnSpMkLst>
            <pc:docMk/>
            <pc:sldMk cId="2495026824" sldId="966"/>
            <ac:cxnSpMk id="7" creationId="{FB9A6071-9560-9020-2633-8A834369006B}"/>
          </ac:cxnSpMkLst>
        </pc:cxnChg>
      </pc:sldChg>
      <pc:sldChg chg="addSp delSp modSp add mod ord">
        <pc:chgData name="Andreas Koksrud" userId="9d9beba6-c052-407a-8599-c781a677a996" providerId="ADAL" clId="{4C89AD2D-B60A-479F-9F95-9D423A06FAEA}" dt="2024-07-29T08:37:10.579" v="31266" actId="1076"/>
        <pc:sldMkLst>
          <pc:docMk/>
          <pc:sldMk cId="3285689553" sldId="967"/>
        </pc:sldMkLst>
        <pc:spChg chg="del">
          <ac:chgData name="Andreas Koksrud" userId="9d9beba6-c052-407a-8599-c781a677a996" providerId="ADAL" clId="{4C89AD2D-B60A-479F-9F95-9D423A06FAEA}" dt="2024-06-15T15:42:11.009" v="9021" actId="478"/>
          <ac:spMkLst>
            <pc:docMk/>
            <pc:sldMk cId="3285689553" sldId="967"/>
            <ac:spMk id="2" creationId="{56CBBD6A-956B-BEA7-6225-FA64D93E5644}"/>
          </ac:spMkLst>
        </pc:spChg>
        <pc:spChg chg="add del mod">
          <ac:chgData name="Andreas Koksrud" userId="9d9beba6-c052-407a-8599-c781a677a996" providerId="ADAL" clId="{4C89AD2D-B60A-479F-9F95-9D423A06FAEA}" dt="2024-06-15T15:42:12.671" v="9022" actId="478"/>
          <ac:spMkLst>
            <pc:docMk/>
            <pc:sldMk cId="3285689553" sldId="967"/>
            <ac:spMk id="6" creationId="{98E46DFA-32A6-9FFE-9B7D-BE3513ACD029}"/>
          </ac:spMkLst>
        </pc:spChg>
        <pc:spChg chg="add mod">
          <ac:chgData name="Andreas Koksrud" userId="9d9beba6-c052-407a-8599-c781a677a996" providerId="ADAL" clId="{4C89AD2D-B60A-479F-9F95-9D423A06FAEA}" dt="2024-07-27T11:25:04.759" v="30500" actId="20577"/>
          <ac:spMkLst>
            <pc:docMk/>
            <pc:sldMk cId="3285689553" sldId="967"/>
            <ac:spMk id="6" creationId="{FF73203B-FD2F-D819-13EF-BEB0D189D1B0}"/>
          </ac:spMkLst>
        </pc:spChg>
        <pc:spChg chg="add mod">
          <ac:chgData name="Andreas Koksrud" userId="9d9beba6-c052-407a-8599-c781a677a996" providerId="ADAL" clId="{4C89AD2D-B60A-479F-9F95-9D423A06FAEA}" dt="2024-07-28T11:27:51.350" v="30834" actId="14100"/>
          <ac:spMkLst>
            <pc:docMk/>
            <pc:sldMk cId="3285689553" sldId="967"/>
            <ac:spMk id="7" creationId="{FDA66A13-139E-E345-2026-A4A7199BE78F}"/>
          </ac:spMkLst>
        </pc:spChg>
        <pc:spChg chg="add del mod">
          <ac:chgData name="Andreas Koksrud" userId="9d9beba6-c052-407a-8599-c781a677a996" providerId="ADAL" clId="{4C89AD2D-B60A-479F-9F95-9D423A06FAEA}" dt="2024-07-28T11:27:20.338" v="30713" actId="478"/>
          <ac:spMkLst>
            <pc:docMk/>
            <pc:sldMk cId="3285689553" sldId="967"/>
            <ac:spMk id="9" creationId="{988041AE-3F3C-E4F5-E455-C86036FD2C66}"/>
          </ac:spMkLst>
        </pc:spChg>
        <pc:picChg chg="add mod">
          <ac:chgData name="Andreas Koksrud" userId="9d9beba6-c052-407a-8599-c781a677a996" providerId="ADAL" clId="{4C89AD2D-B60A-479F-9F95-9D423A06FAEA}" dt="2024-07-27T10:59:12.399" v="30388" actId="1076"/>
          <ac:picMkLst>
            <pc:docMk/>
            <pc:sldMk cId="3285689553" sldId="967"/>
            <ac:picMk id="3" creationId="{C5665B41-37A0-461F-4FD9-2E66581AA419}"/>
          </ac:picMkLst>
        </pc:picChg>
        <pc:picChg chg="add del mod">
          <ac:chgData name="Andreas Koksrud" userId="9d9beba6-c052-407a-8599-c781a677a996" providerId="ADAL" clId="{4C89AD2D-B60A-479F-9F95-9D423A06FAEA}" dt="2024-07-28T11:27:54.603" v="30836" actId="478"/>
          <ac:picMkLst>
            <pc:docMk/>
            <pc:sldMk cId="3285689553" sldId="967"/>
            <ac:picMk id="8" creationId="{188869F3-860E-E9BD-DA66-512A1C1C0DC7}"/>
          </ac:picMkLst>
        </pc:picChg>
        <pc:picChg chg="add mod">
          <ac:chgData name="Andreas Koksrud" userId="9d9beba6-c052-407a-8599-c781a677a996" providerId="ADAL" clId="{4C89AD2D-B60A-479F-9F95-9D423A06FAEA}" dt="2024-07-28T11:18:40.782" v="30679" actId="1076"/>
          <ac:picMkLst>
            <pc:docMk/>
            <pc:sldMk cId="3285689553" sldId="967"/>
            <ac:picMk id="10" creationId="{473DAECA-52B8-8A93-1F9F-AAC4E488A061}"/>
          </ac:picMkLst>
        </pc:picChg>
        <pc:picChg chg="add del mod modCrop">
          <ac:chgData name="Andreas Koksrud" userId="9d9beba6-c052-407a-8599-c781a677a996" providerId="ADAL" clId="{4C89AD2D-B60A-479F-9F95-9D423A06FAEA}" dt="2024-07-29T08:37:06.912" v="31264" actId="478"/>
          <ac:picMkLst>
            <pc:docMk/>
            <pc:sldMk cId="3285689553" sldId="967"/>
            <ac:picMk id="12" creationId="{8FD9265F-6B93-F9D1-0E9B-ED00A768816B}"/>
          </ac:picMkLst>
        </pc:picChg>
        <pc:picChg chg="add mod">
          <ac:chgData name="Andreas Koksrud" userId="9d9beba6-c052-407a-8599-c781a677a996" providerId="ADAL" clId="{4C89AD2D-B60A-479F-9F95-9D423A06FAEA}" dt="2024-07-29T08:37:10.579" v="31266" actId="1076"/>
          <ac:picMkLst>
            <pc:docMk/>
            <pc:sldMk cId="3285689553" sldId="967"/>
            <ac:picMk id="14" creationId="{38C8D5D4-1D0F-3FC2-7AAF-5F90A638487B}"/>
          </ac:picMkLst>
        </pc:picChg>
      </pc:sldChg>
      <pc:sldChg chg="addSp delSp modSp add mod">
        <pc:chgData name="Andreas Koksrud" userId="9d9beba6-c052-407a-8599-c781a677a996" providerId="ADAL" clId="{4C89AD2D-B60A-479F-9F95-9D423A06FAEA}" dt="2024-07-29T08:31:04.889" v="31254" actId="478"/>
        <pc:sldMkLst>
          <pc:docMk/>
          <pc:sldMk cId="211427936" sldId="968"/>
        </pc:sldMkLst>
        <pc:spChg chg="add del mod">
          <ac:chgData name="Andreas Koksrud" userId="9d9beba6-c052-407a-8599-c781a677a996" providerId="ADAL" clId="{4C89AD2D-B60A-479F-9F95-9D423A06FAEA}" dt="2024-07-29T08:31:02.468" v="31252" actId="478"/>
          <ac:spMkLst>
            <pc:docMk/>
            <pc:sldMk cId="211427936" sldId="968"/>
            <ac:spMk id="2" creationId="{2CDFDA9C-F243-4177-F316-D014B8E8A304}"/>
          </ac:spMkLst>
        </pc:spChg>
        <pc:spChg chg="add mod">
          <ac:chgData name="Andreas Koksrud" userId="9d9beba6-c052-407a-8599-c781a677a996" providerId="ADAL" clId="{4C89AD2D-B60A-479F-9F95-9D423A06FAEA}" dt="2024-07-28T11:33:54.637" v="31235" actId="1036"/>
          <ac:spMkLst>
            <pc:docMk/>
            <pc:sldMk cId="211427936" sldId="968"/>
            <ac:spMk id="6" creationId="{F2D609AB-7FE2-8731-C176-CD48B5721671}"/>
          </ac:spMkLst>
        </pc:spChg>
        <pc:spChg chg="add mod">
          <ac:chgData name="Andreas Koksrud" userId="9d9beba6-c052-407a-8599-c781a677a996" providerId="ADAL" clId="{4C89AD2D-B60A-479F-9F95-9D423A06FAEA}" dt="2024-07-28T11:33:48.539" v="31229" actId="1036"/>
          <ac:spMkLst>
            <pc:docMk/>
            <pc:sldMk cId="211427936" sldId="968"/>
            <ac:spMk id="7" creationId="{F13593B3-6C6E-0B7F-E702-BFB256410B97}"/>
          </ac:spMkLst>
        </pc:spChg>
        <pc:spChg chg="add mod">
          <ac:chgData name="Andreas Koksrud" userId="9d9beba6-c052-407a-8599-c781a677a996" providerId="ADAL" clId="{4C89AD2D-B60A-479F-9F95-9D423A06FAEA}" dt="2024-07-27T11:24:56.404" v="30492"/>
          <ac:spMkLst>
            <pc:docMk/>
            <pc:sldMk cId="211427936" sldId="968"/>
            <ac:spMk id="9" creationId="{2A737BA2-C47A-D88E-59DF-BFBB76AA489C}"/>
          </ac:spMkLst>
        </pc:spChg>
        <pc:spChg chg="add del mod">
          <ac:chgData name="Andreas Koksrud" userId="9d9beba6-c052-407a-8599-c781a677a996" providerId="ADAL" clId="{4C89AD2D-B60A-479F-9F95-9D423A06FAEA}" dt="2024-07-28T11:34:53.120" v="31247" actId="478"/>
          <ac:spMkLst>
            <pc:docMk/>
            <pc:sldMk cId="211427936" sldId="968"/>
            <ac:spMk id="16" creationId="{743F94DF-3005-3E86-881C-B4E75F776183}"/>
          </ac:spMkLst>
        </pc:spChg>
        <pc:spChg chg="add mod">
          <ac:chgData name="Andreas Koksrud" userId="9d9beba6-c052-407a-8599-c781a677a996" providerId="ADAL" clId="{4C89AD2D-B60A-479F-9F95-9D423A06FAEA}" dt="2024-07-28T11:34:19.872" v="31239" actId="14100"/>
          <ac:spMkLst>
            <pc:docMk/>
            <pc:sldMk cId="211427936" sldId="968"/>
            <ac:spMk id="19" creationId="{2D0F35EB-6D2B-5015-680B-6A57F51A6656}"/>
          </ac:spMkLst>
        </pc:spChg>
        <pc:spChg chg="add mod">
          <ac:chgData name="Andreas Koksrud" userId="9d9beba6-c052-407a-8599-c781a677a996" providerId="ADAL" clId="{4C89AD2D-B60A-479F-9F95-9D423A06FAEA}" dt="2024-07-28T11:34:28.254" v="31241" actId="14100"/>
          <ac:spMkLst>
            <pc:docMk/>
            <pc:sldMk cId="211427936" sldId="968"/>
            <ac:spMk id="20" creationId="{0E37C6D1-53FE-3554-7FAF-07706EDD5E38}"/>
          </ac:spMkLst>
        </pc:spChg>
        <pc:spChg chg="add mod">
          <ac:chgData name="Andreas Koksrud" userId="9d9beba6-c052-407a-8599-c781a677a996" providerId="ADAL" clId="{4C89AD2D-B60A-479F-9F95-9D423A06FAEA}" dt="2024-07-28T11:34:40.208" v="31244" actId="571"/>
          <ac:spMkLst>
            <pc:docMk/>
            <pc:sldMk cId="211427936" sldId="968"/>
            <ac:spMk id="21" creationId="{932A36DF-7A02-B7E7-F13F-6C1930689726}"/>
          </ac:spMkLst>
        </pc:spChg>
        <pc:spChg chg="add mod">
          <ac:chgData name="Andreas Koksrud" userId="9d9beba6-c052-407a-8599-c781a677a996" providerId="ADAL" clId="{4C89AD2D-B60A-479F-9F95-9D423A06FAEA}" dt="2024-07-28T11:34:50.077" v="31246" actId="571"/>
          <ac:spMkLst>
            <pc:docMk/>
            <pc:sldMk cId="211427936" sldId="968"/>
            <ac:spMk id="23" creationId="{C38E03B6-BAAC-192D-99FD-1808BB9CCFBB}"/>
          </ac:spMkLst>
        </pc:spChg>
        <pc:picChg chg="add mod ord">
          <ac:chgData name="Andreas Koksrud" userId="9d9beba6-c052-407a-8599-c781a677a996" providerId="ADAL" clId="{4C89AD2D-B60A-479F-9F95-9D423A06FAEA}" dt="2024-07-28T11:33:52.147" v="31230" actId="167"/>
          <ac:picMkLst>
            <pc:docMk/>
            <pc:sldMk cId="211427936" sldId="968"/>
            <ac:picMk id="3" creationId="{8DF5F626-2C72-10ED-6F7E-FFF4B13C1AAE}"/>
          </ac:picMkLst>
        </pc:picChg>
        <pc:picChg chg="del">
          <ac:chgData name="Andreas Koksrud" userId="9d9beba6-c052-407a-8599-c781a677a996" providerId="ADAL" clId="{4C89AD2D-B60A-479F-9F95-9D423A06FAEA}" dt="2024-06-16T13:37:47.892" v="10000" actId="478"/>
          <ac:picMkLst>
            <pc:docMk/>
            <pc:sldMk cId="211427936" sldId="968"/>
            <ac:picMk id="6" creationId="{FCB7E24D-8A93-D00E-7EEE-DA98DABA9D68}"/>
          </ac:picMkLst>
        </pc:picChg>
        <pc:picChg chg="add mod ord">
          <ac:chgData name="Andreas Koksrud" userId="9d9beba6-c052-407a-8599-c781a677a996" providerId="ADAL" clId="{4C89AD2D-B60A-479F-9F95-9D423A06FAEA}" dt="2024-07-28T11:34:33.013" v="31243" actId="1076"/>
          <ac:picMkLst>
            <pc:docMk/>
            <pc:sldMk cId="211427936" sldId="968"/>
            <ac:picMk id="8" creationId="{E1B9A7A5-33A3-60B4-00B0-0181396A3522}"/>
          </ac:picMkLst>
        </pc:picChg>
        <pc:picChg chg="del">
          <ac:chgData name="Andreas Koksrud" userId="9d9beba6-c052-407a-8599-c781a677a996" providerId="ADAL" clId="{4C89AD2D-B60A-479F-9F95-9D423A06FAEA}" dt="2024-06-16T13:37:47.239" v="9999" actId="478"/>
          <ac:picMkLst>
            <pc:docMk/>
            <pc:sldMk cId="211427936" sldId="968"/>
            <ac:picMk id="9" creationId="{34D0E976-98EB-38FD-5CD1-E5FC3D1F0575}"/>
          </ac:picMkLst>
        </pc:picChg>
        <pc:picChg chg="add del mod">
          <ac:chgData name="Andreas Koksrud" userId="9d9beba6-c052-407a-8599-c781a677a996" providerId="ADAL" clId="{4C89AD2D-B60A-479F-9F95-9D423A06FAEA}" dt="2024-07-28T11:33:44.851" v="31225" actId="478"/>
          <ac:picMkLst>
            <pc:docMk/>
            <pc:sldMk cId="211427936" sldId="968"/>
            <ac:picMk id="13" creationId="{6E086C01-A361-84DA-D775-DB388589066F}"/>
          </ac:picMkLst>
        </pc:picChg>
        <pc:picChg chg="add del mod">
          <ac:chgData name="Andreas Koksrud" userId="9d9beba6-c052-407a-8599-c781a677a996" providerId="ADAL" clId="{4C89AD2D-B60A-479F-9F95-9D423A06FAEA}" dt="2024-07-28T11:33:44.156" v="31224" actId="478"/>
          <ac:picMkLst>
            <pc:docMk/>
            <pc:sldMk cId="211427936" sldId="968"/>
            <ac:picMk id="15" creationId="{EA93A30B-D0D3-8B2B-54DA-49EAF120870D}"/>
          </ac:picMkLst>
        </pc:picChg>
        <pc:cxnChg chg="add del mod">
          <ac:chgData name="Andreas Koksrud" userId="9d9beba6-c052-407a-8599-c781a677a996" providerId="ADAL" clId="{4C89AD2D-B60A-479F-9F95-9D423A06FAEA}" dt="2024-07-29T08:31:03.364" v="31253" actId="478"/>
          <ac:cxnSpMkLst>
            <pc:docMk/>
            <pc:sldMk cId="211427936" sldId="968"/>
            <ac:cxnSpMk id="10" creationId="{DE85F7B7-C7A0-F819-91CE-85857D9E1528}"/>
          </ac:cxnSpMkLst>
        </pc:cxnChg>
        <pc:cxnChg chg="add del mod">
          <ac:chgData name="Andreas Koksrud" userId="9d9beba6-c052-407a-8599-c781a677a996" providerId="ADAL" clId="{4C89AD2D-B60A-479F-9F95-9D423A06FAEA}" dt="2024-07-29T08:31:04.889" v="31254" actId="478"/>
          <ac:cxnSpMkLst>
            <pc:docMk/>
            <pc:sldMk cId="211427936" sldId="968"/>
            <ac:cxnSpMk id="12" creationId="{1CD3A305-EC52-40C3-CF87-C8F97B347197}"/>
          </ac:cxnSpMkLst>
        </pc:cxnChg>
      </pc:sldChg>
      <pc:sldChg chg="addSp delSp modSp add del mod">
        <pc:chgData name="Andreas Koksrud" userId="9d9beba6-c052-407a-8599-c781a677a996" providerId="ADAL" clId="{4C89AD2D-B60A-479F-9F95-9D423A06FAEA}" dt="2024-07-26T11:22:38.764" v="30327" actId="47"/>
        <pc:sldMkLst>
          <pc:docMk/>
          <pc:sldMk cId="4199983153" sldId="969"/>
        </pc:sldMkLst>
        <pc:spChg chg="add del mod">
          <ac:chgData name="Andreas Koksrud" userId="9d9beba6-c052-407a-8599-c781a677a996" providerId="ADAL" clId="{4C89AD2D-B60A-479F-9F95-9D423A06FAEA}" dt="2024-07-25T22:26:36.788" v="30303" actId="478"/>
          <ac:spMkLst>
            <pc:docMk/>
            <pc:sldMk cId="4199983153" sldId="969"/>
            <ac:spMk id="6" creationId="{4523ABDE-B19B-C08F-B395-53879018DB14}"/>
          </ac:spMkLst>
        </pc:spChg>
        <pc:picChg chg="add mod">
          <ac:chgData name="Andreas Koksrud" userId="9d9beba6-c052-407a-8599-c781a677a996" providerId="ADAL" clId="{4C89AD2D-B60A-479F-9F95-9D423A06FAEA}" dt="2024-07-19T20:19:13.867" v="26013"/>
          <ac:picMkLst>
            <pc:docMk/>
            <pc:sldMk cId="4199983153" sldId="969"/>
            <ac:picMk id="2" creationId="{BB6A3314-2C2D-2C3F-71B2-E717C21E2326}"/>
          </ac:picMkLst>
        </pc:picChg>
      </pc:sldChg>
      <pc:sldChg chg="addSp delSp modSp add mod">
        <pc:chgData name="Andreas Koksrud" userId="9d9beba6-c052-407a-8599-c781a677a996" providerId="ADAL" clId="{4C89AD2D-B60A-479F-9F95-9D423A06FAEA}" dt="2024-07-20T19:00:50.728" v="26140" actId="6549"/>
        <pc:sldMkLst>
          <pc:docMk/>
          <pc:sldMk cId="1310829930" sldId="970"/>
        </pc:sldMkLst>
        <pc:spChg chg="add mod">
          <ac:chgData name="Andreas Koksrud" userId="9d9beba6-c052-407a-8599-c781a677a996" providerId="ADAL" clId="{4C89AD2D-B60A-479F-9F95-9D423A06FAEA}" dt="2024-07-20T19:00:50.728" v="26140" actId="6549"/>
          <ac:spMkLst>
            <pc:docMk/>
            <pc:sldMk cId="1310829930" sldId="970"/>
            <ac:spMk id="4" creationId="{845B3FF3-F67D-1657-26DA-E47D58C6F45F}"/>
          </ac:spMkLst>
        </pc:spChg>
        <pc:spChg chg="add del mod">
          <ac:chgData name="Andreas Koksrud" userId="9d9beba6-c052-407a-8599-c781a677a996" providerId="ADAL" clId="{4C89AD2D-B60A-479F-9F95-9D423A06FAEA}" dt="2024-07-01T18:30:16.962" v="15961" actId="478"/>
          <ac:spMkLst>
            <pc:docMk/>
            <pc:sldMk cId="1310829930" sldId="970"/>
            <ac:spMk id="17" creationId="{EDAE2F1A-CB69-122A-8412-357A81C0F3E4}"/>
          </ac:spMkLst>
        </pc:spChg>
        <pc:spChg chg="add mod">
          <ac:chgData name="Andreas Koksrud" userId="9d9beba6-c052-407a-8599-c781a677a996" providerId="ADAL" clId="{4C89AD2D-B60A-479F-9F95-9D423A06FAEA}" dt="2024-06-22T19:48:54.761" v="11522" actId="207"/>
          <ac:spMkLst>
            <pc:docMk/>
            <pc:sldMk cId="1310829930" sldId="970"/>
            <ac:spMk id="22" creationId="{BAAC0D3C-29BC-6D26-91CD-5BF465D7AD97}"/>
          </ac:spMkLst>
        </pc:spChg>
        <pc:spChg chg="mod">
          <ac:chgData name="Andreas Koksrud" userId="9d9beba6-c052-407a-8599-c781a677a996" providerId="ADAL" clId="{4C89AD2D-B60A-479F-9F95-9D423A06FAEA}" dt="2024-06-22T19:36:56.763" v="11441" actId="20577"/>
          <ac:spMkLst>
            <pc:docMk/>
            <pc:sldMk cId="1310829930" sldId="970"/>
            <ac:spMk id="180" creationId="{1891DE32-0AB5-A3C5-52E7-3A8D7DDA4683}"/>
          </ac:spMkLst>
        </pc:spChg>
        <pc:picChg chg="del">
          <ac:chgData name="Andreas Koksrud" userId="9d9beba6-c052-407a-8599-c781a677a996" providerId="ADAL" clId="{4C89AD2D-B60A-479F-9F95-9D423A06FAEA}" dt="2024-06-22T19:37:00.464" v="11442" actId="478"/>
          <ac:picMkLst>
            <pc:docMk/>
            <pc:sldMk cId="1310829930" sldId="970"/>
            <ac:picMk id="5" creationId="{F8A115C8-868B-5A69-F64C-E43508F21DE1}"/>
          </ac:picMkLst>
        </pc:picChg>
        <pc:picChg chg="add mod">
          <ac:chgData name="Andreas Koksrud" userId="9d9beba6-c052-407a-8599-c781a677a996" providerId="ADAL" clId="{4C89AD2D-B60A-479F-9F95-9D423A06FAEA}" dt="2024-06-22T19:39:49.192" v="11450" actId="14100"/>
          <ac:picMkLst>
            <pc:docMk/>
            <pc:sldMk cId="1310829930" sldId="970"/>
            <ac:picMk id="6" creationId="{6B37C0EF-EF3C-04EE-4B05-5DF774AB1FF5}"/>
          </ac:picMkLst>
        </pc:picChg>
        <pc:picChg chg="del">
          <ac:chgData name="Andreas Koksrud" userId="9d9beba6-c052-407a-8599-c781a677a996" providerId="ADAL" clId="{4C89AD2D-B60A-479F-9F95-9D423A06FAEA}" dt="2024-06-22T19:37:01.984" v="11443" actId="478"/>
          <ac:picMkLst>
            <pc:docMk/>
            <pc:sldMk cId="1310829930" sldId="970"/>
            <ac:picMk id="7" creationId="{7ADF71EA-625D-7040-37AE-E07C58C09CEE}"/>
          </ac:picMkLst>
        </pc:picChg>
        <pc:picChg chg="del">
          <ac:chgData name="Andreas Koksrud" userId="9d9beba6-c052-407a-8599-c781a677a996" providerId="ADAL" clId="{4C89AD2D-B60A-479F-9F95-9D423A06FAEA}" dt="2024-06-22T19:37:02.755" v="11444" actId="478"/>
          <ac:picMkLst>
            <pc:docMk/>
            <pc:sldMk cId="1310829930" sldId="970"/>
            <ac:picMk id="9" creationId="{2EED6B9C-9E23-12C8-0E73-94257CA5C5A0}"/>
          </ac:picMkLst>
        </pc:picChg>
        <pc:picChg chg="add mod">
          <ac:chgData name="Andreas Koksrud" userId="9d9beba6-c052-407a-8599-c781a677a996" providerId="ADAL" clId="{4C89AD2D-B60A-479F-9F95-9D423A06FAEA}" dt="2024-06-22T19:39:46.881" v="11449" actId="14100"/>
          <ac:picMkLst>
            <pc:docMk/>
            <pc:sldMk cId="1310829930" sldId="970"/>
            <ac:picMk id="10" creationId="{B3BDA3A7-4C1A-E4EB-3B86-6FEF83547FFC}"/>
          </ac:picMkLst>
        </pc:picChg>
        <pc:picChg chg="add mod">
          <ac:chgData name="Andreas Koksrud" userId="9d9beba6-c052-407a-8599-c781a677a996" providerId="ADAL" clId="{4C89AD2D-B60A-479F-9F95-9D423A06FAEA}" dt="2024-06-22T19:47:35.271" v="11513" actId="1076"/>
          <ac:picMkLst>
            <pc:docMk/>
            <pc:sldMk cId="1310829930" sldId="970"/>
            <ac:picMk id="19" creationId="{E0DCE25A-C310-E786-19F5-02344C6DC920}"/>
          </ac:picMkLst>
        </pc:picChg>
        <pc:picChg chg="add mod modCrop">
          <ac:chgData name="Andreas Koksrud" userId="9d9beba6-c052-407a-8599-c781a677a996" providerId="ADAL" clId="{4C89AD2D-B60A-479F-9F95-9D423A06FAEA}" dt="2024-06-22T19:48:27.761" v="11519" actId="1076"/>
          <ac:picMkLst>
            <pc:docMk/>
            <pc:sldMk cId="1310829930" sldId="970"/>
            <ac:picMk id="21" creationId="{C768D469-190C-89EC-2C1D-1171E9FCE25C}"/>
          </ac:picMkLst>
        </pc:picChg>
        <pc:cxnChg chg="add mod">
          <ac:chgData name="Andreas Koksrud" userId="9d9beba6-c052-407a-8599-c781a677a996" providerId="ADAL" clId="{4C89AD2D-B60A-479F-9F95-9D423A06FAEA}" dt="2024-06-22T19:40:02.072" v="11453" actId="14100"/>
          <ac:cxnSpMkLst>
            <pc:docMk/>
            <pc:sldMk cId="1310829930" sldId="970"/>
            <ac:cxnSpMk id="11" creationId="{90CC9BD9-543D-C5DD-FF04-3093A243D69B}"/>
          </ac:cxnSpMkLst>
        </pc:cxnChg>
        <pc:cxnChg chg="add mod">
          <ac:chgData name="Andreas Koksrud" userId="9d9beba6-c052-407a-8599-c781a677a996" providerId="ADAL" clId="{4C89AD2D-B60A-479F-9F95-9D423A06FAEA}" dt="2024-06-22T19:40:14.245" v="11457" actId="14100"/>
          <ac:cxnSpMkLst>
            <pc:docMk/>
            <pc:sldMk cId="1310829930" sldId="970"/>
            <ac:cxnSpMk id="13" creationId="{8327EECB-AE95-6FAD-62B4-3E7D42CFBD43}"/>
          </ac:cxnSpMkLst>
        </pc:cxnChg>
        <pc:cxnChg chg="add mod">
          <ac:chgData name="Andreas Koksrud" userId="9d9beba6-c052-407a-8599-c781a677a996" providerId="ADAL" clId="{4C89AD2D-B60A-479F-9F95-9D423A06FAEA}" dt="2024-06-22T19:49:23.150" v="11527" actId="14100"/>
          <ac:cxnSpMkLst>
            <pc:docMk/>
            <pc:sldMk cId="1310829930" sldId="970"/>
            <ac:cxnSpMk id="23" creationId="{FB00F752-4816-F1AE-20ED-E698CE49FF4F}"/>
          </ac:cxnSpMkLst>
        </pc:cxnChg>
      </pc:sldChg>
      <pc:sldChg chg="addSp delSp modSp add mod">
        <pc:chgData name="Andreas Koksrud" userId="9d9beba6-c052-407a-8599-c781a677a996" providerId="ADAL" clId="{4C89AD2D-B60A-479F-9F95-9D423A06FAEA}" dt="2024-08-01T09:17:38.657" v="34654" actId="1076"/>
        <pc:sldMkLst>
          <pc:docMk/>
          <pc:sldMk cId="2305951208" sldId="971"/>
        </pc:sldMkLst>
        <pc:spChg chg="add mod">
          <ac:chgData name="Andreas Koksrud" userId="9d9beba6-c052-407a-8599-c781a677a996" providerId="ADAL" clId="{4C89AD2D-B60A-479F-9F95-9D423A06FAEA}" dt="2024-08-01T09:13:22.861" v="34520" actId="207"/>
          <ac:spMkLst>
            <pc:docMk/>
            <pc:sldMk cId="2305951208" sldId="971"/>
            <ac:spMk id="11" creationId="{300E147C-2030-BFD9-7F12-184D132BFA01}"/>
          </ac:spMkLst>
        </pc:spChg>
        <pc:spChg chg="mod">
          <ac:chgData name="Andreas Koksrud" userId="9d9beba6-c052-407a-8599-c781a677a996" providerId="ADAL" clId="{4C89AD2D-B60A-479F-9F95-9D423A06FAEA}" dt="2024-08-01T08:58:39.316" v="34399" actId="20577"/>
          <ac:spMkLst>
            <pc:docMk/>
            <pc:sldMk cId="2305951208" sldId="971"/>
            <ac:spMk id="180" creationId="{00000000-0000-0000-0000-000000000000}"/>
          </ac:spMkLst>
        </pc:spChg>
        <pc:spChg chg="mod">
          <ac:chgData name="Andreas Koksrud" userId="9d9beba6-c052-407a-8599-c781a677a996" providerId="ADAL" clId="{4C89AD2D-B60A-479F-9F95-9D423A06FAEA}" dt="2024-08-01T09:16:10.339" v="34649" actId="6549"/>
          <ac:spMkLst>
            <pc:docMk/>
            <pc:sldMk cId="2305951208" sldId="971"/>
            <ac:spMk id="181" creationId="{00000000-0000-0000-0000-000000000000}"/>
          </ac:spMkLst>
        </pc:spChg>
        <pc:picChg chg="add mod modCrop">
          <ac:chgData name="Andreas Koksrud" userId="9d9beba6-c052-407a-8599-c781a677a996" providerId="ADAL" clId="{4C89AD2D-B60A-479F-9F95-9D423A06FAEA}" dt="2024-08-01T09:01:19.578" v="34420" actId="732"/>
          <ac:picMkLst>
            <pc:docMk/>
            <pc:sldMk cId="2305951208" sldId="971"/>
            <ac:picMk id="3" creationId="{198C04C1-8E93-4B23-AA79-819BF6410C4F}"/>
          </ac:picMkLst>
        </pc:picChg>
        <pc:picChg chg="del">
          <ac:chgData name="Andreas Koksrud" userId="9d9beba6-c052-407a-8599-c781a677a996" providerId="ADAL" clId="{4C89AD2D-B60A-479F-9F95-9D423A06FAEA}" dt="2024-06-30T15:20:41.866" v="13072" actId="478"/>
          <ac:picMkLst>
            <pc:docMk/>
            <pc:sldMk cId="2305951208" sldId="971"/>
            <ac:picMk id="3" creationId="{DBFC979B-2C45-BC09-60D9-9CD280D1798B}"/>
          </ac:picMkLst>
        </pc:picChg>
        <pc:picChg chg="add del mod modCrop">
          <ac:chgData name="Andreas Koksrud" userId="9d9beba6-c052-407a-8599-c781a677a996" providerId="ADAL" clId="{4C89AD2D-B60A-479F-9F95-9D423A06FAEA}" dt="2024-08-01T09:00:10.806" v="34412" actId="21"/>
          <ac:picMkLst>
            <pc:docMk/>
            <pc:sldMk cId="2305951208" sldId="971"/>
            <ac:picMk id="6" creationId="{C4B9405E-09BB-FE31-021E-77CB22C502A7}"/>
          </ac:picMkLst>
        </pc:picChg>
        <pc:picChg chg="add mod">
          <ac:chgData name="Andreas Koksrud" userId="9d9beba6-c052-407a-8599-c781a677a996" providerId="ADAL" clId="{4C89AD2D-B60A-479F-9F95-9D423A06FAEA}" dt="2024-08-01T09:10:55.800" v="34514" actId="1076"/>
          <ac:picMkLst>
            <pc:docMk/>
            <pc:sldMk cId="2305951208" sldId="971"/>
            <ac:picMk id="8" creationId="{C8803D27-2102-99C8-28BF-493A3C3B3EB1}"/>
          </ac:picMkLst>
        </pc:picChg>
        <pc:picChg chg="add mod">
          <ac:chgData name="Andreas Koksrud" userId="9d9beba6-c052-407a-8599-c781a677a996" providerId="ADAL" clId="{4C89AD2D-B60A-479F-9F95-9D423A06FAEA}" dt="2024-08-01T09:12:35.945" v="34517" actId="1076"/>
          <ac:picMkLst>
            <pc:docMk/>
            <pc:sldMk cId="2305951208" sldId="971"/>
            <ac:picMk id="10" creationId="{A97E6B27-B6B8-A18E-78E9-1976758119CB}"/>
          </ac:picMkLst>
        </pc:picChg>
        <pc:picChg chg="add mod">
          <ac:chgData name="Andreas Koksrud" userId="9d9beba6-c052-407a-8599-c781a677a996" providerId="ADAL" clId="{4C89AD2D-B60A-479F-9F95-9D423A06FAEA}" dt="2024-08-01T09:17:38.657" v="34654" actId="1076"/>
          <ac:picMkLst>
            <pc:docMk/>
            <pc:sldMk cId="2305951208" sldId="971"/>
            <ac:picMk id="13" creationId="{36CA4CDE-19E9-BCDD-9213-05DDCAEBB818}"/>
          </ac:picMkLst>
        </pc:picChg>
        <pc:picChg chg="add del mod">
          <ac:chgData name="Andreas Koksrud" userId="9d9beba6-c052-407a-8599-c781a677a996" providerId="ADAL" clId="{4C89AD2D-B60A-479F-9F95-9D423A06FAEA}" dt="2024-08-01T09:10:39.754" v="34494" actId="478"/>
          <ac:picMkLst>
            <pc:docMk/>
            <pc:sldMk cId="2305951208" sldId="971"/>
            <ac:picMk id="1026" creationId="{94E51968-0C13-D58E-DB77-78CBB7E99A6F}"/>
          </ac:picMkLst>
        </pc:picChg>
      </pc:sldChg>
      <pc:sldChg chg="addSp delSp modSp add del mod">
        <pc:chgData name="Andreas Koksrud" userId="9d9beba6-c052-407a-8599-c781a677a996" providerId="ADAL" clId="{4C89AD2D-B60A-479F-9F95-9D423A06FAEA}" dt="2024-08-01T08:59:39.638" v="34408" actId="2696"/>
        <pc:sldMkLst>
          <pc:docMk/>
          <pc:sldMk cId="935846747" sldId="972"/>
        </pc:sldMkLst>
        <pc:spChg chg="mod">
          <ac:chgData name="Andreas Koksrud" userId="9d9beba6-c052-407a-8599-c781a677a996" providerId="ADAL" clId="{4C89AD2D-B60A-479F-9F95-9D423A06FAEA}" dt="2024-08-01T08:52:57.812" v="34078" actId="20577"/>
          <ac:spMkLst>
            <pc:docMk/>
            <pc:sldMk cId="935846747" sldId="972"/>
            <ac:spMk id="180" creationId="{00000000-0000-0000-0000-000000000000}"/>
          </ac:spMkLst>
        </pc:spChg>
        <pc:spChg chg="mod">
          <ac:chgData name="Andreas Koksrud" userId="9d9beba6-c052-407a-8599-c781a677a996" providerId="ADAL" clId="{4C89AD2D-B60A-479F-9F95-9D423A06FAEA}" dt="2024-08-01T08:59:25.367" v="34407" actId="6549"/>
          <ac:spMkLst>
            <pc:docMk/>
            <pc:sldMk cId="935846747" sldId="972"/>
            <ac:spMk id="181" creationId="{00000000-0000-0000-0000-000000000000}"/>
          </ac:spMkLst>
        </pc:spChg>
        <pc:picChg chg="add mod">
          <ac:chgData name="Andreas Koksrud" userId="9d9beba6-c052-407a-8599-c781a677a996" providerId="ADAL" clId="{4C89AD2D-B60A-479F-9F95-9D423A06FAEA}" dt="2024-06-30T15:50:41.196" v="13925" actId="1076"/>
          <ac:picMkLst>
            <pc:docMk/>
            <pc:sldMk cId="935846747" sldId="972"/>
            <ac:picMk id="3" creationId="{DB5CD4E5-3BE7-7364-A4E7-78C03845C8B7}"/>
          </ac:picMkLst>
        </pc:picChg>
        <pc:picChg chg="del">
          <ac:chgData name="Andreas Koksrud" userId="9d9beba6-c052-407a-8599-c781a677a996" providerId="ADAL" clId="{4C89AD2D-B60A-479F-9F95-9D423A06FAEA}" dt="2024-06-30T15:23:27.257" v="13336" actId="478"/>
          <ac:picMkLst>
            <pc:docMk/>
            <pc:sldMk cId="935846747" sldId="972"/>
            <ac:picMk id="6" creationId="{C4B9405E-09BB-FE31-021E-77CB22C502A7}"/>
          </ac:picMkLst>
        </pc:picChg>
      </pc:sldChg>
      <pc:sldChg chg="addSp delSp modSp add mod ord">
        <pc:chgData name="Andreas Koksrud" userId="9d9beba6-c052-407a-8599-c781a677a996" providerId="ADAL" clId="{4C89AD2D-B60A-479F-9F95-9D423A06FAEA}" dt="2024-08-04T16:31:44.142" v="37133"/>
        <pc:sldMkLst>
          <pc:docMk/>
          <pc:sldMk cId="2919214617" sldId="972"/>
        </pc:sldMkLst>
        <pc:spChg chg="add mod">
          <ac:chgData name="Andreas Koksrud" userId="9d9beba6-c052-407a-8599-c781a677a996" providerId="ADAL" clId="{4C89AD2D-B60A-479F-9F95-9D423A06FAEA}" dt="2024-08-03T09:28:17.063" v="35052"/>
          <ac:spMkLst>
            <pc:docMk/>
            <pc:sldMk cId="2919214617" sldId="972"/>
            <ac:spMk id="2" creationId="{AA8EBD60-876B-4C2E-3F6C-4465FF455669}"/>
          </ac:spMkLst>
        </pc:spChg>
        <pc:spChg chg="del">
          <ac:chgData name="Andreas Koksrud" userId="9d9beba6-c052-407a-8599-c781a677a996" providerId="ADAL" clId="{4C89AD2D-B60A-479F-9F95-9D423A06FAEA}" dt="2024-08-03T09:28:15.313" v="35050" actId="478"/>
          <ac:spMkLst>
            <pc:docMk/>
            <pc:sldMk cId="2919214617" sldId="972"/>
            <ac:spMk id="4" creationId="{DE31E3CE-1F59-7A8C-281A-D17BCA8237EA}"/>
          </ac:spMkLst>
        </pc:spChg>
        <pc:spChg chg="del">
          <ac:chgData name="Andreas Koksrud" userId="9d9beba6-c052-407a-8599-c781a677a996" providerId="ADAL" clId="{4C89AD2D-B60A-479F-9F95-9D423A06FAEA}" dt="2024-08-03T09:28:16.224" v="35051" actId="478"/>
          <ac:spMkLst>
            <pc:docMk/>
            <pc:sldMk cId="2919214617" sldId="972"/>
            <ac:spMk id="5" creationId="{F8C53B93-A4D2-5C78-E224-F1F4C6AB4C84}"/>
          </ac:spMkLst>
        </pc:spChg>
        <pc:spChg chg="add mod">
          <ac:chgData name="Andreas Koksrud" userId="9d9beba6-c052-407a-8599-c781a677a996" providerId="ADAL" clId="{4C89AD2D-B60A-479F-9F95-9D423A06FAEA}" dt="2024-08-03T09:28:17.063" v="35052"/>
          <ac:spMkLst>
            <pc:docMk/>
            <pc:sldMk cId="2919214617" sldId="972"/>
            <ac:spMk id="6" creationId="{6BCF03F3-FFDE-2EB5-7559-E2592BF25E0F}"/>
          </ac:spMkLst>
        </pc:spChg>
        <pc:spChg chg="mod">
          <ac:chgData name="Andreas Koksrud" userId="9d9beba6-c052-407a-8599-c781a677a996" providerId="ADAL" clId="{4C89AD2D-B60A-479F-9F95-9D423A06FAEA}" dt="2024-08-04T16:23:26.253" v="37106" actId="20577"/>
          <ac:spMkLst>
            <pc:docMk/>
            <pc:sldMk cId="2919214617" sldId="972"/>
            <ac:spMk id="181" creationId="{00000000-0000-0000-0000-000000000000}"/>
          </ac:spMkLst>
        </pc:spChg>
        <pc:picChg chg="mod">
          <ac:chgData name="Andreas Koksrud" userId="9d9beba6-c052-407a-8599-c781a677a996" providerId="ADAL" clId="{4C89AD2D-B60A-479F-9F95-9D423A06FAEA}" dt="2024-08-04T16:23:18.529" v="37094" actId="1076"/>
          <ac:picMkLst>
            <pc:docMk/>
            <pc:sldMk cId="2919214617" sldId="972"/>
            <ac:picMk id="3" creationId="{DB5CD4E5-3BE7-7364-A4E7-78C03845C8B7}"/>
          </ac:picMkLst>
        </pc:picChg>
      </pc:sldChg>
      <pc:sldChg chg="addSp modSp add mod">
        <pc:chgData name="Andreas Koksrud" userId="9d9beba6-c052-407a-8599-c781a677a996" providerId="ADAL" clId="{4C89AD2D-B60A-479F-9F95-9D423A06FAEA}" dt="2024-07-25T16:04:38.365" v="27626" actId="14100"/>
        <pc:sldMkLst>
          <pc:docMk/>
          <pc:sldMk cId="1288900963" sldId="973"/>
        </pc:sldMkLst>
        <pc:spChg chg="mod">
          <ac:chgData name="Andreas Koksrud" userId="9d9beba6-c052-407a-8599-c781a677a996" providerId="ADAL" clId="{4C89AD2D-B60A-479F-9F95-9D423A06FAEA}" dt="2024-07-25T16:04:38.365" v="27626" actId="14100"/>
          <ac:spMkLst>
            <pc:docMk/>
            <pc:sldMk cId="1288900963" sldId="973"/>
            <ac:spMk id="5" creationId="{06C331F7-EF3E-5E7F-9901-C355F1A9896B}"/>
          </ac:spMkLst>
        </pc:spChg>
        <pc:picChg chg="add mod">
          <ac:chgData name="Andreas Koksrud" userId="9d9beba6-c052-407a-8599-c781a677a996" providerId="ADAL" clId="{4C89AD2D-B60A-479F-9F95-9D423A06FAEA}" dt="2024-07-24T19:52:08.392" v="27572" actId="1076"/>
          <ac:picMkLst>
            <pc:docMk/>
            <pc:sldMk cId="1288900963" sldId="973"/>
            <ac:picMk id="3" creationId="{57C6686E-7A90-FD07-E113-D6B4C0121822}"/>
          </ac:picMkLst>
        </pc:picChg>
      </pc:sldChg>
      <pc:sldChg chg="addSp delSp modSp add del mod">
        <pc:chgData name="Andreas Koksrud" userId="9d9beba6-c052-407a-8599-c781a677a996" providerId="ADAL" clId="{4C89AD2D-B60A-479F-9F95-9D423A06FAEA}" dt="2024-08-01T09:01:50.974" v="34421" actId="47"/>
        <pc:sldMkLst>
          <pc:docMk/>
          <pc:sldMk cId="3760783594" sldId="974"/>
        </pc:sldMkLst>
        <pc:spChg chg="add mod">
          <ac:chgData name="Andreas Koksrud" userId="9d9beba6-c052-407a-8599-c781a677a996" providerId="ADAL" clId="{4C89AD2D-B60A-479F-9F95-9D423A06FAEA}" dt="2024-06-30T15:51:35.053" v="13973" actId="208"/>
          <ac:spMkLst>
            <pc:docMk/>
            <pc:sldMk cId="3760783594" sldId="974"/>
            <ac:spMk id="9" creationId="{5AE98A74-A0D9-F4ED-687A-8C75036EB09B}"/>
          </ac:spMkLst>
        </pc:spChg>
        <pc:spChg chg="add mod">
          <ac:chgData name="Andreas Koksrud" userId="9d9beba6-c052-407a-8599-c781a677a996" providerId="ADAL" clId="{4C89AD2D-B60A-479F-9F95-9D423A06FAEA}" dt="2024-06-30T15:51:41.436" v="13975" actId="14100"/>
          <ac:spMkLst>
            <pc:docMk/>
            <pc:sldMk cId="3760783594" sldId="974"/>
            <ac:spMk id="10" creationId="{1BE788F6-6E8D-AC86-76EF-C96AD1482575}"/>
          </ac:spMkLst>
        </pc:spChg>
        <pc:spChg chg="add mod">
          <ac:chgData name="Andreas Koksrud" userId="9d9beba6-c052-407a-8599-c781a677a996" providerId="ADAL" clId="{4C89AD2D-B60A-479F-9F95-9D423A06FAEA}" dt="2024-06-30T15:51:55.533" v="13982" actId="14100"/>
          <ac:spMkLst>
            <pc:docMk/>
            <pc:sldMk cId="3760783594" sldId="974"/>
            <ac:spMk id="13" creationId="{FD3E508E-9AAB-1290-93AD-86A0B2BB9CB5}"/>
          </ac:spMkLst>
        </pc:spChg>
        <pc:spChg chg="add mod">
          <ac:chgData name="Andreas Koksrud" userId="9d9beba6-c052-407a-8599-c781a677a996" providerId="ADAL" clId="{4C89AD2D-B60A-479F-9F95-9D423A06FAEA}" dt="2024-06-30T15:52:06.865" v="13984" actId="14100"/>
          <ac:spMkLst>
            <pc:docMk/>
            <pc:sldMk cId="3760783594" sldId="974"/>
            <ac:spMk id="14" creationId="{F62C8EC4-ABEF-54E4-6E30-6231C8008454}"/>
          </ac:spMkLst>
        </pc:spChg>
        <pc:spChg chg="mod">
          <ac:chgData name="Andreas Koksrud" userId="9d9beba6-c052-407a-8599-c781a677a996" providerId="ADAL" clId="{4C89AD2D-B60A-479F-9F95-9D423A06FAEA}" dt="2024-08-01T08:53:25.233" v="34099" actId="20577"/>
          <ac:spMkLst>
            <pc:docMk/>
            <pc:sldMk cId="3760783594" sldId="974"/>
            <ac:spMk id="180" creationId="{00000000-0000-0000-0000-000000000000}"/>
          </ac:spMkLst>
        </pc:spChg>
        <pc:spChg chg="mod">
          <ac:chgData name="Andreas Koksrud" userId="9d9beba6-c052-407a-8599-c781a677a996" providerId="ADAL" clId="{4C89AD2D-B60A-479F-9F95-9D423A06FAEA}" dt="2024-06-30T15:51:11.665" v="13968" actId="20577"/>
          <ac:spMkLst>
            <pc:docMk/>
            <pc:sldMk cId="3760783594" sldId="974"/>
            <ac:spMk id="181" creationId="{00000000-0000-0000-0000-000000000000}"/>
          </ac:spMkLst>
        </pc:spChg>
        <pc:picChg chg="del">
          <ac:chgData name="Andreas Koksrud" userId="9d9beba6-c052-407a-8599-c781a677a996" providerId="ADAL" clId="{4C89AD2D-B60A-479F-9F95-9D423A06FAEA}" dt="2024-06-30T15:50:52.549" v="13927" actId="478"/>
          <ac:picMkLst>
            <pc:docMk/>
            <pc:sldMk cId="3760783594" sldId="974"/>
            <ac:picMk id="3" creationId="{DB5CD4E5-3BE7-7364-A4E7-78C03845C8B7}"/>
          </ac:picMkLst>
        </pc:picChg>
        <pc:picChg chg="add del mod">
          <ac:chgData name="Andreas Koksrud" userId="9d9beba6-c052-407a-8599-c781a677a996" providerId="ADAL" clId="{4C89AD2D-B60A-479F-9F95-9D423A06FAEA}" dt="2024-06-30T15:51:00.862" v="13932" actId="22"/>
          <ac:picMkLst>
            <pc:docMk/>
            <pc:sldMk cId="3760783594" sldId="974"/>
            <ac:picMk id="6" creationId="{6E6BD1DE-5620-A946-0C42-86C04C79BC11}"/>
          </ac:picMkLst>
        </pc:picChg>
        <pc:picChg chg="add mod">
          <ac:chgData name="Andreas Koksrud" userId="9d9beba6-c052-407a-8599-c781a677a996" providerId="ADAL" clId="{4C89AD2D-B60A-479F-9F95-9D423A06FAEA}" dt="2024-06-30T15:51:47.638" v="13979" actId="1076"/>
          <ac:picMkLst>
            <pc:docMk/>
            <pc:sldMk cId="3760783594" sldId="974"/>
            <ac:picMk id="8" creationId="{4EE530B6-C953-579A-0317-E1416E72B80E}"/>
          </ac:picMkLst>
        </pc:picChg>
        <pc:picChg chg="add del">
          <ac:chgData name="Andreas Koksrud" userId="9d9beba6-c052-407a-8599-c781a677a996" providerId="ADAL" clId="{4C89AD2D-B60A-479F-9F95-9D423A06FAEA}" dt="2024-06-30T15:51:45.171" v="13977" actId="22"/>
          <ac:picMkLst>
            <pc:docMk/>
            <pc:sldMk cId="3760783594" sldId="974"/>
            <ac:picMk id="12" creationId="{EEF88247-9E3B-9CFD-5B82-5F5CD2584E06}"/>
          </ac:picMkLst>
        </pc:picChg>
      </pc:sldChg>
      <pc:sldChg chg="addSp delSp modSp add del mod">
        <pc:chgData name="Andreas Koksrud" userId="9d9beba6-c052-407a-8599-c781a677a996" providerId="ADAL" clId="{4C89AD2D-B60A-479F-9F95-9D423A06FAEA}" dt="2024-08-01T09:01:57.486" v="34422" actId="2696"/>
        <pc:sldMkLst>
          <pc:docMk/>
          <pc:sldMk cId="4173058943" sldId="975"/>
        </pc:sldMkLst>
        <pc:spChg chg="del">
          <ac:chgData name="Andreas Koksrud" userId="9d9beba6-c052-407a-8599-c781a677a996" providerId="ADAL" clId="{4C89AD2D-B60A-479F-9F95-9D423A06FAEA}" dt="2024-06-30T16:54:30.272" v="13989" actId="478"/>
          <ac:spMkLst>
            <pc:docMk/>
            <pc:sldMk cId="4173058943" sldId="975"/>
            <ac:spMk id="9" creationId="{5AE98A74-A0D9-F4ED-687A-8C75036EB09B}"/>
          </ac:spMkLst>
        </pc:spChg>
        <pc:spChg chg="del">
          <ac:chgData name="Andreas Koksrud" userId="9d9beba6-c052-407a-8599-c781a677a996" providerId="ADAL" clId="{4C89AD2D-B60A-479F-9F95-9D423A06FAEA}" dt="2024-06-30T16:54:31.278" v="13990" actId="478"/>
          <ac:spMkLst>
            <pc:docMk/>
            <pc:sldMk cId="4173058943" sldId="975"/>
            <ac:spMk id="10" creationId="{1BE788F6-6E8D-AC86-76EF-C96AD1482575}"/>
          </ac:spMkLst>
        </pc:spChg>
        <pc:spChg chg="add mod">
          <ac:chgData name="Andreas Koksrud" userId="9d9beba6-c052-407a-8599-c781a677a996" providerId="ADAL" clId="{4C89AD2D-B60A-479F-9F95-9D423A06FAEA}" dt="2024-06-30T16:56:54.161" v="14112" actId="14100"/>
          <ac:spMkLst>
            <pc:docMk/>
            <pc:sldMk cId="4173058943" sldId="975"/>
            <ac:spMk id="11" creationId="{2819E410-5E84-2048-45CC-9992A331552D}"/>
          </ac:spMkLst>
        </pc:spChg>
        <pc:spChg chg="add mod">
          <ac:chgData name="Andreas Koksrud" userId="9d9beba6-c052-407a-8599-c781a677a996" providerId="ADAL" clId="{4C89AD2D-B60A-479F-9F95-9D423A06FAEA}" dt="2024-06-30T16:57:01.572" v="14115" actId="14100"/>
          <ac:spMkLst>
            <pc:docMk/>
            <pc:sldMk cId="4173058943" sldId="975"/>
            <ac:spMk id="12" creationId="{31761B16-B5DE-B70B-79EC-6F0D9565162C}"/>
          </ac:spMkLst>
        </pc:spChg>
        <pc:spChg chg="del">
          <ac:chgData name="Andreas Koksrud" userId="9d9beba6-c052-407a-8599-c781a677a996" providerId="ADAL" clId="{4C89AD2D-B60A-479F-9F95-9D423A06FAEA}" dt="2024-06-30T16:54:29.166" v="13988" actId="478"/>
          <ac:spMkLst>
            <pc:docMk/>
            <pc:sldMk cId="4173058943" sldId="975"/>
            <ac:spMk id="13" creationId="{FD3E508E-9AAB-1290-93AD-86A0B2BB9CB5}"/>
          </ac:spMkLst>
        </pc:spChg>
        <pc:spChg chg="del">
          <ac:chgData name="Andreas Koksrud" userId="9d9beba6-c052-407a-8599-c781a677a996" providerId="ADAL" clId="{4C89AD2D-B60A-479F-9F95-9D423A06FAEA}" dt="2024-06-30T16:54:28.121" v="13987" actId="478"/>
          <ac:spMkLst>
            <pc:docMk/>
            <pc:sldMk cId="4173058943" sldId="975"/>
            <ac:spMk id="14" creationId="{F62C8EC4-ABEF-54E4-6E30-6231C8008454}"/>
          </ac:spMkLst>
        </pc:spChg>
        <pc:spChg chg="add mod">
          <ac:chgData name="Andreas Koksrud" userId="9d9beba6-c052-407a-8599-c781a677a996" providerId="ADAL" clId="{4C89AD2D-B60A-479F-9F95-9D423A06FAEA}" dt="2024-06-30T16:57:04.523" v="14116" actId="571"/>
          <ac:spMkLst>
            <pc:docMk/>
            <pc:sldMk cId="4173058943" sldId="975"/>
            <ac:spMk id="15" creationId="{06358E47-2170-93CF-F4A0-5714388D601D}"/>
          </ac:spMkLst>
        </pc:spChg>
        <pc:spChg chg="add mod">
          <ac:chgData name="Andreas Koksrud" userId="9d9beba6-c052-407a-8599-c781a677a996" providerId="ADAL" clId="{4C89AD2D-B60A-479F-9F95-9D423A06FAEA}" dt="2024-06-30T16:57:49.065" v="14229" actId="404"/>
          <ac:spMkLst>
            <pc:docMk/>
            <pc:sldMk cId="4173058943" sldId="975"/>
            <ac:spMk id="16" creationId="{E699483B-CC77-16A8-F481-DFD2E109003B}"/>
          </ac:spMkLst>
        </pc:spChg>
        <pc:spChg chg="mod">
          <ac:chgData name="Andreas Koksrud" userId="9d9beba6-c052-407a-8599-c781a677a996" providerId="ADAL" clId="{4C89AD2D-B60A-479F-9F95-9D423A06FAEA}" dt="2024-06-30T16:56:37.394" v="14101" actId="20577"/>
          <ac:spMkLst>
            <pc:docMk/>
            <pc:sldMk cId="4173058943" sldId="975"/>
            <ac:spMk id="181" creationId="{00000000-0000-0000-0000-000000000000}"/>
          </ac:spMkLst>
        </pc:spChg>
        <pc:picChg chg="add mod">
          <ac:chgData name="Andreas Koksrud" userId="9d9beba6-c052-407a-8599-c781a677a996" providerId="ADAL" clId="{4C89AD2D-B60A-479F-9F95-9D423A06FAEA}" dt="2024-06-30T16:55:41.174" v="14022" actId="1076"/>
          <ac:picMkLst>
            <pc:docMk/>
            <pc:sldMk cId="4173058943" sldId="975"/>
            <ac:picMk id="3" creationId="{F6DA6060-D234-5719-2571-4E8363B35D06}"/>
          </ac:picMkLst>
        </pc:picChg>
        <pc:picChg chg="add mod">
          <ac:chgData name="Andreas Koksrud" userId="9d9beba6-c052-407a-8599-c781a677a996" providerId="ADAL" clId="{4C89AD2D-B60A-479F-9F95-9D423A06FAEA}" dt="2024-06-30T16:58:04.348" v="14233" actId="1076"/>
          <ac:picMkLst>
            <pc:docMk/>
            <pc:sldMk cId="4173058943" sldId="975"/>
            <ac:picMk id="7" creationId="{2E9868D2-B9FC-1DAC-273F-18FC36AEDB6E}"/>
          </ac:picMkLst>
        </pc:picChg>
        <pc:picChg chg="del">
          <ac:chgData name="Andreas Koksrud" userId="9d9beba6-c052-407a-8599-c781a677a996" providerId="ADAL" clId="{4C89AD2D-B60A-479F-9F95-9D423A06FAEA}" dt="2024-06-30T16:54:25.198" v="13986" actId="478"/>
          <ac:picMkLst>
            <pc:docMk/>
            <pc:sldMk cId="4173058943" sldId="975"/>
            <ac:picMk id="8" creationId="{4EE530B6-C953-579A-0317-E1416E72B80E}"/>
          </ac:picMkLst>
        </pc:picChg>
        <pc:cxnChg chg="add mod">
          <ac:chgData name="Andreas Koksrud" userId="9d9beba6-c052-407a-8599-c781a677a996" providerId="ADAL" clId="{4C89AD2D-B60A-479F-9F95-9D423A06FAEA}" dt="2024-06-30T16:58:10.203" v="14234" actId="14100"/>
          <ac:cxnSpMkLst>
            <pc:docMk/>
            <pc:sldMk cId="4173058943" sldId="975"/>
            <ac:cxnSpMk id="17" creationId="{C9EBCCD3-8487-2D02-1567-6CD761553268}"/>
          </ac:cxnSpMkLst>
        </pc:cxnChg>
        <pc:cxnChg chg="add mod">
          <ac:chgData name="Andreas Koksrud" userId="9d9beba6-c052-407a-8599-c781a677a996" providerId="ADAL" clId="{4C89AD2D-B60A-479F-9F95-9D423A06FAEA}" dt="2024-06-30T16:58:24.803" v="14237" actId="14100"/>
          <ac:cxnSpMkLst>
            <pc:docMk/>
            <pc:sldMk cId="4173058943" sldId="975"/>
            <ac:cxnSpMk id="20" creationId="{AB5EBA06-3DD5-0361-0243-B1F7E60B9436}"/>
          </ac:cxnSpMkLst>
        </pc:cxnChg>
      </pc:sldChg>
      <pc:sldChg chg="addSp delSp modSp add mod ord">
        <pc:chgData name="Andreas Koksrud" userId="9d9beba6-c052-407a-8599-c781a677a996" providerId="ADAL" clId="{4C89AD2D-B60A-479F-9F95-9D423A06FAEA}" dt="2024-07-02T15:15:30.727" v="18602"/>
        <pc:sldMkLst>
          <pc:docMk/>
          <pc:sldMk cId="2327836157" sldId="976"/>
        </pc:sldMkLst>
        <pc:spChg chg="mod">
          <ac:chgData name="Andreas Koksrud" userId="9d9beba6-c052-407a-8599-c781a677a996" providerId="ADAL" clId="{4C89AD2D-B60A-479F-9F95-9D423A06FAEA}" dt="2024-07-02T14:55:03.515" v="18358" actId="20577"/>
          <ac:spMkLst>
            <pc:docMk/>
            <pc:sldMk cId="2327836157" sldId="976"/>
            <ac:spMk id="2" creationId="{9796E8C1-5924-9DB3-B51B-75296717F89F}"/>
          </ac:spMkLst>
        </pc:spChg>
        <pc:spChg chg="mod">
          <ac:chgData name="Andreas Koksrud" userId="9d9beba6-c052-407a-8599-c781a677a996" providerId="ADAL" clId="{4C89AD2D-B60A-479F-9F95-9D423A06FAEA}" dt="2024-07-02T15:15:30.727" v="18602"/>
          <ac:spMkLst>
            <pc:docMk/>
            <pc:sldMk cId="2327836157" sldId="976"/>
            <ac:spMk id="3" creationId="{5FE68121-81AE-F2E5-DCD9-C328BBA3F909}"/>
          </ac:spMkLst>
        </pc:spChg>
        <pc:spChg chg="mod">
          <ac:chgData name="Andreas Koksrud" userId="9d9beba6-c052-407a-8599-c781a677a996" providerId="ADAL" clId="{4C89AD2D-B60A-479F-9F95-9D423A06FAEA}" dt="2024-07-02T15:15:17.604" v="18599"/>
          <ac:spMkLst>
            <pc:docMk/>
            <pc:sldMk cId="2327836157" sldId="976"/>
            <ac:spMk id="4" creationId="{E53BC320-EB76-AACD-B492-E0CEFD69F83A}"/>
          </ac:spMkLst>
        </pc:spChg>
        <pc:spChg chg="mod">
          <ac:chgData name="Andreas Koksrud" userId="9d9beba6-c052-407a-8599-c781a677a996" providerId="ADAL" clId="{4C89AD2D-B60A-479F-9F95-9D423A06FAEA}" dt="2024-07-02T14:54:41.239" v="18297" actId="20577"/>
          <ac:spMkLst>
            <pc:docMk/>
            <pc:sldMk cId="2327836157" sldId="976"/>
            <ac:spMk id="180" creationId="{00000000-0000-0000-0000-000000000000}"/>
          </ac:spMkLst>
        </pc:spChg>
        <pc:picChg chg="del">
          <ac:chgData name="Andreas Koksrud" userId="9d9beba6-c052-407a-8599-c781a677a996" providerId="ADAL" clId="{4C89AD2D-B60A-479F-9F95-9D423A06FAEA}" dt="2024-06-30T17:09:43.982" v="14747" actId="478"/>
          <ac:picMkLst>
            <pc:docMk/>
            <pc:sldMk cId="2327836157" sldId="976"/>
            <ac:picMk id="19" creationId="{16102E3D-30A8-E8EE-D800-B326185287B8}"/>
          </ac:picMkLst>
        </pc:picChg>
        <pc:cxnChg chg="add del mod">
          <ac:chgData name="Andreas Koksrud" userId="9d9beba6-c052-407a-8599-c781a677a996" providerId="ADAL" clId="{4C89AD2D-B60A-479F-9F95-9D423A06FAEA}" dt="2024-07-02T14:55:07.310" v="18359" actId="478"/>
          <ac:cxnSpMkLst>
            <pc:docMk/>
            <pc:sldMk cId="2327836157" sldId="976"/>
            <ac:cxnSpMk id="5" creationId="{07F643B4-9817-B408-6422-4621DED7357B}"/>
          </ac:cxnSpMkLst>
        </pc:cxnChg>
        <pc:cxnChg chg="del">
          <ac:chgData name="Andreas Koksrud" userId="9d9beba6-c052-407a-8599-c781a677a996" providerId="ADAL" clId="{4C89AD2D-B60A-479F-9F95-9D423A06FAEA}" dt="2024-06-30T17:09:45.133" v="14748" actId="478"/>
          <ac:cxnSpMkLst>
            <pc:docMk/>
            <pc:sldMk cId="2327836157" sldId="976"/>
            <ac:cxnSpMk id="22" creationId="{21009E25-D8DE-E975-55FA-12227386461E}"/>
          </ac:cxnSpMkLst>
        </pc:cxnChg>
      </pc:sldChg>
      <pc:sldChg chg="addSp delSp modSp add del mod ord">
        <pc:chgData name="Andreas Koksrud" userId="9d9beba6-c052-407a-8599-c781a677a996" providerId="ADAL" clId="{4C89AD2D-B60A-479F-9F95-9D423A06FAEA}" dt="2024-07-01T18:47:48.242" v="16851" actId="2696"/>
        <pc:sldMkLst>
          <pc:docMk/>
          <pc:sldMk cId="334905366" sldId="977"/>
        </pc:sldMkLst>
        <pc:spChg chg="mod">
          <ac:chgData name="Andreas Koksrud" userId="9d9beba6-c052-407a-8599-c781a677a996" providerId="ADAL" clId="{4C89AD2D-B60A-479F-9F95-9D423A06FAEA}" dt="2024-07-01T04:59:40.729" v="15716" actId="20577"/>
          <ac:spMkLst>
            <pc:docMk/>
            <pc:sldMk cId="334905366" sldId="977"/>
            <ac:spMk id="2" creationId="{9796E8C1-5924-9DB3-B51B-75296717F89F}"/>
          </ac:spMkLst>
        </pc:spChg>
        <pc:spChg chg="mod">
          <ac:chgData name="Andreas Koksrud" userId="9d9beba6-c052-407a-8599-c781a677a996" providerId="ADAL" clId="{4C89AD2D-B60A-479F-9F95-9D423A06FAEA}" dt="2024-07-01T04:46:32.731" v="15275" actId="20577"/>
          <ac:spMkLst>
            <pc:docMk/>
            <pc:sldMk cId="334905366" sldId="977"/>
            <ac:spMk id="180" creationId="{00000000-0000-0000-0000-000000000000}"/>
          </ac:spMkLst>
        </pc:spChg>
        <pc:picChg chg="del">
          <ac:chgData name="Andreas Koksrud" userId="9d9beba6-c052-407a-8599-c781a677a996" providerId="ADAL" clId="{4C89AD2D-B60A-479F-9F95-9D423A06FAEA}" dt="2024-07-01T04:55:57.853" v="15483" actId="478"/>
          <ac:picMkLst>
            <pc:docMk/>
            <pc:sldMk cId="334905366" sldId="977"/>
            <ac:picMk id="4" creationId="{4A547D6D-809C-115D-7BF6-BE32EA1F17A4}"/>
          </ac:picMkLst>
        </pc:picChg>
        <pc:picChg chg="del">
          <ac:chgData name="Andreas Koksrud" userId="9d9beba6-c052-407a-8599-c781a677a996" providerId="ADAL" clId="{4C89AD2D-B60A-479F-9F95-9D423A06FAEA}" dt="2024-07-01T04:46:52.916" v="15279" actId="478"/>
          <ac:picMkLst>
            <pc:docMk/>
            <pc:sldMk cId="334905366" sldId="977"/>
            <ac:picMk id="5" creationId="{BA0F6610-8D6A-ACFB-0475-F273EB8CF5F9}"/>
          </ac:picMkLst>
        </pc:picChg>
        <pc:picChg chg="del">
          <ac:chgData name="Andreas Koksrud" userId="9d9beba6-c052-407a-8599-c781a677a996" providerId="ADAL" clId="{4C89AD2D-B60A-479F-9F95-9D423A06FAEA}" dt="2024-07-01T04:46:51.880" v="15278" actId="478"/>
          <ac:picMkLst>
            <pc:docMk/>
            <pc:sldMk cId="334905366" sldId="977"/>
            <ac:picMk id="6" creationId="{9E113B21-20FD-72C4-7760-43E1A6BC93F4}"/>
          </ac:picMkLst>
        </pc:picChg>
        <pc:picChg chg="add mod ord modCrop">
          <ac:chgData name="Andreas Koksrud" userId="9d9beba6-c052-407a-8599-c781a677a996" providerId="ADAL" clId="{4C89AD2D-B60A-479F-9F95-9D423A06FAEA}" dt="2024-07-01T04:57:53.438" v="15683" actId="1076"/>
          <ac:picMkLst>
            <pc:docMk/>
            <pc:sldMk cId="334905366" sldId="977"/>
            <ac:picMk id="11" creationId="{DDDAE4F3-5480-7F69-95AD-38D50B393A53}"/>
          </ac:picMkLst>
        </pc:picChg>
        <pc:picChg chg="add del mod">
          <ac:chgData name="Andreas Koksrud" userId="9d9beba6-c052-407a-8599-c781a677a996" providerId="ADAL" clId="{4C89AD2D-B60A-479F-9F95-9D423A06FAEA}" dt="2024-07-01T04:54:07.597" v="15474" actId="478"/>
          <ac:picMkLst>
            <pc:docMk/>
            <pc:sldMk cId="334905366" sldId="977"/>
            <ac:picMk id="14" creationId="{A0E9151A-EEB2-C17C-A924-E32E871867CE}"/>
          </ac:picMkLst>
        </pc:picChg>
        <pc:picChg chg="add mod ord">
          <ac:chgData name="Andreas Koksrud" userId="9d9beba6-c052-407a-8599-c781a677a996" providerId="ADAL" clId="{4C89AD2D-B60A-479F-9F95-9D423A06FAEA}" dt="2024-07-01T04:56:33.759" v="15508" actId="167"/>
          <ac:picMkLst>
            <pc:docMk/>
            <pc:sldMk cId="334905366" sldId="977"/>
            <ac:picMk id="16" creationId="{B16855CB-D3AD-CEEE-24F4-F2F169D6A36B}"/>
          </ac:picMkLst>
        </pc:picChg>
        <pc:picChg chg="del">
          <ac:chgData name="Andreas Koksrud" userId="9d9beba6-c052-407a-8599-c781a677a996" providerId="ADAL" clId="{4C89AD2D-B60A-479F-9F95-9D423A06FAEA}" dt="2024-07-01T04:46:53.628" v="15280" actId="478"/>
          <ac:picMkLst>
            <pc:docMk/>
            <pc:sldMk cId="334905366" sldId="977"/>
            <ac:picMk id="18" creationId="{4909D0B2-92A8-C4D4-AA92-F48B2FB211AC}"/>
          </ac:picMkLst>
        </pc:picChg>
        <pc:picChg chg="add mod ord">
          <ac:chgData name="Andreas Koksrud" userId="9d9beba6-c052-407a-8599-c781a677a996" providerId="ADAL" clId="{4C89AD2D-B60A-479F-9F95-9D423A06FAEA}" dt="2024-07-01T04:56:33.759" v="15508" actId="167"/>
          <ac:picMkLst>
            <pc:docMk/>
            <pc:sldMk cId="334905366" sldId="977"/>
            <ac:picMk id="19" creationId="{226FB763-34A5-DD87-24D9-B4997ACF53FE}"/>
          </ac:picMkLst>
        </pc:picChg>
        <pc:picChg chg="add del mod">
          <ac:chgData name="Andreas Koksrud" userId="9d9beba6-c052-407a-8599-c781a677a996" providerId="ADAL" clId="{4C89AD2D-B60A-479F-9F95-9D423A06FAEA}" dt="2024-07-01T04:56:00.242" v="15484" actId="478"/>
          <ac:picMkLst>
            <pc:docMk/>
            <pc:sldMk cId="334905366" sldId="977"/>
            <ac:picMk id="21" creationId="{7D7E0EC7-D6E4-62D7-2CE8-D7BE2EC3916C}"/>
          </ac:picMkLst>
        </pc:picChg>
        <pc:picChg chg="add mod">
          <ac:chgData name="Andreas Koksrud" userId="9d9beba6-c052-407a-8599-c781a677a996" providerId="ADAL" clId="{4C89AD2D-B60A-479F-9F95-9D423A06FAEA}" dt="2024-07-01T04:58:40.997" v="15687" actId="1076"/>
          <ac:picMkLst>
            <pc:docMk/>
            <pc:sldMk cId="334905366" sldId="977"/>
            <ac:picMk id="26" creationId="{B6C99450-723E-66C4-F41E-238BF94C7664}"/>
          </ac:picMkLst>
        </pc:picChg>
        <pc:picChg chg="add mod">
          <ac:chgData name="Andreas Koksrud" userId="9d9beba6-c052-407a-8599-c781a677a996" providerId="ADAL" clId="{4C89AD2D-B60A-479F-9F95-9D423A06FAEA}" dt="2024-07-01T05:00:37.935" v="15723" actId="1076"/>
          <ac:picMkLst>
            <pc:docMk/>
            <pc:sldMk cId="334905366" sldId="977"/>
            <ac:picMk id="31" creationId="{ECD01651-D94B-18AD-1EE0-EAA009C04AFE}"/>
          </ac:picMkLst>
        </pc:picChg>
        <pc:cxnChg chg="mod ord">
          <ac:chgData name="Andreas Koksrud" userId="9d9beba6-c052-407a-8599-c781a677a996" providerId="ADAL" clId="{4C89AD2D-B60A-479F-9F95-9D423A06FAEA}" dt="2024-07-01T04:56:43.363" v="15510" actId="14100"/>
          <ac:cxnSpMkLst>
            <pc:docMk/>
            <pc:sldMk cId="334905366" sldId="977"/>
            <ac:cxnSpMk id="8" creationId="{87407839-F583-F4F8-6870-7596EB34EDF4}"/>
          </ac:cxnSpMkLst>
        </pc:cxnChg>
        <pc:cxnChg chg="del mod">
          <ac:chgData name="Andreas Koksrud" userId="9d9beba6-c052-407a-8599-c781a677a996" providerId="ADAL" clId="{4C89AD2D-B60A-479F-9F95-9D423A06FAEA}" dt="2024-07-01T04:55:36.828" v="15482" actId="478"/>
          <ac:cxnSpMkLst>
            <pc:docMk/>
            <pc:sldMk cId="334905366" sldId="977"/>
            <ac:cxnSpMk id="10" creationId="{114731E6-C0B6-42E8-0546-511317D59522}"/>
          </ac:cxnSpMkLst>
        </pc:cxnChg>
        <pc:cxnChg chg="add mod">
          <ac:chgData name="Andreas Koksrud" userId="9d9beba6-c052-407a-8599-c781a677a996" providerId="ADAL" clId="{4C89AD2D-B60A-479F-9F95-9D423A06FAEA}" dt="2024-07-01T04:58:03.332" v="15685" actId="14100"/>
          <ac:cxnSpMkLst>
            <pc:docMk/>
            <pc:sldMk cId="334905366" sldId="977"/>
            <ac:cxnSpMk id="23" creationId="{1296C061-24EA-A935-EA3B-E2A68731F95E}"/>
          </ac:cxnSpMkLst>
        </pc:cxnChg>
        <pc:cxnChg chg="add mod">
          <ac:chgData name="Andreas Koksrud" userId="9d9beba6-c052-407a-8599-c781a677a996" providerId="ADAL" clId="{4C89AD2D-B60A-479F-9F95-9D423A06FAEA}" dt="2024-07-01T04:58:51.517" v="15690" actId="14100"/>
          <ac:cxnSpMkLst>
            <pc:docMk/>
            <pc:sldMk cId="334905366" sldId="977"/>
            <ac:cxnSpMk id="27" creationId="{CEE092F4-FAEB-D03A-5B69-19002319BFB8}"/>
          </ac:cxnSpMkLst>
        </pc:cxnChg>
        <pc:cxnChg chg="add mod">
          <ac:chgData name="Andreas Koksrud" userId="9d9beba6-c052-407a-8599-c781a677a996" providerId="ADAL" clId="{4C89AD2D-B60A-479F-9F95-9D423A06FAEA}" dt="2024-07-01T05:00:42.097" v="15724" actId="14100"/>
          <ac:cxnSpMkLst>
            <pc:docMk/>
            <pc:sldMk cId="334905366" sldId="977"/>
            <ac:cxnSpMk id="32" creationId="{8F5533CE-2A64-4905-5455-E21F0F27D567}"/>
          </ac:cxnSpMkLst>
        </pc:cxnChg>
      </pc:sldChg>
      <pc:sldChg chg="addSp delSp modSp add mod">
        <pc:chgData name="Andreas Koksrud" userId="9d9beba6-c052-407a-8599-c781a677a996" providerId="ADAL" clId="{4C89AD2D-B60A-479F-9F95-9D423A06FAEA}" dt="2024-08-03T09:27:12.186" v="35036"/>
        <pc:sldMkLst>
          <pc:docMk/>
          <pc:sldMk cId="520098437" sldId="977"/>
        </pc:sldMkLst>
        <pc:spChg chg="add mod">
          <ac:chgData name="Andreas Koksrud" userId="9d9beba6-c052-407a-8599-c781a677a996" providerId="ADAL" clId="{4C89AD2D-B60A-479F-9F95-9D423A06FAEA}" dt="2024-08-03T09:27:12.186" v="35036"/>
          <ac:spMkLst>
            <pc:docMk/>
            <pc:sldMk cId="520098437" sldId="977"/>
            <ac:spMk id="3" creationId="{6FAF88EC-BADD-6346-742F-7D8068A9990E}"/>
          </ac:spMkLst>
        </pc:spChg>
        <pc:spChg chg="del">
          <ac:chgData name="Andreas Koksrud" userId="9d9beba6-c052-407a-8599-c781a677a996" providerId="ADAL" clId="{4C89AD2D-B60A-479F-9F95-9D423A06FAEA}" dt="2024-08-03T09:27:11.256" v="35035" actId="478"/>
          <ac:spMkLst>
            <pc:docMk/>
            <pc:sldMk cId="520098437" sldId="977"/>
            <ac:spMk id="4" creationId="{5369A19A-49CB-D93F-8D2D-6BC499AEF99D}"/>
          </ac:spMkLst>
        </pc:spChg>
        <pc:spChg chg="del">
          <ac:chgData name="Andreas Koksrud" userId="9d9beba6-c052-407a-8599-c781a677a996" providerId="ADAL" clId="{4C89AD2D-B60A-479F-9F95-9D423A06FAEA}" dt="2024-08-03T09:27:08.420" v="35034" actId="478"/>
          <ac:spMkLst>
            <pc:docMk/>
            <pc:sldMk cId="520098437" sldId="977"/>
            <ac:spMk id="5" creationId="{A45CF392-52EC-1BC9-0C06-4FFAA11528E0}"/>
          </ac:spMkLst>
        </pc:spChg>
        <pc:spChg chg="add mod">
          <ac:chgData name="Andreas Koksrud" userId="9d9beba6-c052-407a-8599-c781a677a996" providerId="ADAL" clId="{4C89AD2D-B60A-479F-9F95-9D423A06FAEA}" dt="2024-08-03T09:27:12.186" v="35036"/>
          <ac:spMkLst>
            <pc:docMk/>
            <pc:sldMk cId="520098437" sldId="977"/>
            <ac:spMk id="6" creationId="{CF7F7F97-9C2F-81B1-DE35-802903A639AC}"/>
          </ac:spMkLst>
        </pc:spChg>
      </pc:sldChg>
      <pc:sldChg chg="addSp delSp modSp add del mod ord">
        <pc:chgData name="Andreas Koksrud" userId="9d9beba6-c052-407a-8599-c781a677a996" providerId="ADAL" clId="{4C89AD2D-B60A-479F-9F95-9D423A06FAEA}" dt="2024-08-03T09:24:05.449" v="34760" actId="2696"/>
        <pc:sldMkLst>
          <pc:docMk/>
          <pc:sldMk cId="724889857" sldId="977"/>
        </pc:sldMkLst>
        <pc:spChg chg="mod ord">
          <ac:chgData name="Andreas Koksrud" userId="9d9beba6-c052-407a-8599-c781a677a996" providerId="ADAL" clId="{4C89AD2D-B60A-479F-9F95-9D423A06FAEA}" dt="2024-07-20T19:11:02.268" v="26172" actId="167"/>
          <ac:spMkLst>
            <pc:docMk/>
            <pc:sldMk cId="724889857" sldId="977"/>
            <ac:spMk id="2" creationId="{9796E8C1-5924-9DB3-B51B-75296717F89F}"/>
          </ac:spMkLst>
        </pc:spChg>
        <pc:spChg chg="del">
          <ac:chgData name="Andreas Koksrud" userId="9d9beba6-c052-407a-8599-c781a677a996" providerId="ADAL" clId="{4C89AD2D-B60A-479F-9F95-9D423A06FAEA}" dt="2024-07-15T20:47:20.887" v="23407" actId="478"/>
          <ac:spMkLst>
            <pc:docMk/>
            <pc:sldMk cId="724889857" sldId="977"/>
            <ac:spMk id="3" creationId="{1A11297B-9D47-93B8-252D-68759FA77E1C}"/>
          </ac:spMkLst>
        </pc:spChg>
        <pc:spChg chg="add mod">
          <ac:chgData name="Andreas Koksrud" userId="9d9beba6-c052-407a-8599-c781a677a996" providerId="ADAL" clId="{4C89AD2D-B60A-479F-9F95-9D423A06FAEA}" dt="2024-07-15T20:47:23.183" v="23409"/>
          <ac:spMkLst>
            <pc:docMk/>
            <pc:sldMk cId="724889857" sldId="977"/>
            <ac:spMk id="4" creationId="{5369A19A-49CB-D93F-8D2D-6BC499AEF99D}"/>
          </ac:spMkLst>
        </pc:spChg>
        <pc:spChg chg="add mod">
          <ac:chgData name="Andreas Koksrud" userId="9d9beba6-c052-407a-8599-c781a677a996" providerId="ADAL" clId="{4C89AD2D-B60A-479F-9F95-9D423A06FAEA}" dt="2024-07-15T20:47:23.183" v="23409"/>
          <ac:spMkLst>
            <pc:docMk/>
            <pc:sldMk cId="724889857" sldId="977"/>
            <ac:spMk id="5" creationId="{A45CF392-52EC-1BC9-0C06-4FFAA11528E0}"/>
          </ac:spMkLst>
        </pc:spChg>
        <pc:spChg chg="del">
          <ac:chgData name="Andreas Koksrud" userId="9d9beba6-c052-407a-8599-c781a677a996" providerId="ADAL" clId="{4C89AD2D-B60A-479F-9F95-9D423A06FAEA}" dt="2024-07-15T20:47:22.244" v="23408" actId="478"/>
          <ac:spMkLst>
            <pc:docMk/>
            <pc:sldMk cId="724889857" sldId="977"/>
            <ac:spMk id="7" creationId="{E2DB7780-0CB7-A551-3EA7-484C310E45AD}"/>
          </ac:spMkLst>
        </pc:spChg>
        <pc:picChg chg="mod">
          <ac:chgData name="Andreas Koksrud" userId="9d9beba6-c052-407a-8599-c781a677a996" providerId="ADAL" clId="{4C89AD2D-B60A-479F-9F95-9D423A06FAEA}" dt="2024-07-20T19:11:05.147" v="26173" actId="14826"/>
          <ac:picMkLst>
            <pc:docMk/>
            <pc:sldMk cId="724889857" sldId="977"/>
            <ac:picMk id="16" creationId="{B16855CB-D3AD-CEEE-24F4-F2F169D6A36B}"/>
          </ac:picMkLst>
        </pc:picChg>
        <pc:picChg chg="del">
          <ac:chgData name="Andreas Koksrud" userId="9d9beba6-c052-407a-8599-c781a677a996" providerId="ADAL" clId="{4C89AD2D-B60A-479F-9F95-9D423A06FAEA}" dt="2024-07-01T18:58:00.784" v="16970" actId="478"/>
          <ac:picMkLst>
            <pc:docMk/>
            <pc:sldMk cId="724889857" sldId="977"/>
            <ac:picMk id="31" creationId="{ECD01651-D94B-18AD-1EE0-EAA009C04AFE}"/>
          </ac:picMkLst>
        </pc:picChg>
        <pc:cxnChg chg="mod">
          <ac:chgData name="Andreas Koksrud" userId="9d9beba6-c052-407a-8599-c781a677a996" providerId="ADAL" clId="{4C89AD2D-B60A-479F-9F95-9D423A06FAEA}" dt="2024-07-01T18:58:17.023" v="16975" actId="14100"/>
          <ac:cxnSpMkLst>
            <pc:docMk/>
            <pc:sldMk cId="724889857" sldId="977"/>
            <ac:cxnSpMk id="27" creationId="{CEE092F4-FAEB-D03A-5B69-19002319BFB8}"/>
          </ac:cxnSpMkLst>
        </pc:cxnChg>
        <pc:cxnChg chg="del">
          <ac:chgData name="Andreas Koksrud" userId="9d9beba6-c052-407a-8599-c781a677a996" providerId="ADAL" clId="{4C89AD2D-B60A-479F-9F95-9D423A06FAEA}" dt="2024-07-01T18:58:02.647" v="16971" actId="478"/>
          <ac:cxnSpMkLst>
            <pc:docMk/>
            <pc:sldMk cId="724889857" sldId="977"/>
            <ac:cxnSpMk id="32" creationId="{8F5533CE-2A64-4905-5455-E21F0F27D567}"/>
          </ac:cxnSpMkLst>
        </pc:cxnChg>
      </pc:sldChg>
      <pc:sldChg chg="delSp modSp add del mod">
        <pc:chgData name="Andreas Koksrud" userId="9d9beba6-c052-407a-8599-c781a677a996" providerId="ADAL" clId="{4C89AD2D-B60A-479F-9F95-9D423A06FAEA}" dt="2024-07-01T18:47:48.242" v="16851" actId="2696"/>
        <pc:sldMkLst>
          <pc:docMk/>
          <pc:sldMk cId="400080082" sldId="978"/>
        </pc:sldMkLst>
        <pc:spChg chg="mod">
          <ac:chgData name="Andreas Koksrud" userId="9d9beba6-c052-407a-8599-c781a677a996" providerId="ADAL" clId="{4C89AD2D-B60A-479F-9F95-9D423A06FAEA}" dt="2024-07-01T05:13:42.664" v="15851" actId="20577"/>
          <ac:spMkLst>
            <pc:docMk/>
            <pc:sldMk cId="400080082" sldId="978"/>
            <ac:spMk id="2" creationId="{9796E8C1-5924-9DB3-B51B-75296717F89F}"/>
          </ac:spMkLst>
        </pc:spChg>
        <pc:picChg chg="del">
          <ac:chgData name="Andreas Koksrud" userId="9d9beba6-c052-407a-8599-c781a677a996" providerId="ADAL" clId="{4C89AD2D-B60A-479F-9F95-9D423A06FAEA}" dt="2024-07-01T05:12:42.042" v="15727" actId="478"/>
          <ac:picMkLst>
            <pc:docMk/>
            <pc:sldMk cId="400080082" sldId="978"/>
            <ac:picMk id="11" creationId="{DDDAE4F3-5480-7F69-95AD-38D50B393A53}"/>
          </ac:picMkLst>
        </pc:picChg>
        <pc:picChg chg="del">
          <ac:chgData name="Andreas Koksrud" userId="9d9beba6-c052-407a-8599-c781a677a996" providerId="ADAL" clId="{4C89AD2D-B60A-479F-9F95-9D423A06FAEA}" dt="2024-07-01T05:12:42.042" v="15727" actId="478"/>
          <ac:picMkLst>
            <pc:docMk/>
            <pc:sldMk cId="400080082" sldId="978"/>
            <ac:picMk id="16" creationId="{B16855CB-D3AD-CEEE-24F4-F2F169D6A36B}"/>
          </ac:picMkLst>
        </pc:picChg>
        <pc:picChg chg="del">
          <ac:chgData name="Andreas Koksrud" userId="9d9beba6-c052-407a-8599-c781a677a996" providerId="ADAL" clId="{4C89AD2D-B60A-479F-9F95-9D423A06FAEA}" dt="2024-07-01T05:12:42.042" v="15727" actId="478"/>
          <ac:picMkLst>
            <pc:docMk/>
            <pc:sldMk cId="400080082" sldId="978"/>
            <ac:picMk id="19" creationId="{226FB763-34A5-DD87-24D9-B4997ACF53FE}"/>
          </ac:picMkLst>
        </pc:picChg>
        <pc:picChg chg="del">
          <ac:chgData name="Andreas Koksrud" userId="9d9beba6-c052-407a-8599-c781a677a996" providerId="ADAL" clId="{4C89AD2D-B60A-479F-9F95-9D423A06FAEA}" dt="2024-07-01T05:12:39.666" v="15726" actId="478"/>
          <ac:picMkLst>
            <pc:docMk/>
            <pc:sldMk cId="400080082" sldId="978"/>
            <ac:picMk id="26" creationId="{B6C99450-723E-66C4-F41E-238BF94C7664}"/>
          </ac:picMkLst>
        </pc:picChg>
        <pc:picChg chg="mod">
          <ac:chgData name="Andreas Koksrud" userId="9d9beba6-c052-407a-8599-c781a677a996" providerId="ADAL" clId="{4C89AD2D-B60A-479F-9F95-9D423A06FAEA}" dt="2024-07-01T05:12:51.368" v="15731" actId="1076"/>
          <ac:picMkLst>
            <pc:docMk/>
            <pc:sldMk cId="400080082" sldId="978"/>
            <ac:picMk id="31" creationId="{ECD01651-D94B-18AD-1EE0-EAA009C04AFE}"/>
          </ac:picMkLst>
        </pc:picChg>
        <pc:cxnChg chg="del">
          <ac:chgData name="Andreas Koksrud" userId="9d9beba6-c052-407a-8599-c781a677a996" providerId="ADAL" clId="{4C89AD2D-B60A-479F-9F95-9D423A06FAEA}" dt="2024-07-01T05:12:42.042" v="15727" actId="478"/>
          <ac:cxnSpMkLst>
            <pc:docMk/>
            <pc:sldMk cId="400080082" sldId="978"/>
            <ac:cxnSpMk id="8" creationId="{87407839-F583-F4F8-6870-7596EB34EDF4}"/>
          </ac:cxnSpMkLst>
        </pc:cxnChg>
        <pc:cxnChg chg="del">
          <ac:chgData name="Andreas Koksrud" userId="9d9beba6-c052-407a-8599-c781a677a996" providerId="ADAL" clId="{4C89AD2D-B60A-479F-9F95-9D423A06FAEA}" dt="2024-07-01T05:12:42.042" v="15727" actId="478"/>
          <ac:cxnSpMkLst>
            <pc:docMk/>
            <pc:sldMk cId="400080082" sldId="978"/>
            <ac:cxnSpMk id="23" creationId="{1296C061-24EA-A935-EA3B-E2A68731F95E}"/>
          </ac:cxnSpMkLst>
        </pc:cxnChg>
        <pc:cxnChg chg="del">
          <ac:chgData name="Andreas Koksrud" userId="9d9beba6-c052-407a-8599-c781a677a996" providerId="ADAL" clId="{4C89AD2D-B60A-479F-9F95-9D423A06FAEA}" dt="2024-07-01T05:12:42.042" v="15727" actId="478"/>
          <ac:cxnSpMkLst>
            <pc:docMk/>
            <pc:sldMk cId="400080082" sldId="978"/>
            <ac:cxnSpMk id="27" creationId="{CEE092F4-FAEB-D03A-5B69-19002319BFB8}"/>
          </ac:cxnSpMkLst>
        </pc:cxnChg>
        <pc:cxnChg chg="del">
          <ac:chgData name="Andreas Koksrud" userId="9d9beba6-c052-407a-8599-c781a677a996" providerId="ADAL" clId="{4C89AD2D-B60A-479F-9F95-9D423A06FAEA}" dt="2024-07-01T05:13:38.146" v="15841" actId="478"/>
          <ac:cxnSpMkLst>
            <pc:docMk/>
            <pc:sldMk cId="400080082" sldId="978"/>
            <ac:cxnSpMk id="32" creationId="{8F5533CE-2A64-4905-5455-E21F0F27D567}"/>
          </ac:cxnSpMkLst>
        </pc:cxnChg>
      </pc:sldChg>
      <pc:sldChg chg="add del ord">
        <pc:chgData name="Andreas Koksrud" userId="9d9beba6-c052-407a-8599-c781a677a996" providerId="ADAL" clId="{4C89AD2D-B60A-479F-9F95-9D423A06FAEA}" dt="2024-07-01T18:57:37.643" v="16967" actId="47"/>
        <pc:sldMkLst>
          <pc:docMk/>
          <pc:sldMk cId="3006150980" sldId="978"/>
        </pc:sldMkLst>
      </pc:sldChg>
      <pc:sldChg chg="addSp delSp modSp add mod">
        <pc:chgData name="Andreas Koksrud" userId="9d9beba6-c052-407a-8599-c781a677a996" providerId="ADAL" clId="{4C89AD2D-B60A-479F-9F95-9D423A06FAEA}" dt="2024-08-04T15:50:28.514" v="36065" actId="790"/>
        <pc:sldMkLst>
          <pc:docMk/>
          <pc:sldMk cId="1090692380" sldId="979"/>
        </pc:sldMkLst>
        <pc:spChg chg="mod">
          <ac:chgData name="Andreas Koksrud" userId="9d9beba6-c052-407a-8599-c781a677a996" providerId="ADAL" clId="{4C89AD2D-B60A-479F-9F95-9D423A06FAEA}" dt="2024-07-01T18:35:47.573" v="16125" actId="20577"/>
          <ac:spMkLst>
            <pc:docMk/>
            <pc:sldMk cId="1090692380" sldId="979"/>
            <ac:spMk id="2" creationId="{092F375E-88F1-2491-C4B4-4FFB2575B3FC}"/>
          </ac:spMkLst>
        </pc:spChg>
        <pc:spChg chg="add mod">
          <ac:chgData name="Andreas Koksrud" userId="9d9beba6-c052-407a-8599-c781a677a996" providerId="ADAL" clId="{4C89AD2D-B60A-479F-9F95-9D423A06FAEA}" dt="2024-08-04T15:50:22.296" v="36064" actId="790"/>
          <ac:spMkLst>
            <pc:docMk/>
            <pc:sldMk cId="1090692380" sldId="979"/>
            <ac:spMk id="3" creationId="{0AB21190-EB15-A051-46E9-CEBD6C7A1F13}"/>
          </ac:spMkLst>
        </pc:spChg>
        <pc:spChg chg="add mod">
          <ac:chgData name="Andreas Koksrud" userId="9d9beba6-c052-407a-8599-c781a677a996" providerId="ADAL" clId="{4C89AD2D-B60A-479F-9F95-9D423A06FAEA}" dt="2024-08-04T15:50:28.514" v="36065" actId="790"/>
          <ac:spMkLst>
            <pc:docMk/>
            <pc:sldMk cId="1090692380" sldId="979"/>
            <ac:spMk id="4" creationId="{7345CD42-B411-4D2A-D01B-8D68EE7AF675}"/>
          </ac:spMkLst>
        </pc:spChg>
        <pc:spChg chg="del">
          <ac:chgData name="Andreas Koksrud" userId="9d9beba6-c052-407a-8599-c781a677a996" providerId="ADAL" clId="{4C89AD2D-B60A-479F-9F95-9D423A06FAEA}" dt="2024-07-01T18:35:54.939" v="16129" actId="478"/>
          <ac:spMkLst>
            <pc:docMk/>
            <pc:sldMk cId="1090692380" sldId="979"/>
            <ac:spMk id="37" creationId="{95B27A29-FE90-9A04-68D9-F0B8445DA3A2}"/>
          </ac:spMkLst>
        </pc:spChg>
        <pc:spChg chg="del">
          <ac:chgData name="Andreas Koksrud" userId="9d9beba6-c052-407a-8599-c781a677a996" providerId="ADAL" clId="{4C89AD2D-B60A-479F-9F95-9D423A06FAEA}" dt="2024-07-01T18:35:56.358" v="16130" actId="478"/>
          <ac:spMkLst>
            <pc:docMk/>
            <pc:sldMk cId="1090692380" sldId="979"/>
            <ac:spMk id="38" creationId="{441691CC-9FA7-3018-1713-2E8E242F570C}"/>
          </ac:spMkLst>
        </pc:spChg>
        <pc:picChg chg="del">
          <ac:chgData name="Andreas Koksrud" userId="9d9beba6-c052-407a-8599-c781a677a996" providerId="ADAL" clId="{4C89AD2D-B60A-479F-9F95-9D423A06FAEA}" dt="2024-07-01T18:36:00.752" v="16133" actId="478"/>
          <ac:picMkLst>
            <pc:docMk/>
            <pc:sldMk cId="1090692380" sldId="979"/>
            <ac:picMk id="12" creationId="{31065A3F-005F-8170-27F1-D666F665FD11}"/>
          </ac:picMkLst>
        </pc:picChg>
        <pc:picChg chg="del">
          <ac:chgData name="Andreas Koksrud" userId="9d9beba6-c052-407a-8599-c781a677a996" providerId="ADAL" clId="{4C89AD2D-B60A-479F-9F95-9D423A06FAEA}" dt="2024-07-01T18:36:02.024" v="16135" actId="478"/>
          <ac:picMkLst>
            <pc:docMk/>
            <pc:sldMk cId="1090692380" sldId="979"/>
            <ac:picMk id="18" creationId="{4D11162B-F2ED-B950-F8DC-ABD52C197FBC}"/>
          </ac:picMkLst>
        </pc:picChg>
        <pc:picChg chg="del">
          <ac:chgData name="Andreas Koksrud" userId="9d9beba6-c052-407a-8599-c781a677a996" providerId="ADAL" clId="{4C89AD2D-B60A-479F-9F95-9D423A06FAEA}" dt="2024-07-01T18:36:00.047" v="16132" actId="478"/>
          <ac:picMkLst>
            <pc:docMk/>
            <pc:sldMk cId="1090692380" sldId="979"/>
            <ac:picMk id="20" creationId="{03539320-1EA0-1DB6-6C9A-0584BD1224BF}"/>
          </ac:picMkLst>
        </pc:picChg>
        <pc:picChg chg="del">
          <ac:chgData name="Andreas Koksrud" userId="9d9beba6-c052-407a-8599-c781a677a996" providerId="ADAL" clId="{4C89AD2D-B60A-479F-9F95-9D423A06FAEA}" dt="2024-07-01T18:36:01.432" v="16134" actId="478"/>
          <ac:picMkLst>
            <pc:docMk/>
            <pc:sldMk cId="1090692380" sldId="979"/>
            <ac:picMk id="32" creationId="{39EB8162-2F1B-8F63-D92A-75E086162C78}"/>
          </ac:picMkLst>
        </pc:picChg>
        <pc:picChg chg="del">
          <ac:chgData name="Andreas Koksrud" userId="9d9beba6-c052-407a-8599-c781a677a996" providerId="ADAL" clId="{4C89AD2D-B60A-479F-9F95-9D423A06FAEA}" dt="2024-07-01T18:35:57.008" v="16131" actId="478"/>
          <ac:picMkLst>
            <pc:docMk/>
            <pc:sldMk cId="1090692380" sldId="979"/>
            <ac:picMk id="34" creationId="{A2F951E7-CAE4-6880-14FD-E358DE19C974}"/>
          </ac:picMkLst>
        </pc:picChg>
        <pc:picChg chg="del">
          <ac:chgData name="Andreas Koksrud" userId="9d9beba6-c052-407a-8599-c781a677a996" providerId="ADAL" clId="{4C89AD2D-B60A-479F-9F95-9D423A06FAEA}" dt="2024-07-01T18:35:52.552" v="16128" actId="478"/>
          <ac:picMkLst>
            <pc:docMk/>
            <pc:sldMk cId="1090692380" sldId="979"/>
            <ac:picMk id="36" creationId="{DEFE8EC0-B755-072C-D4C0-686A131808ED}"/>
          </ac:picMkLst>
        </pc:picChg>
        <pc:picChg chg="del">
          <ac:chgData name="Andreas Koksrud" userId="9d9beba6-c052-407a-8599-c781a677a996" providerId="ADAL" clId="{4C89AD2D-B60A-479F-9F95-9D423A06FAEA}" dt="2024-07-01T18:35:50.398" v="16126" actId="478"/>
          <ac:picMkLst>
            <pc:docMk/>
            <pc:sldMk cId="1090692380" sldId="979"/>
            <ac:picMk id="41" creationId="{997F2965-D0D8-838D-B577-BC557588CDB0}"/>
          </ac:picMkLst>
        </pc:picChg>
        <pc:cxnChg chg="del">
          <ac:chgData name="Andreas Koksrud" userId="9d9beba6-c052-407a-8599-c781a677a996" providerId="ADAL" clId="{4C89AD2D-B60A-479F-9F95-9D423A06FAEA}" dt="2024-07-01T18:35:51.824" v="16127" actId="478"/>
          <ac:cxnSpMkLst>
            <pc:docMk/>
            <pc:sldMk cId="1090692380" sldId="979"/>
            <ac:cxnSpMk id="39" creationId="{6815ECF9-4EC7-69AF-79A8-251036CC0710}"/>
          </ac:cxnSpMkLst>
        </pc:cxnChg>
      </pc:sldChg>
      <pc:sldChg chg="add">
        <pc:chgData name="Andreas Koksrud" userId="9d9beba6-c052-407a-8599-c781a677a996" providerId="ADAL" clId="{4C89AD2D-B60A-479F-9F95-9D423A06FAEA}" dt="2024-07-01T18:47:05.211" v="16767" actId="2890"/>
        <pc:sldMkLst>
          <pc:docMk/>
          <pc:sldMk cId="3623507131" sldId="980"/>
        </pc:sldMkLst>
      </pc:sldChg>
      <pc:sldChg chg="modSp add mod">
        <pc:chgData name="Andreas Koksrud" userId="9d9beba6-c052-407a-8599-c781a677a996" providerId="ADAL" clId="{4C89AD2D-B60A-479F-9F95-9D423A06FAEA}" dt="2024-07-16T13:59:57.242" v="24837" actId="20577"/>
        <pc:sldMkLst>
          <pc:docMk/>
          <pc:sldMk cId="201479614" sldId="981"/>
        </pc:sldMkLst>
        <pc:spChg chg="mod">
          <ac:chgData name="Andreas Koksrud" userId="9d9beba6-c052-407a-8599-c781a677a996" providerId="ADAL" clId="{4C89AD2D-B60A-479F-9F95-9D423A06FAEA}" dt="2024-07-02T13:57:04.605" v="17127" actId="20577"/>
          <ac:spMkLst>
            <pc:docMk/>
            <pc:sldMk cId="201479614" sldId="981"/>
            <ac:spMk id="2" creationId="{8D9AF8E0-ED58-049B-F591-0FAE74AD16DC}"/>
          </ac:spMkLst>
        </pc:spChg>
        <pc:spChg chg="mod">
          <ac:chgData name="Andreas Koksrud" userId="9d9beba6-c052-407a-8599-c781a677a996" providerId="ADAL" clId="{4C89AD2D-B60A-479F-9F95-9D423A06FAEA}" dt="2024-07-02T13:56:49.277" v="17077" actId="20577"/>
          <ac:spMkLst>
            <pc:docMk/>
            <pc:sldMk cId="201479614" sldId="981"/>
            <ac:spMk id="5" creationId="{6FF65290-59AB-6DD3-3EA1-31BF85E26153}"/>
          </ac:spMkLst>
        </pc:spChg>
        <pc:spChg chg="mod">
          <ac:chgData name="Andreas Koksrud" userId="9d9beba6-c052-407a-8599-c781a677a996" providerId="ADAL" clId="{4C89AD2D-B60A-479F-9F95-9D423A06FAEA}" dt="2024-07-16T13:59:57.242" v="24837" actId="20577"/>
          <ac:spMkLst>
            <pc:docMk/>
            <pc:sldMk cId="201479614" sldId="981"/>
            <ac:spMk id="180" creationId="{00000000-0000-0000-0000-000000000000}"/>
          </ac:spMkLst>
        </pc:spChg>
        <pc:spChg chg="mod">
          <ac:chgData name="Andreas Koksrud" userId="9d9beba6-c052-407a-8599-c781a677a996" providerId="ADAL" clId="{4C89AD2D-B60A-479F-9F95-9D423A06FAEA}" dt="2024-07-02T13:56:37.730" v="17062" actId="20577"/>
          <ac:spMkLst>
            <pc:docMk/>
            <pc:sldMk cId="201479614" sldId="981"/>
            <ac:spMk id="181" creationId="{00000000-0000-0000-0000-000000000000}"/>
          </ac:spMkLst>
        </pc:spChg>
      </pc:sldChg>
      <pc:sldChg chg="modSp add mod">
        <pc:chgData name="Andreas Koksrud" userId="9d9beba6-c052-407a-8599-c781a677a996" providerId="ADAL" clId="{4C89AD2D-B60A-479F-9F95-9D423A06FAEA}" dt="2024-07-02T13:58:48.028" v="17303" actId="20577"/>
        <pc:sldMkLst>
          <pc:docMk/>
          <pc:sldMk cId="3258998827" sldId="982"/>
        </pc:sldMkLst>
        <pc:spChg chg="mod">
          <ac:chgData name="Andreas Koksrud" userId="9d9beba6-c052-407a-8599-c781a677a996" providerId="ADAL" clId="{4C89AD2D-B60A-479F-9F95-9D423A06FAEA}" dt="2024-07-02T13:58:05.110" v="17157" actId="20577"/>
          <ac:spMkLst>
            <pc:docMk/>
            <pc:sldMk cId="3258998827" sldId="982"/>
            <ac:spMk id="180" creationId="{00000000-0000-0000-0000-000000000000}"/>
          </ac:spMkLst>
        </pc:spChg>
        <pc:spChg chg="mod">
          <ac:chgData name="Andreas Koksrud" userId="9d9beba6-c052-407a-8599-c781a677a996" providerId="ADAL" clId="{4C89AD2D-B60A-479F-9F95-9D423A06FAEA}" dt="2024-07-02T13:58:48.028" v="17303" actId="20577"/>
          <ac:spMkLst>
            <pc:docMk/>
            <pc:sldMk cId="3258998827" sldId="982"/>
            <ac:spMk id="181" creationId="{00000000-0000-0000-0000-000000000000}"/>
          </ac:spMkLst>
        </pc:spChg>
      </pc:sldChg>
      <pc:sldChg chg="addSp delSp modSp add del mod">
        <pc:chgData name="Andreas Koksrud" userId="9d9beba6-c052-407a-8599-c781a677a996" providerId="ADAL" clId="{4C89AD2D-B60A-479F-9F95-9D423A06FAEA}" dt="2024-08-03T09:24:05.449" v="34760" actId="2696"/>
        <pc:sldMkLst>
          <pc:docMk/>
          <pc:sldMk cId="1929372969" sldId="983"/>
        </pc:sldMkLst>
        <pc:spChg chg="mod">
          <ac:chgData name="Andreas Koksrud" userId="9d9beba6-c052-407a-8599-c781a677a996" providerId="ADAL" clId="{4C89AD2D-B60A-479F-9F95-9D423A06FAEA}" dt="2024-07-02T14:23:49.604" v="17501" actId="1076"/>
          <ac:spMkLst>
            <pc:docMk/>
            <pc:sldMk cId="1929372969" sldId="983"/>
            <ac:spMk id="2" creationId="{9796E8C1-5924-9DB3-B51B-75296717F89F}"/>
          </ac:spMkLst>
        </pc:spChg>
        <pc:spChg chg="add mod ord">
          <ac:chgData name="Andreas Koksrud" userId="9d9beba6-c052-407a-8599-c781a677a996" providerId="ADAL" clId="{4C89AD2D-B60A-479F-9F95-9D423A06FAEA}" dt="2024-07-02T14:29:47.022" v="17503" actId="1076"/>
          <ac:spMkLst>
            <pc:docMk/>
            <pc:sldMk cId="1929372969" sldId="983"/>
            <ac:spMk id="11" creationId="{08ECC5E9-F272-B52F-7825-2A6A702B319F}"/>
          </ac:spMkLst>
        </pc:spChg>
        <pc:spChg chg="add mod ord">
          <ac:chgData name="Andreas Koksrud" userId="9d9beba6-c052-407a-8599-c781a677a996" providerId="ADAL" clId="{4C89AD2D-B60A-479F-9F95-9D423A06FAEA}" dt="2024-07-02T14:29:47.022" v="17503" actId="1076"/>
          <ac:spMkLst>
            <pc:docMk/>
            <pc:sldMk cId="1929372969" sldId="983"/>
            <ac:spMk id="12" creationId="{B9BEE2AB-1F32-F312-1D1B-BA023E774B1C}"/>
          </ac:spMkLst>
        </pc:spChg>
        <pc:spChg chg="add mod ord">
          <ac:chgData name="Andreas Koksrud" userId="9d9beba6-c052-407a-8599-c781a677a996" providerId="ADAL" clId="{4C89AD2D-B60A-479F-9F95-9D423A06FAEA}" dt="2024-07-20T19:12:38.782" v="26181" actId="1035"/>
          <ac:spMkLst>
            <pc:docMk/>
            <pc:sldMk cId="1929372969" sldId="983"/>
            <ac:spMk id="13" creationId="{DD7970DD-F435-60ED-9479-AD4450812ED1}"/>
          </ac:spMkLst>
        </pc:spChg>
        <pc:spChg chg="add del mod">
          <ac:chgData name="Andreas Koksrud" userId="9d9beba6-c052-407a-8599-c781a677a996" providerId="ADAL" clId="{4C89AD2D-B60A-479F-9F95-9D423A06FAEA}" dt="2024-07-02T14:23:44.838" v="17500" actId="478"/>
          <ac:spMkLst>
            <pc:docMk/>
            <pc:sldMk cId="1929372969" sldId="983"/>
            <ac:spMk id="27" creationId="{C9B5DA6E-18D4-42F5-725E-9BBB3D712313}"/>
          </ac:spMkLst>
        </pc:spChg>
        <pc:spChg chg="add mod">
          <ac:chgData name="Andreas Koksrud" userId="9d9beba6-c052-407a-8599-c781a677a996" providerId="ADAL" clId="{4C89AD2D-B60A-479F-9F95-9D423A06FAEA}" dt="2024-07-20T19:14:48.660" v="26360" actId="1076"/>
          <ac:spMkLst>
            <pc:docMk/>
            <pc:sldMk cId="1929372969" sldId="983"/>
            <ac:spMk id="28" creationId="{DCC3A971-0CA0-D21F-8842-39738C4B733C}"/>
          </ac:spMkLst>
        </pc:spChg>
        <pc:spChg chg="add mod">
          <ac:chgData name="Andreas Koksrud" userId="9d9beba6-c052-407a-8599-c781a677a996" providerId="ADAL" clId="{4C89AD2D-B60A-479F-9F95-9D423A06FAEA}" dt="2024-07-20T19:14:54.504" v="26362" actId="1076"/>
          <ac:spMkLst>
            <pc:docMk/>
            <pc:sldMk cId="1929372969" sldId="983"/>
            <ac:spMk id="29" creationId="{A0F16859-2FAB-01FD-D11A-B8A1717AB9E6}"/>
          </ac:spMkLst>
        </pc:spChg>
        <pc:spChg chg="del mod">
          <ac:chgData name="Andreas Koksrud" userId="9d9beba6-c052-407a-8599-c781a677a996" providerId="ADAL" clId="{4C89AD2D-B60A-479F-9F95-9D423A06FAEA}" dt="2024-07-02T14:23:43.308" v="17499" actId="478"/>
          <ac:spMkLst>
            <pc:docMk/>
            <pc:sldMk cId="1929372969" sldId="983"/>
            <ac:spMk id="180" creationId="{00000000-0000-0000-0000-000000000000}"/>
          </ac:spMkLst>
        </pc:spChg>
        <pc:picChg chg="del">
          <ac:chgData name="Andreas Koksrud" userId="9d9beba6-c052-407a-8599-c781a677a996" providerId="ADAL" clId="{4C89AD2D-B60A-479F-9F95-9D423A06FAEA}" dt="2024-07-02T14:16:23.690" v="17320" actId="478"/>
          <ac:picMkLst>
            <pc:docMk/>
            <pc:sldMk cId="1929372969" sldId="983"/>
            <ac:picMk id="4" creationId="{EE49B416-6D45-D9BB-9236-660E9EFE010E}"/>
          </ac:picMkLst>
        </pc:picChg>
        <pc:picChg chg="del">
          <ac:chgData name="Andreas Koksrud" userId="9d9beba6-c052-407a-8599-c781a677a996" providerId="ADAL" clId="{4C89AD2D-B60A-479F-9F95-9D423A06FAEA}" dt="2024-07-02T14:17:44.846" v="17464" actId="478"/>
          <ac:picMkLst>
            <pc:docMk/>
            <pc:sldMk cId="1929372969" sldId="983"/>
            <ac:picMk id="8" creationId="{C7A1E34A-DBAC-F62C-35CA-F9EE01DFEBE8}"/>
          </ac:picMkLst>
        </pc:picChg>
        <pc:picChg chg="add del mod ord">
          <ac:chgData name="Andreas Koksrud" userId="9d9beba6-c052-407a-8599-c781a677a996" providerId="ADAL" clId="{4C89AD2D-B60A-479F-9F95-9D423A06FAEA}" dt="2024-07-02T14:22:07.188" v="17494" actId="478"/>
          <ac:picMkLst>
            <pc:docMk/>
            <pc:sldMk cId="1929372969" sldId="983"/>
            <ac:picMk id="9" creationId="{E1CD3E30-F913-8D8B-B99D-33BC07ABD128}"/>
          </ac:picMkLst>
        </pc:picChg>
        <pc:picChg chg="del">
          <ac:chgData name="Andreas Koksrud" userId="9d9beba6-c052-407a-8599-c781a677a996" providerId="ADAL" clId="{4C89AD2D-B60A-479F-9F95-9D423A06FAEA}" dt="2024-07-02T14:17:20.100" v="17445" actId="478"/>
          <ac:picMkLst>
            <pc:docMk/>
            <pc:sldMk cId="1929372969" sldId="983"/>
            <ac:picMk id="15" creationId="{1BF73C7B-00A5-0A7B-F9E4-3746C6B79854}"/>
          </ac:picMkLst>
        </pc:picChg>
        <pc:picChg chg="add mod modCrop">
          <ac:chgData name="Andreas Koksrud" userId="9d9beba6-c052-407a-8599-c781a677a996" providerId="ADAL" clId="{4C89AD2D-B60A-479F-9F95-9D423A06FAEA}" dt="2024-07-20T19:15:46.179" v="26368" actId="1076"/>
          <ac:picMkLst>
            <pc:docMk/>
            <pc:sldMk cId="1929372969" sldId="983"/>
            <ac:picMk id="16" creationId="{FA4A8BF7-86E7-CADA-56C9-6C61A18A9E5A}"/>
          </ac:picMkLst>
        </pc:picChg>
        <pc:picChg chg="add del mod">
          <ac:chgData name="Andreas Koksrud" userId="9d9beba6-c052-407a-8599-c781a677a996" providerId="ADAL" clId="{4C89AD2D-B60A-479F-9F95-9D423A06FAEA}" dt="2024-07-02T14:21:52.959" v="17491" actId="478"/>
          <ac:picMkLst>
            <pc:docMk/>
            <pc:sldMk cId="1929372969" sldId="983"/>
            <ac:picMk id="22" creationId="{BE4BF1DB-A1EE-E722-4491-F386F79A7666}"/>
          </ac:picMkLst>
        </pc:picChg>
        <pc:picChg chg="add mod ord">
          <ac:chgData name="Andreas Koksrud" userId="9d9beba6-c052-407a-8599-c781a677a996" providerId="ADAL" clId="{4C89AD2D-B60A-479F-9F95-9D423A06FAEA}" dt="2024-07-20T19:12:33.898" v="26174" actId="14826"/>
          <ac:picMkLst>
            <pc:docMk/>
            <pc:sldMk cId="1929372969" sldId="983"/>
            <ac:picMk id="24" creationId="{EFB4012B-4844-0459-FDD6-4151322CFE59}"/>
          </ac:picMkLst>
        </pc:picChg>
        <pc:cxnChg chg="mod">
          <ac:chgData name="Andreas Koksrud" userId="9d9beba6-c052-407a-8599-c781a677a996" providerId="ADAL" clId="{4C89AD2D-B60A-479F-9F95-9D423A06FAEA}" dt="2024-07-02T14:29:47.022" v="17503" actId="1076"/>
          <ac:cxnSpMkLst>
            <pc:docMk/>
            <pc:sldMk cId="1929372969" sldId="983"/>
            <ac:cxnSpMk id="5" creationId="{99EDF0DF-3AE9-13BB-D977-80F04527045E}"/>
          </ac:cxnSpMkLst>
        </pc:cxnChg>
        <pc:cxnChg chg="del">
          <ac:chgData name="Andreas Koksrud" userId="9d9beba6-c052-407a-8599-c781a677a996" providerId="ADAL" clId="{4C89AD2D-B60A-479F-9F95-9D423A06FAEA}" dt="2024-07-02T14:17:47.525" v="17466" actId="478"/>
          <ac:cxnSpMkLst>
            <pc:docMk/>
            <pc:sldMk cId="1929372969" sldId="983"/>
            <ac:cxnSpMk id="10" creationId="{23C6121A-FF67-1F42-432D-FEA6E5431A44}"/>
          </ac:cxnSpMkLst>
        </pc:cxnChg>
        <pc:cxnChg chg="del">
          <ac:chgData name="Andreas Koksrud" userId="9d9beba6-c052-407a-8599-c781a677a996" providerId="ADAL" clId="{4C89AD2D-B60A-479F-9F95-9D423A06FAEA}" dt="2024-07-02T14:17:46.456" v="17465" actId="478"/>
          <ac:cxnSpMkLst>
            <pc:docMk/>
            <pc:sldMk cId="1929372969" sldId="983"/>
            <ac:cxnSpMk id="16" creationId="{7EFC93E0-25A6-B0B4-FB10-D2643CD67A77}"/>
          </ac:cxnSpMkLst>
        </pc:cxnChg>
        <pc:cxnChg chg="add mod">
          <ac:chgData name="Andreas Koksrud" userId="9d9beba6-c052-407a-8599-c781a677a996" providerId="ADAL" clId="{4C89AD2D-B60A-479F-9F95-9D423A06FAEA}" dt="2024-07-20T19:12:43.272" v="26182" actId="14100"/>
          <ac:cxnSpMkLst>
            <pc:docMk/>
            <pc:sldMk cId="1929372969" sldId="983"/>
            <ac:cxnSpMk id="17" creationId="{F994F638-5F12-9B02-1073-08A90570FCE7}"/>
          </ac:cxnSpMkLst>
        </pc:cxnChg>
        <pc:cxnChg chg="add mod">
          <ac:chgData name="Andreas Koksrud" userId="9d9beba6-c052-407a-8599-c781a677a996" providerId="ADAL" clId="{4C89AD2D-B60A-479F-9F95-9D423A06FAEA}" dt="2024-07-20T19:16:01.302" v="26370" actId="14100"/>
          <ac:cxnSpMkLst>
            <pc:docMk/>
            <pc:sldMk cId="1929372969" sldId="983"/>
            <ac:cxnSpMk id="18" creationId="{1DB16162-56AD-0644-3168-E10F055A3896}"/>
          </ac:cxnSpMkLst>
        </pc:cxnChg>
        <pc:cxnChg chg="add mod">
          <ac:chgData name="Andreas Koksrud" userId="9d9beba6-c052-407a-8599-c781a677a996" providerId="ADAL" clId="{4C89AD2D-B60A-479F-9F95-9D423A06FAEA}" dt="2024-07-20T19:12:51.074" v="26183" actId="14100"/>
          <ac:cxnSpMkLst>
            <pc:docMk/>
            <pc:sldMk cId="1929372969" sldId="983"/>
            <ac:cxnSpMk id="19" creationId="{94D2A1A9-C9DA-8E00-2250-56FF710F9E20}"/>
          </ac:cxnSpMkLst>
        </pc:cxnChg>
        <pc:cxnChg chg="add mod">
          <ac:chgData name="Andreas Koksrud" userId="9d9beba6-c052-407a-8599-c781a677a996" providerId="ADAL" clId="{4C89AD2D-B60A-479F-9F95-9D423A06FAEA}" dt="2024-07-20T19:14:45.284" v="26359" actId="14100"/>
          <ac:cxnSpMkLst>
            <pc:docMk/>
            <pc:sldMk cId="1929372969" sldId="983"/>
            <ac:cxnSpMk id="30" creationId="{7E767183-2953-BF4E-ADA2-72D40E2B119F}"/>
          </ac:cxnSpMkLst>
        </pc:cxnChg>
        <pc:cxnChg chg="add mod">
          <ac:chgData name="Andreas Koksrud" userId="9d9beba6-c052-407a-8599-c781a677a996" providerId="ADAL" clId="{4C89AD2D-B60A-479F-9F95-9D423A06FAEA}" dt="2024-07-20T19:16:13.681" v="26374" actId="14100"/>
          <ac:cxnSpMkLst>
            <pc:docMk/>
            <pc:sldMk cId="1929372969" sldId="983"/>
            <ac:cxnSpMk id="32" creationId="{7000CBB5-772F-F9F7-C5C3-3EE79A64244A}"/>
          </ac:cxnSpMkLst>
        </pc:cxnChg>
      </pc:sldChg>
      <pc:sldChg chg="addSp delSp modSp add mod">
        <pc:chgData name="Andreas Koksrud" userId="9d9beba6-c052-407a-8599-c781a677a996" providerId="ADAL" clId="{4C89AD2D-B60A-479F-9F95-9D423A06FAEA}" dt="2024-08-03T09:27:25.141" v="35045"/>
        <pc:sldMkLst>
          <pc:docMk/>
          <pc:sldMk cId="2763641771" sldId="983"/>
        </pc:sldMkLst>
        <pc:spChg chg="del">
          <ac:chgData name="Andreas Koksrud" userId="9d9beba6-c052-407a-8599-c781a677a996" providerId="ADAL" clId="{4C89AD2D-B60A-479F-9F95-9D423A06FAEA}" dt="2024-08-03T09:27:24.410" v="35044" actId="478"/>
          <ac:spMkLst>
            <pc:docMk/>
            <pc:sldMk cId="2763641771" sldId="983"/>
            <ac:spMk id="3" creationId="{D716D84C-92F8-0D97-658B-D580A9E686C2}"/>
          </ac:spMkLst>
        </pc:spChg>
        <pc:spChg chg="add mod">
          <ac:chgData name="Andreas Koksrud" userId="9d9beba6-c052-407a-8599-c781a677a996" providerId="ADAL" clId="{4C89AD2D-B60A-479F-9F95-9D423A06FAEA}" dt="2024-08-03T09:27:25.141" v="35045"/>
          <ac:spMkLst>
            <pc:docMk/>
            <pc:sldMk cId="2763641771" sldId="983"/>
            <ac:spMk id="4" creationId="{8FBAA27B-4E6D-5353-9582-2B1D98BE05E0}"/>
          </ac:spMkLst>
        </pc:spChg>
        <pc:spChg chg="del">
          <ac:chgData name="Andreas Koksrud" userId="9d9beba6-c052-407a-8599-c781a677a996" providerId="ADAL" clId="{4C89AD2D-B60A-479F-9F95-9D423A06FAEA}" dt="2024-08-03T09:27:23.610" v="35043" actId="478"/>
          <ac:spMkLst>
            <pc:docMk/>
            <pc:sldMk cId="2763641771" sldId="983"/>
            <ac:spMk id="6" creationId="{F79AC7D6-9707-FA3C-4181-45142247410B}"/>
          </ac:spMkLst>
        </pc:spChg>
        <pc:spChg chg="add mod">
          <ac:chgData name="Andreas Koksrud" userId="9d9beba6-c052-407a-8599-c781a677a996" providerId="ADAL" clId="{4C89AD2D-B60A-479F-9F95-9D423A06FAEA}" dt="2024-08-03T09:27:25.141" v="35045"/>
          <ac:spMkLst>
            <pc:docMk/>
            <pc:sldMk cId="2763641771" sldId="983"/>
            <ac:spMk id="7" creationId="{D2C947CF-B6EB-7B40-A245-11A2432E05C3}"/>
          </ac:spMkLst>
        </pc:spChg>
      </pc:sldChg>
      <pc:sldChg chg="addSp delSp modSp add mod">
        <pc:chgData name="Andreas Koksrud" userId="9d9beba6-c052-407a-8599-c781a677a996" providerId="ADAL" clId="{4C89AD2D-B60A-479F-9F95-9D423A06FAEA}" dt="2024-08-03T09:27:37.307" v="35049"/>
        <pc:sldMkLst>
          <pc:docMk/>
          <pc:sldMk cId="29582" sldId="984"/>
        </pc:sldMkLst>
        <pc:spChg chg="del">
          <ac:chgData name="Andreas Koksrud" userId="9d9beba6-c052-407a-8599-c781a677a996" providerId="ADAL" clId="{4C89AD2D-B60A-479F-9F95-9D423A06FAEA}" dt="2024-08-03T09:27:36.464" v="35048" actId="478"/>
          <ac:spMkLst>
            <pc:docMk/>
            <pc:sldMk cId="29582" sldId="984"/>
            <ac:spMk id="3" creationId="{D716D84C-92F8-0D97-658B-D580A9E686C2}"/>
          </ac:spMkLst>
        </pc:spChg>
        <pc:spChg chg="add mod">
          <ac:chgData name="Andreas Koksrud" userId="9d9beba6-c052-407a-8599-c781a677a996" providerId="ADAL" clId="{4C89AD2D-B60A-479F-9F95-9D423A06FAEA}" dt="2024-08-03T09:27:37.307" v="35049"/>
          <ac:spMkLst>
            <pc:docMk/>
            <pc:sldMk cId="29582" sldId="984"/>
            <ac:spMk id="4" creationId="{E4966BA8-6DBF-4EAA-4EE7-B7353A2504DA}"/>
          </ac:spMkLst>
        </pc:spChg>
        <pc:spChg chg="add mod">
          <ac:chgData name="Andreas Koksrud" userId="9d9beba6-c052-407a-8599-c781a677a996" providerId="ADAL" clId="{4C89AD2D-B60A-479F-9F95-9D423A06FAEA}" dt="2024-08-03T09:27:37.307" v="35049"/>
          <ac:spMkLst>
            <pc:docMk/>
            <pc:sldMk cId="29582" sldId="984"/>
            <ac:spMk id="5" creationId="{9455CF74-42D1-AD16-1F0F-70A933B9FDB3}"/>
          </ac:spMkLst>
        </pc:spChg>
        <pc:spChg chg="del mod">
          <ac:chgData name="Andreas Koksrud" userId="9d9beba6-c052-407a-8599-c781a677a996" providerId="ADAL" clId="{4C89AD2D-B60A-479F-9F95-9D423A06FAEA}" dt="2024-08-03T09:27:35.049" v="35047" actId="478"/>
          <ac:spMkLst>
            <pc:docMk/>
            <pc:sldMk cId="29582" sldId="984"/>
            <ac:spMk id="6" creationId="{F79AC7D6-9707-FA3C-4181-45142247410B}"/>
          </ac:spMkLst>
        </pc:spChg>
      </pc:sldChg>
      <pc:sldChg chg="addSp delSp modSp add del mod">
        <pc:chgData name="Andreas Koksrud" userId="9d9beba6-c052-407a-8599-c781a677a996" providerId="ADAL" clId="{4C89AD2D-B60A-479F-9F95-9D423A06FAEA}" dt="2024-08-03T09:24:05.449" v="34760" actId="2696"/>
        <pc:sldMkLst>
          <pc:docMk/>
          <pc:sldMk cId="933648768" sldId="984"/>
        </pc:sldMkLst>
        <pc:spChg chg="mod">
          <ac:chgData name="Andreas Koksrud" userId="9d9beba6-c052-407a-8599-c781a677a996" providerId="ADAL" clId="{4C89AD2D-B60A-479F-9F95-9D423A06FAEA}" dt="2024-07-02T14:35:39.610" v="17974" actId="20577"/>
          <ac:spMkLst>
            <pc:docMk/>
            <pc:sldMk cId="933648768" sldId="984"/>
            <ac:spMk id="2" creationId="{9796E8C1-5924-9DB3-B51B-75296717F89F}"/>
          </ac:spMkLst>
        </pc:spChg>
        <pc:spChg chg="del">
          <ac:chgData name="Andreas Koksrud" userId="9d9beba6-c052-407a-8599-c781a677a996" providerId="ADAL" clId="{4C89AD2D-B60A-479F-9F95-9D423A06FAEA}" dt="2024-07-02T14:36:02.612" v="17976" actId="478"/>
          <ac:spMkLst>
            <pc:docMk/>
            <pc:sldMk cId="933648768" sldId="984"/>
            <ac:spMk id="11" creationId="{08ECC5E9-F272-B52F-7825-2A6A702B319F}"/>
          </ac:spMkLst>
        </pc:spChg>
        <pc:spChg chg="del">
          <ac:chgData name="Andreas Koksrud" userId="9d9beba6-c052-407a-8599-c781a677a996" providerId="ADAL" clId="{4C89AD2D-B60A-479F-9F95-9D423A06FAEA}" dt="2024-07-02T14:36:02.612" v="17976" actId="478"/>
          <ac:spMkLst>
            <pc:docMk/>
            <pc:sldMk cId="933648768" sldId="984"/>
            <ac:spMk id="12" creationId="{B9BEE2AB-1F32-F312-1D1B-BA023E774B1C}"/>
          </ac:spMkLst>
        </pc:spChg>
        <pc:spChg chg="del">
          <ac:chgData name="Andreas Koksrud" userId="9d9beba6-c052-407a-8599-c781a677a996" providerId="ADAL" clId="{4C89AD2D-B60A-479F-9F95-9D423A06FAEA}" dt="2024-07-02T14:36:02.612" v="17976" actId="478"/>
          <ac:spMkLst>
            <pc:docMk/>
            <pc:sldMk cId="933648768" sldId="984"/>
            <ac:spMk id="13" creationId="{DD7970DD-F435-60ED-9479-AD4450812ED1}"/>
          </ac:spMkLst>
        </pc:spChg>
        <pc:spChg chg="del">
          <ac:chgData name="Andreas Koksrud" userId="9d9beba6-c052-407a-8599-c781a677a996" providerId="ADAL" clId="{4C89AD2D-B60A-479F-9F95-9D423A06FAEA}" dt="2024-07-02T14:36:04.706" v="17977" actId="478"/>
          <ac:spMkLst>
            <pc:docMk/>
            <pc:sldMk cId="933648768" sldId="984"/>
            <ac:spMk id="28" creationId="{DCC3A971-0CA0-D21F-8842-39738C4B733C}"/>
          </ac:spMkLst>
        </pc:spChg>
        <pc:spChg chg="del">
          <ac:chgData name="Andreas Koksrud" userId="9d9beba6-c052-407a-8599-c781a677a996" providerId="ADAL" clId="{4C89AD2D-B60A-479F-9F95-9D423A06FAEA}" dt="2024-07-02T14:36:06.836" v="17978" actId="478"/>
          <ac:spMkLst>
            <pc:docMk/>
            <pc:sldMk cId="933648768" sldId="984"/>
            <ac:spMk id="29" creationId="{A0F16859-2FAB-01FD-D11A-B8A1717AB9E6}"/>
          </ac:spMkLst>
        </pc:spChg>
        <pc:picChg chg="add mod">
          <ac:chgData name="Andreas Koksrud" userId="9d9beba6-c052-407a-8599-c781a677a996" providerId="ADAL" clId="{4C89AD2D-B60A-479F-9F95-9D423A06FAEA}" dt="2024-07-02T14:39:46.950" v="17982" actId="1076"/>
          <ac:picMkLst>
            <pc:docMk/>
            <pc:sldMk cId="933648768" sldId="984"/>
            <ac:picMk id="7" creationId="{50264CB1-7B07-3D62-C9C5-B4760B2398B4}"/>
          </ac:picMkLst>
        </pc:picChg>
        <pc:picChg chg="del mod">
          <ac:chgData name="Andreas Koksrud" userId="9d9beba6-c052-407a-8599-c781a677a996" providerId="ADAL" clId="{4C89AD2D-B60A-479F-9F95-9D423A06FAEA}" dt="2024-07-02T14:36:00.529" v="17975" actId="478"/>
          <ac:picMkLst>
            <pc:docMk/>
            <pc:sldMk cId="933648768" sldId="984"/>
            <ac:picMk id="24" creationId="{EFB4012B-4844-0459-FDD6-4151322CFE59}"/>
          </ac:picMkLst>
        </pc:picChg>
        <pc:cxnChg chg="del">
          <ac:chgData name="Andreas Koksrud" userId="9d9beba6-c052-407a-8599-c781a677a996" providerId="ADAL" clId="{4C89AD2D-B60A-479F-9F95-9D423A06FAEA}" dt="2024-07-02T14:36:02.612" v="17976" actId="478"/>
          <ac:cxnSpMkLst>
            <pc:docMk/>
            <pc:sldMk cId="933648768" sldId="984"/>
            <ac:cxnSpMk id="5" creationId="{99EDF0DF-3AE9-13BB-D977-80F04527045E}"/>
          </ac:cxnSpMkLst>
        </pc:cxnChg>
        <pc:cxnChg chg="add mod">
          <ac:chgData name="Andreas Koksrud" userId="9d9beba6-c052-407a-8599-c781a677a996" providerId="ADAL" clId="{4C89AD2D-B60A-479F-9F95-9D423A06FAEA}" dt="2024-07-02T14:39:54.125" v="17984" actId="14100"/>
          <ac:cxnSpMkLst>
            <pc:docMk/>
            <pc:sldMk cId="933648768" sldId="984"/>
            <ac:cxnSpMk id="8" creationId="{77270D5C-063D-B1F6-4F3B-48C7E839B928}"/>
          </ac:cxnSpMkLst>
        </pc:cxnChg>
        <pc:cxnChg chg="del">
          <ac:chgData name="Andreas Koksrud" userId="9d9beba6-c052-407a-8599-c781a677a996" providerId="ADAL" clId="{4C89AD2D-B60A-479F-9F95-9D423A06FAEA}" dt="2024-07-02T14:36:02.612" v="17976" actId="478"/>
          <ac:cxnSpMkLst>
            <pc:docMk/>
            <pc:sldMk cId="933648768" sldId="984"/>
            <ac:cxnSpMk id="17" creationId="{F994F638-5F12-9B02-1073-08A90570FCE7}"/>
          </ac:cxnSpMkLst>
        </pc:cxnChg>
        <pc:cxnChg chg="del">
          <ac:chgData name="Andreas Koksrud" userId="9d9beba6-c052-407a-8599-c781a677a996" providerId="ADAL" clId="{4C89AD2D-B60A-479F-9F95-9D423A06FAEA}" dt="2024-07-02T14:36:02.612" v="17976" actId="478"/>
          <ac:cxnSpMkLst>
            <pc:docMk/>
            <pc:sldMk cId="933648768" sldId="984"/>
            <ac:cxnSpMk id="19" creationId="{94D2A1A9-C9DA-8E00-2250-56FF710F9E20}"/>
          </ac:cxnSpMkLst>
        </pc:cxnChg>
        <pc:cxnChg chg="del">
          <ac:chgData name="Andreas Koksrud" userId="9d9beba6-c052-407a-8599-c781a677a996" providerId="ADAL" clId="{4C89AD2D-B60A-479F-9F95-9D423A06FAEA}" dt="2024-07-02T14:36:04.706" v="17977" actId="478"/>
          <ac:cxnSpMkLst>
            <pc:docMk/>
            <pc:sldMk cId="933648768" sldId="984"/>
            <ac:cxnSpMk id="30" creationId="{7E767183-2953-BF4E-ADA2-72D40E2B119F}"/>
          </ac:cxnSpMkLst>
        </pc:cxnChg>
        <pc:cxnChg chg="del">
          <ac:chgData name="Andreas Koksrud" userId="9d9beba6-c052-407a-8599-c781a677a996" providerId="ADAL" clId="{4C89AD2D-B60A-479F-9F95-9D423A06FAEA}" dt="2024-07-02T14:36:04.706" v="17977" actId="478"/>
          <ac:cxnSpMkLst>
            <pc:docMk/>
            <pc:sldMk cId="933648768" sldId="984"/>
            <ac:cxnSpMk id="32" creationId="{7000CBB5-772F-F9F7-C5C3-3EE79A64244A}"/>
          </ac:cxnSpMkLst>
        </pc:cxnChg>
      </pc:sldChg>
      <pc:sldChg chg="addSp delSp modSp add mod">
        <pc:chgData name="Andreas Koksrud" userId="9d9beba6-c052-407a-8599-c781a677a996" providerId="ADAL" clId="{4C89AD2D-B60A-479F-9F95-9D423A06FAEA}" dt="2024-07-02T15:15:28.556" v="18601"/>
        <pc:sldMkLst>
          <pc:docMk/>
          <pc:sldMk cId="2373732333" sldId="985"/>
        </pc:sldMkLst>
        <pc:spChg chg="mod">
          <ac:chgData name="Andreas Koksrud" userId="9d9beba6-c052-407a-8599-c781a677a996" providerId="ADAL" clId="{4C89AD2D-B60A-479F-9F95-9D423A06FAEA}" dt="2024-07-02T14:56:56.083" v="18568" actId="20577"/>
          <ac:spMkLst>
            <pc:docMk/>
            <pc:sldMk cId="2373732333" sldId="985"/>
            <ac:spMk id="2" creationId="{9796E8C1-5924-9DB3-B51B-75296717F89F}"/>
          </ac:spMkLst>
        </pc:spChg>
        <pc:spChg chg="mod">
          <ac:chgData name="Andreas Koksrud" userId="9d9beba6-c052-407a-8599-c781a677a996" providerId="ADAL" clId="{4C89AD2D-B60A-479F-9F95-9D423A06FAEA}" dt="2024-07-02T15:15:28.556" v="18601"/>
          <ac:spMkLst>
            <pc:docMk/>
            <pc:sldMk cId="2373732333" sldId="985"/>
            <ac:spMk id="3" creationId="{5FE68121-81AE-F2E5-DCD9-C328BBA3F909}"/>
          </ac:spMkLst>
        </pc:spChg>
        <pc:spChg chg="mod">
          <ac:chgData name="Andreas Koksrud" userId="9d9beba6-c052-407a-8599-c781a677a996" providerId="ADAL" clId="{4C89AD2D-B60A-479F-9F95-9D423A06FAEA}" dt="2024-07-02T15:15:20.123" v="18600"/>
          <ac:spMkLst>
            <pc:docMk/>
            <pc:sldMk cId="2373732333" sldId="985"/>
            <ac:spMk id="4" creationId="{E53BC320-EB76-AACD-B492-E0CEFD69F83A}"/>
          </ac:spMkLst>
        </pc:spChg>
        <pc:spChg chg="mod">
          <ac:chgData name="Andreas Koksrud" userId="9d9beba6-c052-407a-8599-c781a677a996" providerId="ADAL" clId="{4C89AD2D-B60A-479F-9F95-9D423A06FAEA}" dt="2024-07-02T14:55:32.143" v="18379" actId="20577"/>
          <ac:spMkLst>
            <pc:docMk/>
            <pc:sldMk cId="2373732333" sldId="985"/>
            <ac:spMk id="180" creationId="{00000000-0000-0000-0000-000000000000}"/>
          </ac:spMkLst>
        </pc:spChg>
        <pc:picChg chg="add mod">
          <ac:chgData name="Andreas Koksrud" userId="9d9beba6-c052-407a-8599-c781a677a996" providerId="ADAL" clId="{4C89AD2D-B60A-479F-9F95-9D423A06FAEA}" dt="2024-07-02T14:57:23.534" v="18570" actId="1076"/>
          <ac:picMkLst>
            <pc:docMk/>
            <pc:sldMk cId="2373732333" sldId="985"/>
            <ac:picMk id="6" creationId="{04E65978-1008-7A95-E700-4C9A7AAF775C}"/>
          </ac:picMkLst>
        </pc:picChg>
        <pc:picChg chg="del">
          <ac:chgData name="Andreas Koksrud" userId="9d9beba6-c052-407a-8599-c781a677a996" providerId="ADAL" clId="{4C89AD2D-B60A-479F-9F95-9D423A06FAEA}" dt="2024-07-02T14:55:47.703" v="18430" actId="478"/>
          <ac:picMkLst>
            <pc:docMk/>
            <pc:sldMk cId="2373732333" sldId="985"/>
            <ac:picMk id="10" creationId="{89AD7208-33E1-786F-68C4-B07CE69D9B90}"/>
          </ac:picMkLst>
        </pc:picChg>
        <pc:picChg chg="del">
          <ac:chgData name="Andreas Koksrud" userId="9d9beba6-c052-407a-8599-c781a677a996" providerId="ADAL" clId="{4C89AD2D-B60A-479F-9F95-9D423A06FAEA}" dt="2024-07-02T14:55:48.484" v="18431" actId="478"/>
          <ac:picMkLst>
            <pc:docMk/>
            <pc:sldMk cId="2373732333" sldId="985"/>
            <ac:picMk id="13" creationId="{64C063CB-5F33-4B77-965C-B90C6AE27B39}"/>
          </ac:picMkLst>
        </pc:picChg>
        <pc:cxnChg chg="del">
          <ac:chgData name="Andreas Koksrud" userId="9d9beba6-c052-407a-8599-c781a677a996" providerId="ADAL" clId="{4C89AD2D-B60A-479F-9F95-9D423A06FAEA}" dt="2024-07-02T14:55:49.933" v="18432" actId="478"/>
          <ac:cxnSpMkLst>
            <pc:docMk/>
            <pc:sldMk cId="2373732333" sldId="985"/>
            <ac:cxnSpMk id="14" creationId="{EBD79003-BA5F-9EC4-AB1E-B169474A75BA}"/>
          </ac:cxnSpMkLst>
        </pc:cxnChg>
      </pc:sldChg>
      <pc:sldChg chg="addSp modSp add mod">
        <pc:chgData name="Andreas Koksrud" userId="9d9beba6-c052-407a-8599-c781a677a996" providerId="ADAL" clId="{4C89AD2D-B60A-479F-9F95-9D423A06FAEA}" dt="2024-07-13T21:46:18.768" v="21483" actId="255"/>
        <pc:sldMkLst>
          <pc:docMk/>
          <pc:sldMk cId="3094626849" sldId="986"/>
        </pc:sldMkLst>
        <pc:spChg chg="mod">
          <ac:chgData name="Andreas Koksrud" userId="9d9beba6-c052-407a-8599-c781a677a996" providerId="ADAL" clId="{4C89AD2D-B60A-479F-9F95-9D423A06FAEA}" dt="2024-07-13T21:42:00.368" v="21435" actId="404"/>
          <ac:spMkLst>
            <pc:docMk/>
            <pc:sldMk cId="3094626849" sldId="986"/>
            <ac:spMk id="2" creationId="{8D9AF8E0-ED58-049B-F591-0FAE74AD16DC}"/>
          </ac:spMkLst>
        </pc:spChg>
        <pc:spChg chg="mod">
          <ac:chgData name="Andreas Koksrud" userId="9d9beba6-c052-407a-8599-c781a677a996" providerId="ADAL" clId="{4C89AD2D-B60A-479F-9F95-9D423A06FAEA}" dt="2024-07-13T21:41:48.612" v="21433" actId="20577"/>
          <ac:spMkLst>
            <pc:docMk/>
            <pc:sldMk cId="3094626849" sldId="986"/>
            <ac:spMk id="5" creationId="{6FF65290-59AB-6DD3-3EA1-31BF85E26153}"/>
          </ac:spMkLst>
        </pc:spChg>
        <pc:spChg chg="add mod">
          <ac:chgData name="Andreas Koksrud" userId="9d9beba6-c052-407a-8599-c781a677a996" providerId="ADAL" clId="{4C89AD2D-B60A-479F-9F95-9D423A06FAEA}" dt="2024-07-13T21:46:18.768" v="21483" actId="255"/>
          <ac:spMkLst>
            <pc:docMk/>
            <pc:sldMk cId="3094626849" sldId="986"/>
            <ac:spMk id="6" creationId="{5C6587C5-D11C-661C-90C2-76F3FED824FB}"/>
          </ac:spMkLst>
        </pc:spChg>
        <pc:spChg chg="add mod">
          <ac:chgData name="Andreas Koksrud" userId="9d9beba6-c052-407a-8599-c781a677a996" providerId="ADAL" clId="{4C89AD2D-B60A-479F-9F95-9D423A06FAEA}" dt="2024-07-13T21:46:05.990" v="21479" actId="20577"/>
          <ac:spMkLst>
            <pc:docMk/>
            <pc:sldMk cId="3094626849" sldId="986"/>
            <ac:spMk id="7" creationId="{09295E3C-2A09-2FBA-E4DF-E7529346477C}"/>
          </ac:spMkLst>
        </pc:spChg>
        <pc:spChg chg="mod">
          <ac:chgData name="Andreas Koksrud" userId="9d9beba6-c052-407a-8599-c781a677a996" providerId="ADAL" clId="{4C89AD2D-B60A-479F-9F95-9D423A06FAEA}" dt="2024-07-13T21:24:37.953" v="20803" actId="20577"/>
          <ac:spMkLst>
            <pc:docMk/>
            <pc:sldMk cId="3094626849" sldId="986"/>
            <ac:spMk id="180" creationId="{00000000-0000-0000-0000-000000000000}"/>
          </ac:spMkLst>
        </pc:spChg>
        <pc:spChg chg="mod">
          <ac:chgData name="Andreas Koksrud" userId="9d9beba6-c052-407a-8599-c781a677a996" providerId="ADAL" clId="{4C89AD2D-B60A-479F-9F95-9D423A06FAEA}" dt="2024-07-13T21:42:21.986" v="21459" actId="20577"/>
          <ac:spMkLst>
            <pc:docMk/>
            <pc:sldMk cId="3094626849" sldId="986"/>
            <ac:spMk id="181" creationId="{00000000-0000-0000-0000-000000000000}"/>
          </ac:spMkLst>
        </pc:spChg>
      </pc:sldChg>
      <pc:sldChg chg="addSp modSp add mod">
        <pc:chgData name="Andreas Koksrud" userId="9d9beba6-c052-407a-8599-c781a677a996" providerId="ADAL" clId="{4C89AD2D-B60A-479F-9F95-9D423A06FAEA}" dt="2024-07-13T21:33:43.274" v="21392" actId="13926"/>
        <pc:sldMkLst>
          <pc:docMk/>
          <pc:sldMk cId="1120336581" sldId="987"/>
        </pc:sldMkLst>
        <pc:spChg chg="mod">
          <ac:chgData name="Andreas Koksrud" userId="9d9beba6-c052-407a-8599-c781a677a996" providerId="ADAL" clId="{4C89AD2D-B60A-479F-9F95-9D423A06FAEA}" dt="2024-07-13T21:31:00.654" v="21351"/>
          <ac:spMkLst>
            <pc:docMk/>
            <pc:sldMk cId="1120336581" sldId="987"/>
            <ac:spMk id="2" creationId="{8D9AF8E0-ED58-049B-F591-0FAE74AD16DC}"/>
          </ac:spMkLst>
        </pc:spChg>
        <pc:spChg chg="mod">
          <ac:chgData name="Andreas Koksrud" userId="9d9beba6-c052-407a-8599-c781a677a996" providerId="ADAL" clId="{4C89AD2D-B60A-479F-9F95-9D423A06FAEA}" dt="2024-07-13T21:29:52.079" v="21350" actId="14100"/>
          <ac:spMkLst>
            <pc:docMk/>
            <pc:sldMk cId="1120336581" sldId="987"/>
            <ac:spMk id="5" creationId="{6FF65290-59AB-6DD3-3EA1-31BF85E26153}"/>
          </ac:spMkLst>
        </pc:spChg>
        <pc:spChg chg="add mod">
          <ac:chgData name="Andreas Koksrud" userId="9d9beba6-c052-407a-8599-c781a677a996" providerId="ADAL" clId="{4C89AD2D-B60A-479F-9F95-9D423A06FAEA}" dt="2024-07-13T21:32:10.708" v="21355" actId="404"/>
          <ac:spMkLst>
            <pc:docMk/>
            <pc:sldMk cId="1120336581" sldId="987"/>
            <ac:spMk id="6" creationId="{A284A32E-D6B6-8EFB-17F9-2990ABA20C35}"/>
          </ac:spMkLst>
        </pc:spChg>
        <pc:spChg chg="add mod">
          <ac:chgData name="Andreas Koksrud" userId="9d9beba6-c052-407a-8599-c781a677a996" providerId="ADAL" clId="{4C89AD2D-B60A-479F-9F95-9D423A06FAEA}" dt="2024-07-13T21:32:22.678" v="21378" actId="20577"/>
          <ac:spMkLst>
            <pc:docMk/>
            <pc:sldMk cId="1120336581" sldId="987"/>
            <ac:spMk id="7" creationId="{D1C3C8F3-9C8D-AA61-4C59-8029E0C8DF43}"/>
          </ac:spMkLst>
        </pc:spChg>
        <pc:spChg chg="mod">
          <ac:chgData name="Andreas Koksrud" userId="9d9beba6-c052-407a-8599-c781a677a996" providerId="ADAL" clId="{4C89AD2D-B60A-479F-9F95-9D423A06FAEA}" dt="2024-07-13T21:27:19.765" v="20991" actId="20577"/>
          <ac:spMkLst>
            <pc:docMk/>
            <pc:sldMk cId="1120336581" sldId="987"/>
            <ac:spMk id="180" creationId="{00000000-0000-0000-0000-000000000000}"/>
          </ac:spMkLst>
        </pc:spChg>
        <pc:spChg chg="mod">
          <ac:chgData name="Andreas Koksrud" userId="9d9beba6-c052-407a-8599-c781a677a996" providerId="ADAL" clId="{4C89AD2D-B60A-479F-9F95-9D423A06FAEA}" dt="2024-07-13T21:33:43.274" v="21392" actId="13926"/>
          <ac:spMkLst>
            <pc:docMk/>
            <pc:sldMk cId="1120336581" sldId="987"/>
            <ac:spMk id="181" creationId="{00000000-0000-0000-0000-000000000000}"/>
          </ac:spMkLst>
        </pc:spChg>
      </pc:sldChg>
      <pc:sldChg chg="modSp add mod ord">
        <pc:chgData name="Andreas Koksrud" userId="9d9beba6-c052-407a-8599-c781a677a996" providerId="ADAL" clId="{4C89AD2D-B60A-479F-9F95-9D423A06FAEA}" dt="2024-08-03T09:30:45.767" v="35098" actId="6549"/>
        <pc:sldMkLst>
          <pc:docMk/>
          <pc:sldMk cId="2633229105" sldId="988"/>
        </pc:sldMkLst>
        <pc:spChg chg="mod">
          <ac:chgData name="Andreas Koksrud" userId="9d9beba6-c052-407a-8599-c781a677a996" providerId="ADAL" clId="{4C89AD2D-B60A-479F-9F95-9D423A06FAEA}" dt="2024-07-15T20:48:12.761" v="23470" actId="20577"/>
          <ac:spMkLst>
            <pc:docMk/>
            <pc:sldMk cId="2633229105" sldId="988"/>
            <ac:spMk id="4" creationId="{6D5A99BA-E2FE-FBF1-0ABF-DEC72FED1C6A}"/>
          </ac:spMkLst>
        </pc:spChg>
        <pc:spChg chg="mod">
          <ac:chgData name="Andreas Koksrud" userId="9d9beba6-c052-407a-8599-c781a677a996" providerId="ADAL" clId="{4C89AD2D-B60A-479F-9F95-9D423A06FAEA}" dt="2024-07-15T20:48:22.153" v="23500" actId="20577"/>
          <ac:spMkLst>
            <pc:docMk/>
            <pc:sldMk cId="2633229105" sldId="988"/>
            <ac:spMk id="180" creationId="{00000000-0000-0000-0000-000000000000}"/>
          </ac:spMkLst>
        </pc:spChg>
        <pc:spChg chg="mod">
          <ac:chgData name="Andreas Koksrud" userId="9d9beba6-c052-407a-8599-c781a677a996" providerId="ADAL" clId="{4C89AD2D-B60A-479F-9F95-9D423A06FAEA}" dt="2024-08-03T09:30:45.767" v="35098" actId="6549"/>
          <ac:spMkLst>
            <pc:docMk/>
            <pc:sldMk cId="2633229105" sldId="988"/>
            <ac:spMk id="181" creationId="{00000000-0000-0000-0000-000000000000}"/>
          </ac:spMkLst>
        </pc:spChg>
      </pc:sldChg>
      <pc:sldChg chg="addSp modSp add mod">
        <pc:chgData name="Andreas Koksrud" userId="9d9beba6-c052-407a-8599-c781a677a996" providerId="ADAL" clId="{4C89AD2D-B60A-479F-9F95-9D423A06FAEA}" dt="2024-07-16T14:05:00.326" v="25103" actId="1076"/>
        <pc:sldMkLst>
          <pc:docMk/>
          <pc:sldMk cId="2858715144" sldId="989"/>
        </pc:sldMkLst>
        <pc:spChg chg="mod">
          <ac:chgData name="Andreas Koksrud" userId="9d9beba6-c052-407a-8599-c781a677a996" providerId="ADAL" clId="{4C89AD2D-B60A-479F-9F95-9D423A06FAEA}" dt="2024-07-16T14:03:53.051" v="25060" actId="20577"/>
          <ac:spMkLst>
            <pc:docMk/>
            <pc:sldMk cId="2858715144" sldId="989"/>
            <ac:spMk id="5" creationId="{6FF65290-59AB-6DD3-3EA1-31BF85E26153}"/>
          </ac:spMkLst>
        </pc:spChg>
        <pc:spChg chg="add mod">
          <ac:chgData name="Andreas Koksrud" userId="9d9beba6-c052-407a-8599-c781a677a996" providerId="ADAL" clId="{4C89AD2D-B60A-479F-9F95-9D423A06FAEA}" dt="2024-07-16T14:03:59.538" v="25061" actId="571"/>
          <ac:spMkLst>
            <pc:docMk/>
            <pc:sldMk cId="2858715144" sldId="989"/>
            <ac:spMk id="6" creationId="{1862D493-66B2-EDB8-2D6F-2AFE9D103CD7}"/>
          </ac:spMkLst>
        </pc:spChg>
        <pc:spChg chg="add mod">
          <ac:chgData name="Andreas Koksrud" userId="9d9beba6-c052-407a-8599-c781a677a996" providerId="ADAL" clId="{4C89AD2D-B60A-479F-9F95-9D423A06FAEA}" dt="2024-07-16T14:04:04.355" v="25074" actId="20577"/>
          <ac:spMkLst>
            <pc:docMk/>
            <pc:sldMk cId="2858715144" sldId="989"/>
            <ac:spMk id="7" creationId="{6372AB75-E59F-98C2-C54D-561832D88990}"/>
          </ac:spMkLst>
        </pc:spChg>
        <pc:spChg chg="mod">
          <ac:chgData name="Andreas Koksrud" userId="9d9beba6-c052-407a-8599-c781a677a996" providerId="ADAL" clId="{4C89AD2D-B60A-479F-9F95-9D423A06FAEA}" dt="2024-07-16T14:03:42.311" v="25034" actId="6549"/>
          <ac:spMkLst>
            <pc:docMk/>
            <pc:sldMk cId="2858715144" sldId="989"/>
            <ac:spMk id="180" creationId="{00000000-0000-0000-0000-000000000000}"/>
          </ac:spMkLst>
        </pc:spChg>
        <pc:spChg chg="mod">
          <ac:chgData name="Andreas Koksrud" userId="9d9beba6-c052-407a-8599-c781a677a996" providerId="ADAL" clId="{4C89AD2D-B60A-479F-9F95-9D423A06FAEA}" dt="2024-07-16T14:04:15.772" v="25101" actId="20577"/>
          <ac:spMkLst>
            <pc:docMk/>
            <pc:sldMk cId="2858715144" sldId="989"/>
            <ac:spMk id="181" creationId="{00000000-0000-0000-0000-000000000000}"/>
          </ac:spMkLst>
        </pc:spChg>
        <pc:picChg chg="add mod">
          <ac:chgData name="Andreas Koksrud" userId="9d9beba6-c052-407a-8599-c781a677a996" providerId="ADAL" clId="{4C89AD2D-B60A-479F-9F95-9D423A06FAEA}" dt="2024-07-16T14:05:00.326" v="25103" actId="1076"/>
          <ac:picMkLst>
            <pc:docMk/>
            <pc:sldMk cId="2858715144" sldId="989"/>
            <ac:picMk id="9" creationId="{40DFFF7A-EBA7-1203-CE7B-482EACEAF8A4}"/>
          </ac:picMkLst>
        </pc:picChg>
      </pc:sldChg>
      <pc:sldChg chg="modSp add mod">
        <pc:chgData name="Andreas Koksrud" userId="9d9beba6-c052-407a-8599-c781a677a996" providerId="ADAL" clId="{4C89AD2D-B60A-479F-9F95-9D423A06FAEA}" dt="2024-07-16T13:59:46.186" v="24808" actId="20577"/>
        <pc:sldMkLst>
          <pc:docMk/>
          <pc:sldMk cId="1472919352" sldId="990"/>
        </pc:sldMkLst>
        <pc:spChg chg="mod">
          <ac:chgData name="Andreas Koksrud" userId="9d9beba6-c052-407a-8599-c781a677a996" providerId="ADAL" clId="{4C89AD2D-B60A-479F-9F95-9D423A06FAEA}" dt="2024-07-16T13:59:46.186" v="24808" actId="20577"/>
          <ac:spMkLst>
            <pc:docMk/>
            <pc:sldMk cId="1472919352" sldId="990"/>
            <ac:spMk id="180" creationId="{00000000-0000-0000-0000-000000000000}"/>
          </ac:spMkLst>
        </pc:spChg>
      </pc:sldChg>
      <pc:sldChg chg="addSp delSp modSp add mod">
        <pc:chgData name="Andreas Koksrud" userId="9d9beba6-c052-407a-8599-c781a677a996" providerId="ADAL" clId="{4C89AD2D-B60A-479F-9F95-9D423A06FAEA}" dt="2024-08-04T16:18:14.926" v="36651" actId="6549"/>
        <pc:sldMkLst>
          <pc:docMk/>
          <pc:sldMk cId="1776970496" sldId="991"/>
        </pc:sldMkLst>
        <pc:spChg chg="add del mod">
          <ac:chgData name="Andreas Koksrud" userId="9d9beba6-c052-407a-8599-c781a677a996" providerId="ADAL" clId="{4C89AD2D-B60A-479F-9F95-9D423A06FAEA}" dt="2024-07-16T14:34:28.409" v="25526" actId="478"/>
          <ac:spMkLst>
            <pc:docMk/>
            <pc:sldMk cId="1776970496" sldId="991"/>
            <ac:spMk id="5" creationId="{AE972852-34D4-4DD2-028D-0685ACDDBB82}"/>
          </ac:spMkLst>
        </pc:spChg>
        <pc:spChg chg="mod">
          <ac:chgData name="Andreas Koksrud" userId="9d9beba6-c052-407a-8599-c781a677a996" providerId="ADAL" clId="{4C89AD2D-B60A-479F-9F95-9D423A06FAEA}" dt="2024-08-04T16:18:14.926" v="36651" actId="6549"/>
          <ac:spMkLst>
            <pc:docMk/>
            <pc:sldMk cId="1776970496" sldId="991"/>
            <ac:spMk id="180" creationId="{00000000-0000-0000-0000-000000000000}"/>
          </ac:spMkLst>
        </pc:spChg>
        <pc:spChg chg="del">
          <ac:chgData name="Andreas Koksrud" userId="9d9beba6-c052-407a-8599-c781a677a996" providerId="ADAL" clId="{4C89AD2D-B60A-479F-9F95-9D423A06FAEA}" dt="2024-07-16T14:34:26.026" v="25525" actId="478"/>
          <ac:spMkLst>
            <pc:docMk/>
            <pc:sldMk cId="1776970496" sldId="991"/>
            <ac:spMk id="181" creationId="{00000000-0000-0000-0000-000000000000}"/>
          </ac:spMkLst>
        </pc:spChg>
        <pc:picChg chg="add mod">
          <ac:chgData name="Andreas Koksrud" userId="9d9beba6-c052-407a-8599-c781a677a996" providerId="ADAL" clId="{4C89AD2D-B60A-479F-9F95-9D423A06FAEA}" dt="2024-07-16T19:25:14.239" v="25574" actId="1076"/>
          <ac:picMkLst>
            <pc:docMk/>
            <pc:sldMk cId="1776970496" sldId="991"/>
            <ac:picMk id="7" creationId="{91833619-A476-327D-88DA-9475C1F98D1C}"/>
          </ac:picMkLst>
        </pc:picChg>
      </pc:sldChg>
      <pc:sldChg chg="addSp modSp add mod">
        <pc:chgData name="Andreas Koksrud" userId="9d9beba6-c052-407a-8599-c781a677a996" providerId="ADAL" clId="{4C89AD2D-B60A-479F-9F95-9D423A06FAEA}" dt="2024-07-16T14:37:52.129" v="25571" actId="14100"/>
        <pc:sldMkLst>
          <pc:docMk/>
          <pc:sldMk cId="3392338419" sldId="992"/>
        </pc:sldMkLst>
        <pc:spChg chg="mod">
          <ac:chgData name="Andreas Koksrud" userId="9d9beba6-c052-407a-8599-c781a677a996" providerId="ADAL" clId="{4C89AD2D-B60A-479F-9F95-9D423A06FAEA}" dt="2024-07-16T14:34:39.132" v="25538" actId="20577"/>
          <ac:spMkLst>
            <pc:docMk/>
            <pc:sldMk cId="3392338419" sldId="992"/>
            <ac:spMk id="180" creationId="{00000000-0000-0000-0000-000000000000}"/>
          </ac:spMkLst>
        </pc:spChg>
        <pc:picChg chg="add mod">
          <ac:chgData name="Andreas Koksrud" userId="9d9beba6-c052-407a-8599-c781a677a996" providerId="ADAL" clId="{4C89AD2D-B60A-479F-9F95-9D423A06FAEA}" dt="2024-07-16T14:37:52.129" v="25571" actId="14100"/>
          <ac:picMkLst>
            <pc:docMk/>
            <pc:sldMk cId="3392338419" sldId="992"/>
            <ac:picMk id="5" creationId="{890C43C2-0C1E-2AD4-0E89-60FEB2D6D985}"/>
          </ac:picMkLst>
        </pc:picChg>
      </pc:sldChg>
      <pc:sldChg chg="addSp modSp add mod">
        <pc:chgData name="Andreas Koksrud" userId="9d9beba6-c052-407a-8599-c781a677a996" providerId="ADAL" clId="{4C89AD2D-B60A-479F-9F95-9D423A06FAEA}" dt="2024-07-16T14:36:06.137" v="25567" actId="1076"/>
        <pc:sldMkLst>
          <pc:docMk/>
          <pc:sldMk cId="3849634961" sldId="993"/>
        </pc:sldMkLst>
        <pc:spChg chg="mod">
          <ac:chgData name="Andreas Koksrud" userId="9d9beba6-c052-407a-8599-c781a677a996" providerId="ADAL" clId="{4C89AD2D-B60A-479F-9F95-9D423A06FAEA}" dt="2024-07-16T14:34:49.882" v="25564" actId="20577"/>
          <ac:spMkLst>
            <pc:docMk/>
            <pc:sldMk cId="3849634961" sldId="993"/>
            <ac:spMk id="180" creationId="{00000000-0000-0000-0000-000000000000}"/>
          </ac:spMkLst>
        </pc:spChg>
        <pc:picChg chg="add mod">
          <ac:chgData name="Andreas Koksrud" userId="9d9beba6-c052-407a-8599-c781a677a996" providerId="ADAL" clId="{4C89AD2D-B60A-479F-9F95-9D423A06FAEA}" dt="2024-07-16T14:36:06.137" v="25567" actId="1076"/>
          <ac:picMkLst>
            <pc:docMk/>
            <pc:sldMk cId="3849634961" sldId="993"/>
            <ac:picMk id="5" creationId="{B319825E-FFD7-7D6B-8E09-964106608A80}"/>
          </ac:picMkLst>
        </pc:picChg>
      </pc:sldChg>
      <pc:sldChg chg="addSp delSp modSp add mod">
        <pc:chgData name="Andreas Koksrud" userId="9d9beba6-c052-407a-8599-c781a677a996" providerId="ADAL" clId="{4C89AD2D-B60A-479F-9F95-9D423A06FAEA}" dt="2024-07-17T13:58:59.868" v="25829" actId="14100"/>
        <pc:sldMkLst>
          <pc:docMk/>
          <pc:sldMk cId="3249461836" sldId="994"/>
        </pc:sldMkLst>
        <pc:spChg chg="add del mod">
          <ac:chgData name="Andreas Koksrud" userId="9d9beba6-c052-407a-8599-c781a677a996" providerId="ADAL" clId="{4C89AD2D-B60A-479F-9F95-9D423A06FAEA}" dt="2024-07-17T13:38:11.930" v="25788" actId="478"/>
          <ac:spMkLst>
            <pc:docMk/>
            <pc:sldMk cId="3249461836" sldId="994"/>
            <ac:spMk id="5" creationId="{B788543F-F273-2A78-E8BE-244C6CDD120F}"/>
          </ac:spMkLst>
        </pc:spChg>
        <pc:spChg chg="mod">
          <ac:chgData name="Andreas Koksrud" userId="9d9beba6-c052-407a-8599-c781a677a996" providerId="ADAL" clId="{4C89AD2D-B60A-479F-9F95-9D423A06FAEA}" dt="2024-07-17T13:37:49.485" v="25750" actId="20577"/>
          <ac:spMkLst>
            <pc:docMk/>
            <pc:sldMk cId="3249461836" sldId="994"/>
            <ac:spMk id="180" creationId="{00000000-0000-0000-0000-000000000000}"/>
          </ac:spMkLst>
        </pc:spChg>
        <pc:spChg chg="del">
          <ac:chgData name="Andreas Koksrud" userId="9d9beba6-c052-407a-8599-c781a677a996" providerId="ADAL" clId="{4C89AD2D-B60A-479F-9F95-9D423A06FAEA}" dt="2024-07-17T13:38:09.500" v="25787" actId="478"/>
          <ac:spMkLst>
            <pc:docMk/>
            <pc:sldMk cId="3249461836" sldId="994"/>
            <ac:spMk id="181" creationId="{00000000-0000-0000-0000-000000000000}"/>
          </ac:spMkLst>
        </pc:spChg>
        <pc:picChg chg="add mod">
          <ac:chgData name="Andreas Koksrud" userId="9d9beba6-c052-407a-8599-c781a677a996" providerId="ADAL" clId="{4C89AD2D-B60A-479F-9F95-9D423A06FAEA}" dt="2024-07-17T13:38:34.508" v="25790" actId="1076"/>
          <ac:picMkLst>
            <pc:docMk/>
            <pc:sldMk cId="3249461836" sldId="994"/>
            <ac:picMk id="7" creationId="{49BCFA56-C595-405B-D07A-1AC760A79995}"/>
          </ac:picMkLst>
        </pc:picChg>
        <pc:picChg chg="add mod">
          <ac:chgData name="Andreas Koksrud" userId="9d9beba6-c052-407a-8599-c781a677a996" providerId="ADAL" clId="{4C89AD2D-B60A-479F-9F95-9D423A06FAEA}" dt="2024-07-17T13:39:05.432" v="25793" actId="1076"/>
          <ac:picMkLst>
            <pc:docMk/>
            <pc:sldMk cId="3249461836" sldId="994"/>
            <ac:picMk id="9" creationId="{777C13A7-538E-EE89-5A23-9FDDABBA193F}"/>
          </ac:picMkLst>
        </pc:picChg>
        <pc:picChg chg="add mod">
          <ac:chgData name="Andreas Koksrud" userId="9d9beba6-c052-407a-8599-c781a677a996" providerId="ADAL" clId="{4C89AD2D-B60A-479F-9F95-9D423A06FAEA}" dt="2024-07-17T13:48:29.575" v="25798" actId="1076"/>
          <ac:picMkLst>
            <pc:docMk/>
            <pc:sldMk cId="3249461836" sldId="994"/>
            <ac:picMk id="11" creationId="{4A0B84DF-B065-8FAF-2AE8-0ABADDB89BAA}"/>
          </ac:picMkLst>
        </pc:picChg>
        <pc:picChg chg="add mod">
          <ac:chgData name="Andreas Koksrud" userId="9d9beba6-c052-407a-8599-c781a677a996" providerId="ADAL" clId="{4C89AD2D-B60A-479F-9F95-9D423A06FAEA}" dt="2024-07-17T13:58:41.922" v="25808" actId="1076"/>
          <ac:picMkLst>
            <pc:docMk/>
            <pc:sldMk cId="3249461836" sldId="994"/>
            <ac:picMk id="18" creationId="{73155E44-CB80-5100-9BCB-18F39E2E999D}"/>
          </ac:picMkLst>
        </pc:picChg>
        <pc:cxnChg chg="add mod">
          <ac:chgData name="Andreas Koksrud" userId="9d9beba6-c052-407a-8599-c781a677a996" providerId="ADAL" clId="{4C89AD2D-B60A-479F-9F95-9D423A06FAEA}" dt="2024-07-17T13:48:49.486" v="25801" actId="14100"/>
          <ac:cxnSpMkLst>
            <pc:docMk/>
            <pc:sldMk cId="3249461836" sldId="994"/>
            <ac:cxnSpMk id="12" creationId="{99AE8916-9758-29C7-A907-AEB8A135DAFC}"/>
          </ac:cxnSpMkLst>
        </pc:cxnChg>
        <pc:cxnChg chg="add mod">
          <ac:chgData name="Andreas Koksrud" userId="9d9beba6-c052-407a-8599-c781a677a996" providerId="ADAL" clId="{4C89AD2D-B60A-479F-9F95-9D423A06FAEA}" dt="2024-07-17T13:48:57.343" v="25804" actId="14100"/>
          <ac:cxnSpMkLst>
            <pc:docMk/>
            <pc:sldMk cId="3249461836" sldId="994"/>
            <ac:cxnSpMk id="14" creationId="{0AE26C64-5652-C940-267A-AC37D6743272}"/>
          </ac:cxnSpMkLst>
        </pc:cxnChg>
        <pc:cxnChg chg="add mod">
          <ac:chgData name="Andreas Koksrud" userId="9d9beba6-c052-407a-8599-c781a677a996" providerId="ADAL" clId="{4C89AD2D-B60A-479F-9F95-9D423A06FAEA}" dt="2024-07-17T13:58:59.868" v="25829" actId="14100"/>
          <ac:cxnSpMkLst>
            <pc:docMk/>
            <pc:sldMk cId="3249461836" sldId="994"/>
            <ac:cxnSpMk id="19" creationId="{6FCF9A0D-203B-2D9B-06A2-37AC4F81F677}"/>
          </ac:cxnSpMkLst>
        </pc:cxnChg>
      </pc:sldChg>
      <pc:sldChg chg="addSp delSp modSp add mod">
        <pc:chgData name="Andreas Koksrud" userId="9d9beba6-c052-407a-8599-c781a677a996" providerId="ADAL" clId="{4C89AD2D-B60A-479F-9F95-9D423A06FAEA}" dt="2024-08-04T16:29:41.428" v="37114" actId="167"/>
        <pc:sldMkLst>
          <pc:docMk/>
          <pc:sldMk cId="1236723272" sldId="995"/>
        </pc:sldMkLst>
        <pc:spChg chg="add del mod">
          <ac:chgData name="Andreas Koksrud" userId="9d9beba6-c052-407a-8599-c781a677a996" providerId="ADAL" clId="{4C89AD2D-B60A-479F-9F95-9D423A06FAEA}" dt="2024-07-17T13:59:15.452" v="25834" actId="478"/>
          <ac:spMkLst>
            <pc:docMk/>
            <pc:sldMk cId="1236723272" sldId="995"/>
            <ac:spMk id="5" creationId="{F1ECBE37-5110-345A-A3C0-FA6404DA82CF}"/>
          </ac:spMkLst>
        </pc:spChg>
        <pc:spChg chg="add mod">
          <ac:chgData name="Andreas Koksrud" userId="9d9beba6-c052-407a-8599-c781a677a996" providerId="ADAL" clId="{4C89AD2D-B60A-479F-9F95-9D423A06FAEA}" dt="2024-07-17T14:00:38.775" v="25841" actId="208"/>
          <ac:spMkLst>
            <pc:docMk/>
            <pc:sldMk cId="1236723272" sldId="995"/>
            <ac:spMk id="10" creationId="{77ED7EAE-5FE2-B0F2-32A7-0268EE010298}"/>
          </ac:spMkLst>
        </pc:spChg>
        <pc:spChg chg="add mod">
          <ac:chgData name="Andreas Koksrud" userId="9d9beba6-c052-407a-8599-c781a677a996" providerId="ADAL" clId="{4C89AD2D-B60A-479F-9F95-9D423A06FAEA}" dt="2024-07-17T14:00:45.854" v="25843" actId="14100"/>
          <ac:spMkLst>
            <pc:docMk/>
            <pc:sldMk cId="1236723272" sldId="995"/>
            <ac:spMk id="11" creationId="{3E8336CD-028F-9C8F-2BFF-11BEFF8B2D0B}"/>
          </ac:spMkLst>
        </pc:spChg>
        <pc:spChg chg="add mod">
          <ac:chgData name="Andreas Koksrud" userId="9d9beba6-c052-407a-8599-c781a677a996" providerId="ADAL" clId="{4C89AD2D-B60A-479F-9F95-9D423A06FAEA}" dt="2024-07-17T14:03:55.850" v="25855" actId="571"/>
          <ac:spMkLst>
            <pc:docMk/>
            <pc:sldMk cId="1236723272" sldId="995"/>
            <ac:spMk id="21" creationId="{2F9A712B-EA00-B16A-78E5-582E38C430FF}"/>
          </ac:spMkLst>
        </pc:spChg>
        <pc:spChg chg="add mod ord">
          <ac:chgData name="Andreas Koksrud" userId="9d9beba6-c052-407a-8599-c781a677a996" providerId="ADAL" clId="{4C89AD2D-B60A-479F-9F95-9D423A06FAEA}" dt="2024-08-04T16:29:41.428" v="37114" actId="167"/>
          <ac:spMkLst>
            <pc:docMk/>
            <pc:sldMk cId="1236723272" sldId="995"/>
            <ac:spMk id="22" creationId="{F01BE91C-44DB-2060-582F-FD0F5B78ACA7}"/>
          </ac:spMkLst>
        </pc:spChg>
        <pc:spChg chg="add mod">
          <ac:chgData name="Andreas Koksrud" userId="9d9beba6-c052-407a-8599-c781a677a996" providerId="ADAL" clId="{4C89AD2D-B60A-479F-9F95-9D423A06FAEA}" dt="2024-07-17T14:04:37.404" v="25897" actId="14100"/>
          <ac:spMkLst>
            <pc:docMk/>
            <pc:sldMk cId="1236723272" sldId="995"/>
            <ac:spMk id="23" creationId="{8E6DD217-48A6-3D1E-30FF-D8FC04D0F012}"/>
          </ac:spMkLst>
        </pc:spChg>
        <pc:spChg chg="mod">
          <ac:chgData name="Andreas Koksrud" userId="9d9beba6-c052-407a-8599-c781a677a996" providerId="ADAL" clId="{4C89AD2D-B60A-479F-9F95-9D423A06FAEA}" dt="2024-07-17T13:59:12.039" v="25832" actId="6549"/>
          <ac:spMkLst>
            <pc:docMk/>
            <pc:sldMk cId="1236723272" sldId="995"/>
            <ac:spMk id="180" creationId="{00000000-0000-0000-0000-000000000000}"/>
          </ac:spMkLst>
        </pc:spChg>
        <pc:spChg chg="del mod">
          <ac:chgData name="Andreas Koksrud" userId="9d9beba6-c052-407a-8599-c781a677a996" providerId="ADAL" clId="{4C89AD2D-B60A-479F-9F95-9D423A06FAEA}" dt="2024-07-17T13:59:13.492" v="25833" actId="478"/>
          <ac:spMkLst>
            <pc:docMk/>
            <pc:sldMk cId="1236723272" sldId="995"/>
            <ac:spMk id="181" creationId="{00000000-0000-0000-0000-000000000000}"/>
          </ac:spMkLst>
        </pc:spChg>
        <pc:picChg chg="add mod">
          <ac:chgData name="Andreas Koksrud" userId="9d9beba6-c052-407a-8599-c781a677a996" providerId="ADAL" clId="{4C89AD2D-B60A-479F-9F95-9D423A06FAEA}" dt="2024-07-17T13:59:59.873" v="25836" actId="1076"/>
          <ac:picMkLst>
            <pc:docMk/>
            <pc:sldMk cId="1236723272" sldId="995"/>
            <ac:picMk id="7" creationId="{810A6DB4-6264-6832-D731-99862E48FB13}"/>
          </ac:picMkLst>
        </pc:picChg>
        <pc:picChg chg="add mod">
          <ac:chgData name="Andreas Koksrud" userId="9d9beba6-c052-407a-8599-c781a677a996" providerId="ADAL" clId="{4C89AD2D-B60A-479F-9F95-9D423A06FAEA}" dt="2024-07-17T14:01:08.908" v="25846" actId="1076"/>
          <ac:picMkLst>
            <pc:docMk/>
            <pc:sldMk cId="1236723272" sldId="995"/>
            <ac:picMk id="13" creationId="{061043A3-B002-9822-BE8B-C25A020848BA}"/>
          </ac:picMkLst>
        </pc:picChg>
        <pc:picChg chg="add mod">
          <ac:chgData name="Andreas Koksrud" userId="9d9beba6-c052-407a-8599-c781a677a996" providerId="ADAL" clId="{4C89AD2D-B60A-479F-9F95-9D423A06FAEA}" dt="2024-07-17T14:02:47.510" v="25850" actId="1076"/>
          <ac:picMkLst>
            <pc:docMk/>
            <pc:sldMk cId="1236723272" sldId="995"/>
            <ac:picMk id="16" creationId="{4DF79986-43D0-3D1B-AF51-868DEADCE020}"/>
          </ac:picMkLst>
        </pc:picChg>
        <pc:picChg chg="add mod">
          <ac:chgData name="Andreas Koksrud" userId="9d9beba6-c052-407a-8599-c781a677a996" providerId="ADAL" clId="{4C89AD2D-B60A-479F-9F95-9D423A06FAEA}" dt="2024-07-17T14:03:47.155" v="25854" actId="1076"/>
          <ac:picMkLst>
            <pc:docMk/>
            <pc:sldMk cId="1236723272" sldId="995"/>
            <ac:picMk id="20" creationId="{945B8550-9104-7894-8DBA-D35EA654BB6B}"/>
          </ac:picMkLst>
        </pc:picChg>
        <pc:picChg chg="add del mod">
          <ac:chgData name="Andreas Koksrud" userId="9d9beba6-c052-407a-8599-c781a677a996" providerId="ADAL" clId="{4C89AD2D-B60A-479F-9F95-9D423A06FAEA}" dt="2024-07-17T14:05:23.196" v="25905" actId="478"/>
          <ac:picMkLst>
            <pc:docMk/>
            <pc:sldMk cId="1236723272" sldId="995"/>
            <ac:picMk id="29" creationId="{AF82ACCA-4AE9-333E-7977-EA7AEC2A3798}"/>
          </ac:picMkLst>
        </pc:picChg>
        <pc:picChg chg="add del">
          <ac:chgData name="Andreas Koksrud" userId="9d9beba6-c052-407a-8599-c781a677a996" providerId="ADAL" clId="{4C89AD2D-B60A-479F-9F95-9D423A06FAEA}" dt="2024-07-18T16:45:59.983" v="25944" actId="21"/>
          <ac:picMkLst>
            <pc:docMk/>
            <pc:sldMk cId="1236723272" sldId="995"/>
            <ac:picMk id="32" creationId="{0DD2D6A0-54BF-A2D2-D988-4233BB264D44}"/>
          </ac:picMkLst>
        </pc:picChg>
        <pc:picChg chg="add mod">
          <ac:chgData name="Andreas Koksrud" userId="9d9beba6-c052-407a-8599-c781a677a996" providerId="ADAL" clId="{4C89AD2D-B60A-479F-9F95-9D423A06FAEA}" dt="2024-07-18T16:48:10.767" v="25948" actId="14100"/>
          <ac:picMkLst>
            <pc:docMk/>
            <pc:sldMk cId="1236723272" sldId="995"/>
            <ac:picMk id="34" creationId="{824CF0E1-3C82-2457-7A38-5A1320A9A117}"/>
          </ac:picMkLst>
        </pc:picChg>
        <pc:cxnChg chg="add mod">
          <ac:chgData name="Andreas Koksrud" userId="9d9beba6-c052-407a-8599-c781a677a996" providerId="ADAL" clId="{4C89AD2D-B60A-479F-9F95-9D423A06FAEA}" dt="2024-07-17T14:01:11.775" v="25847" actId="14100"/>
          <ac:cxnSpMkLst>
            <pc:docMk/>
            <pc:sldMk cId="1236723272" sldId="995"/>
            <ac:cxnSpMk id="8" creationId="{0809E623-D392-BB73-D2A0-E98FD843CCC5}"/>
          </ac:cxnSpMkLst>
        </pc:cxnChg>
        <pc:cxnChg chg="add mod">
          <ac:chgData name="Andreas Koksrud" userId="9d9beba6-c052-407a-8599-c781a677a996" providerId="ADAL" clId="{4C89AD2D-B60A-479F-9F95-9D423A06FAEA}" dt="2024-07-17T14:02:52.194" v="25852" actId="14100"/>
          <ac:cxnSpMkLst>
            <pc:docMk/>
            <pc:sldMk cId="1236723272" sldId="995"/>
            <ac:cxnSpMk id="17" creationId="{7F3AECFC-EAF4-CA81-C6A2-AFFABD641BB5}"/>
          </ac:cxnSpMkLst>
        </pc:cxnChg>
        <pc:cxnChg chg="add mod">
          <ac:chgData name="Andreas Koksrud" userId="9d9beba6-c052-407a-8599-c781a677a996" providerId="ADAL" clId="{4C89AD2D-B60A-479F-9F95-9D423A06FAEA}" dt="2024-07-17T14:04:44.682" v="25899" actId="14100"/>
          <ac:cxnSpMkLst>
            <pc:docMk/>
            <pc:sldMk cId="1236723272" sldId="995"/>
            <ac:cxnSpMk id="24" creationId="{33743EE0-974A-D565-6CBE-D835018285DC}"/>
          </ac:cxnSpMkLst>
        </pc:cxnChg>
        <pc:cxnChg chg="add del mod">
          <ac:chgData name="Andreas Koksrud" userId="9d9beba6-c052-407a-8599-c781a677a996" providerId="ADAL" clId="{4C89AD2D-B60A-479F-9F95-9D423A06FAEA}" dt="2024-07-17T14:05:24.281" v="25906" actId="478"/>
          <ac:cxnSpMkLst>
            <pc:docMk/>
            <pc:sldMk cId="1236723272" sldId="995"/>
            <ac:cxnSpMk id="26" creationId="{4EE51E4C-4DEB-4BC0-518E-67B5E11A79AF}"/>
          </ac:cxnSpMkLst>
        </pc:cxnChg>
      </pc:sldChg>
      <pc:sldChg chg="addSp delSp modSp add mod">
        <pc:chgData name="Andreas Koksrud" userId="9d9beba6-c052-407a-8599-c781a677a996" providerId="ADAL" clId="{4C89AD2D-B60A-479F-9F95-9D423A06FAEA}" dt="2024-08-04T16:45:29.183" v="37484" actId="14100"/>
        <pc:sldMkLst>
          <pc:docMk/>
          <pc:sldMk cId="1617717875" sldId="996"/>
        </pc:sldMkLst>
        <pc:spChg chg="add mod">
          <ac:chgData name="Andreas Koksrud" userId="9d9beba6-c052-407a-8599-c781a677a996" providerId="ADAL" clId="{4C89AD2D-B60A-479F-9F95-9D423A06FAEA}" dt="2024-08-04T16:29:59.358" v="37117" actId="1076"/>
          <ac:spMkLst>
            <pc:docMk/>
            <pc:sldMk cId="1617717875" sldId="996"/>
            <ac:spMk id="9" creationId="{CA0B8F57-C785-7ED7-75A2-B61F4152EC1C}"/>
          </ac:spMkLst>
        </pc:spChg>
        <pc:spChg chg="add mod">
          <ac:chgData name="Andreas Koksrud" userId="9d9beba6-c052-407a-8599-c781a677a996" providerId="ADAL" clId="{4C89AD2D-B60A-479F-9F95-9D423A06FAEA}" dt="2024-08-04T16:29:55.587" v="37116" actId="1076"/>
          <ac:spMkLst>
            <pc:docMk/>
            <pc:sldMk cId="1617717875" sldId="996"/>
            <ac:spMk id="10" creationId="{F997FC19-E381-D98F-81A5-EB4D94CF74AB}"/>
          </ac:spMkLst>
        </pc:spChg>
        <pc:spChg chg="add mod">
          <ac:chgData name="Andreas Koksrud" userId="9d9beba6-c052-407a-8599-c781a677a996" providerId="ADAL" clId="{4C89AD2D-B60A-479F-9F95-9D423A06FAEA}" dt="2024-08-04T16:45:26.578" v="37483" actId="1076"/>
          <ac:spMkLst>
            <pc:docMk/>
            <pc:sldMk cId="1617717875" sldId="996"/>
            <ac:spMk id="18" creationId="{590BE1AA-95AF-43A9-954A-A3E79A728521}"/>
          </ac:spMkLst>
        </pc:spChg>
        <pc:spChg chg="add mod">
          <ac:chgData name="Andreas Koksrud" userId="9d9beba6-c052-407a-8599-c781a677a996" providerId="ADAL" clId="{4C89AD2D-B60A-479F-9F95-9D423A06FAEA}" dt="2024-08-04T16:45:03.337" v="37476" actId="14100"/>
          <ac:spMkLst>
            <pc:docMk/>
            <pc:sldMk cId="1617717875" sldId="996"/>
            <ac:spMk id="27" creationId="{E23DE15B-3418-D2F5-F10C-CF3DA7AA664D}"/>
          </ac:spMkLst>
        </pc:spChg>
        <pc:spChg chg="add mod">
          <ac:chgData name="Andreas Koksrud" userId="9d9beba6-c052-407a-8599-c781a677a996" providerId="ADAL" clId="{4C89AD2D-B60A-479F-9F95-9D423A06FAEA}" dt="2024-08-04T16:45:15.504" v="37480" actId="14100"/>
          <ac:spMkLst>
            <pc:docMk/>
            <pc:sldMk cId="1617717875" sldId="996"/>
            <ac:spMk id="30" creationId="{B7F5CD23-D055-33E3-2089-A3EA205C4EA2}"/>
          </ac:spMkLst>
        </pc:spChg>
        <pc:spChg chg="mod">
          <ac:chgData name="Andreas Koksrud" userId="9d9beba6-c052-407a-8599-c781a677a996" providerId="ADAL" clId="{4C89AD2D-B60A-479F-9F95-9D423A06FAEA}" dt="2024-07-17T13:38:03.382" v="25786" actId="20577"/>
          <ac:spMkLst>
            <pc:docMk/>
            <pc:sldMk cId="1617717875" sldId="996"/>
            <ac:spMk id="180" creationId="{00000000-0000-0000-0000-000000000000}"/>
          </ac:spMkLst>
        </pc:spChg>
        <pc:spChg chg="mod">
          <ac:chgData name="Andreas Koksrud" userId="9d9beba6-c052-407a-8599-c781a677a996" providerId="ADAL" clId="{4C89AD2D-B60A-479F-9F95-9D423A06FAEA}" dt="2024-08-04T16:44:24.107" v="37465" actId="1076"/>
          <ac:spMkLst>
            <pc:docMk/>
            <pc:sldMk cId="1617717875" sldId="996"/>
            <ac:spMk id="181" creationId="{00000000-0000-0000-0000-000000000000}"/>
          </ac:spMkLst>
        </pc:spChg>
        <pc:picChg chg="add del mod">
          <ac:chgData name="Andreas Koksrud" userId="9d9beba6-c052-407a-8599-c781a677a996" providerId="ADAL" clId="{4C89AD2D-B60A-479F-9F95-9D423A06FAEA}" dt="2024-08-04T16:29:07.729" v="37109" actId="478"/>
          <ac:picMkLst>
            <pc:docMk/>
            <pc:sldMk cId="1617717875" sldId="996"/>
            <ac:picMk id="5" creationId="{48F87266-6EB3-1E1C-8D8E-13DC1B23C249}"/>
          </ac:picMkLst>
        </pc:picChg>
        <pc:picChg chg="add mod">
          <ac:chgData name="Andreas Koksrud" userId="9d9beba6-c052-407a-8599-c781a677a996" providerId="ADAL" clId="{4C89AD2D-B60A-479F-9F95-9D423A06FAEA}" dt="2024-08-04T16:30:59.187" v="37126" actId="1076"/>
          <ac:picMkLst>
            <pc:docMk/>
            <pc:sldMk cId="1617717875" sldId="996"/>
            <ac:picMk id="7" creationId="{D270A669-DD81-7E28-5FED-586D5E20D301}"/>
          </ac:picMkLst>
        </pc:picChg>
        <pc:picChg chg="add mod">
          <ac:chgData name="Andreas Koksrud" userId="9d9beba6-c052-407a-8599-c781a677a996" providerId="ADAL" clId="{4C89AD2D-B60A-479F-9F95-9D423A06FAEA}" dt="2024-08-04T16:30:32.908" v="37120" actId="1076"/>
          <ac:picMkLst>
            <pc:docMk/>
            <pc:sldMk cId="1617717875" sldId="996"/>
            <ac:picMk id="13" creationId="{C1E9FDD8-2702-0576-73BE-828D8198DCFB}"/>
          </ac:picMkLst>
        </pc:picChg>
        <pc:picChg chg="add mod">
          <ac:chgData name="Andreas Koksrud" userId="9d9beba6-c052-407a-8599-c781a677a996" providerId="ADAL" clId="{4C89AD2D-B60A-479F-9F95-9D423A06FAEA}" dt="2024-08-04T16:45:26.578" v="37483" actId="1076"/>
          <ac:picMkLst>
            <pc:docMk/>
            <pc:sldMk cId="1617717875" sldId="996"/>
            <ac:picMk id="17" creationId="{A5E4FFA0-B255-C8A8-4BB6-FF985E86FD5E}"/>
          </ac:picMkLst>
        </pc:picChg>
        <pc:picChg chg="add mod">
          <ac:chgData name="Andreas Koksrud" userId="9d9beba6-c052-407a-8599-c781a677a996" providerId="ADAL" clId="{4C89AD2D-B60A-479F-9F95-9D423A06FAEA}" dt="2024-08-04T16:44:32.724" v="37467" actId="1076"/>
          <ac:picMkLst>
            <pc:docMk/>
            <pc:sldMk cId="1617717875" sldId="996"/>
            <ac:picMk id="20" creationId="{0A79E278-D5BD-742B-BF88-C0E91A8CEE9B}"/>
          </ac:picMkLst>
        </pc:picChg>
        <pc:picChg chg="add mod">
          <ac:chgData name="Andreas Koksrud" userId="9d9beba6-c052-407a-8599-c781a677a996" providerId="ADAL" clId="{4C89AD2D-B60A-479F-9F95-9D423A06FAEA}" dt="2024-08-04T16:44:56.615" v="37474" actId="571"/>
          <ac:picMkLst>
            <pc:docMk/>
            <pc:sldMk cId="1617717875" sldId="996"/>
            <ac:picMk id="26" creationId="{473E4AB8-07BC-30A1-74AE-9DA5C732A2AE}"/>
          </ac:picMkLst>
        </pc:picChg>
        <pc:cxnChg chg="add mod">
          <ac:chgData name="Andreas Koksrud" userId="9d9beba6-c052-407a-8599-c781a677a996" providerId="ADAL" clId="{4C89AD2D-B60A-479F-9F95-9D423A06FAEA}" dt="2024-08-04T16:30:02.197" v="37118" actId="14100"/>
          <ac:cxnSpMkLst>
            <pc:docMk/>
            <pc:sldMk cId="1617717875" sldId="996"/>
            <ac:cxnSpMk id="8" creationId="{E82D89F0-8631-AF82-B3B7-0F64B54EE1B5}"/>
          </ac:cxnSpMkLst>
        </pc:cxnChg>
        <pc:cxnChg chg="add mod">
          <ac:chgData name="Andreas Koksrud" userId="9d9beba6-c052-407a-8599-c781a677a996" providerId="ADAL" clId="{4C89AD2D-B60A-479F-9F95-9D423A06FAEA}" dt="2024-08-04T16:30:38.488" v="37122" actId="14100"/>
          <ac:cxnSpMkLst>
            <pc:docMk/>
            <pc:sldMk cId="1617717875" sldId="996"/>
            <ac:cxnSpMk id="14" creationId="{B2C9EDD1-F9A4-636D-A7D1-7E8A19E2AC32}"/>
          </ac:cxnSpMkLst>
        </pc:cxnChg>
        <pc:cxnChg chg="add mod">
          <ac:chgData name="Andreas Koksrud" userId="9d9beba6-c052-407a-8599-c781a677a996" providerId="ADAL" clId="{4C89AD2D-B60A-479F-9F95-9D423A06FAEA}" dt="2024-08-04T16:44:41.160" v="37469" actId="14100"/>
          <ac:cxnSpMkLst>
            <pc:docMk/>
            <pc:sldMk cId="1617717875" sldId="996"/>
            <ac:cxnSpMk id="21" creationId="{4545AB64-B20A-E863-7ABA-53198735F8F7}"/>
          </ac:cxnSpMkLst>
        </pc:cxnChg>
        <pc:cxnChg chg="add mod">
          <ac:chgData name="Andreas Koksrud" userId="9d9beba6-c052-407a-8599-c781a677a996" providerId="ADAL" clId="{4C89AD2D-B60A-479F-9F95-9D423A06FAEA}" dt="2024-08-04T16:44:53.398" v="37472" actId="14100"/>
          <ac:cxnSpMkLst>
            <pc:docMk/>
            <pc:sldMk cId="1617717875" sldId="996"/>
            <ac:cxnSpMk id="23" creationId="{175B051E-8FDE-350B-CB11-7D41DDF7FD6F}"/>
          </ac:cxnSpMkLst>
        </pc:cxnChg>
        <pc:cxnChg chg="add mod">
          <ac:chgData name="Andreas Koksrud" userId="9d9beba6-c052-407a-8599-c781a677a996" providerId="ADAL" clId="{4C89AD2D-B60A-479F-9F95-9D423A06FAEA}" dt="2024-08-04T16:45:09.813" v="37478" actId="14100"/>
          <ac:cxnSpMkLst>
            <pc:docMk/>
            <pc:sldMk cId="1617717875" sldId="996"/>
            <ac:cxnSpMk id="28" creationId="{6E564CBD-0B1D-0213-9520-8A09EB07F7F0}"/>
          </ac:cxnSpMkLst>
        </pc:cxnChg>
        <pc:cxnChg chg="add mod">
          <ac:chgData name="Andreas Koksrud" userId="9d9beba6-c052-407a-8599-c781a677a996" providerId="ADAL" clId="{4C89AD2D-B60A-479F-9F95-9D423A06FAEA}" dt="2024-08-04T16:45:29.183" v="37484" actId="14100"/>
          <ac:cxnSpMkLst>
            <pc:docMk/>
            <pc:sldMk cId="1617717875" sldId="996"/>
            <ac:cxnSpMk id="31" creationId="{BA182186-BAA6-D8BB-ACCB-DA54242A624B}"/>
          </ac:cxnSpMkLst>
        </pc:cxnChg>
      </pc:sldChg>
      <pc:sldChg chg="addSp delSp modSp add mod">
        <pc:chgData name="Andreas Koksrud" userId="9d9beba6-c052-407a-8599-c781a677a996" providerId="ADAL" clId="{4C89AD2D-B60A-479F-9F95-9D423A06FAEA}" dt="2024-07-20T19:21:31.163" v="26738" actId="20577"/>
        <pc:sldMkLst>
          <pc:docMk/>
          <pc:sldMk cId="1986310522" sldId="997"/>
        </pc:sldMkLst>
        <pc:spChg chg="mod">
          <ac:chgData name="Andreas Koksrud" userId="9d9beba6-c052-407a-8599-c781a677a996" providerId="ADAL" clId="{4C89AD2D-B60A-479F-9F95-9D423A06FAEA}" dt="2024-07-20T19:21:31.163" v="26738" actId="20577"/>
          <ac:spMkLst>
            <pc:docMk/>
            <pc:sldMk cId="1986310522" sldId="997"/>
            <ac:spMk id="2" creationId="{9796E8C1-5924-9DB3-B51B-75296717F89F}"/>
          </ac:spMkLst>
        </pc:spChg>
        <pc:spChg chg="add mod">
          <ac:chgData name="Andreas Koksrud" userId="9d9beba6-c052-407a-8599-c781a677a996" providerId="ADAL" clId="{4C89AD2D-B60A-479F-9F95-9D423A06FAEA}" dt="2024-07-20T19:18:24.573" v="26406" actId="6549"/>
          <ac:spMkLst>
            <pc:docMk/>
            <pc:sldMk cId="1986310522" sldId="997"/>
            <ac:spMk id="4" creationId="{43D25E58-39BE-7924-06C6-9C6254D81A44}"/>
          </ac:spMkLst>
        </pc:spChg>
        <pc:spChg chg="mod">
          <ac:chgData name="Andreas Koksrud" userId="9d9beba6-c052-407a-8599-c781a677a996" providerId="ADAL" clId="{4C89AD2D-B60A-479F-9F95-9D423A06FAEA}" dt="2024-07-20T19:18:01.604" v="26393" actId="6549"/>
          <ac:spMkLst>
            <pc:docMk/>
            <pc:sldMk cId="1986310522" sldId="997"/>
            <ac:spMk id="6" creationId="{F79AC7D6-9707-FA3C-4181-45142247410B}"/>
          </ac:spMkLst>
        </pc:spChg>
        <pc:picChg chg="del">
          <ac:chgData name="Andreas Koksrud" userId="9d9beba6-c052-407a-8599-c781a677a996" providerId="ADAL" clId="{4C89AD2D-B60A-479F-9F95-9D423A06FAEA}" dt="2024-07-20T19:18:04.518" v="26394" actId="478"/>
          <ac:picMkLst>
            <pc:docMk/>
            <pc:sldMk cId="1986310522" sldId="997"/>
            <ac:picMk id="7" creationId="{50264CB1-7B07-3D62-C9C5-B4760B2398B4}"/>
          </ac:picMkLst>
        </pc:picChg>
        <pc:cxnChg chg="del">
          <ac:chgData name="Andreas Koksrud" userId="9d9beba6-c052-407a-8599-c781a677a996" providerId="ADAL" clId="{4C89AD2D-B60A-479F-9F95-9D423A06FAEA}" dt="2024-07-20T19:18:06.807" v="26395" actId="478"/>
          <ac:cxnSpMkLst>
            <pc:docMk/>
            <pc:sldMk cId="1986310522" sldId="997"/>
            <ac:cxnSpMk id="8" creationId="{77270D5C-063D-B1F6-4F3B-48C7E839B928}"/>
          </ac:cxnSpMkLst>
        </pc:cxnChg>
      </pc:sldChg>
      <pc:sldChg chg="addSp delSp modSp new del mod chgLayout">
        <pc:chgData name="Andreas Koksrud" userId="9d9beba6-c052-407a-8599-c781a677a996" providerId="ADAL" clId="{4C89AD2D-B60A-479F-9F95-9D423A06FAEA}" dt="2024-07-25T21:46:50.020" v="27775" actId="47"/>
        <pc:sldMkLst>
          <pc:docMk/>
          <pc:sldMk cId="214840016" sldId="998"/>
        </pc:sldMkLst>
        <pc:spChg chg="del mod ord">
          <ac:chgData name="Andreas Koksrud" userId="9d9beba6-c052-407a-8599-c781a677a996" providerId="ADAL" clId="{4C89AD2D-B60A-479F-9F95-9D423A06FAEA}" dt="2024-07-25T21:45:34.805" v="27735" actId="700"/>
          <ac:spMkLst>
            <pc:docMk/>
            <pc:sldMk cId="214840016" sldId="998"/>
            <ac:spMk id="2" creationId="{BD8915C2-29E5-D081-40D3-09B0E7DF226A}"/>
          </ac:spMkLst>
        </pc:spChg>
        <pc:spChg chg="mod ord">
          <ac:chgData name="Andreas Koksrud" userId="9d9beba6-c052-407a-8599-c781a677a996" providerId="ADAL" clId="{4C89AD2D-B60A-479F-9F95-9D423A06FAEA}" dt="2024-07-25T21:45:34.805" v="27735" actId="700"/>
          <ac:spMkLst>
            <pc:docMk/>
            <pc:sldMk cId="214840016" sldId="998"/>
            <ac:spMk id="3" creationId="{EE8691D8-091A-DC32-FB10-27DA55C7833A}"/>
          </ac:spMkLst>
        </pc:spChg>
        <pc:spChg chg="mod ord">
          <ac:chgData name="Andreas Koksrud" userId="9d9beba6-c052-407a-8599-c781a677a996" providerId="ADAL" clId="{4C89AD2D-B60A-479F-9F95-9D423A06FAEA}" dt="2024-07-25T21:45:34.805" v="27735" actId="700"/>
          <ac:spMkLst>
            <pc:docMk/>
            <pc:sldMk cId="214840016" sldId="998"/>
            <ac:spMk id="4" creationId="{668F0B86-E42C-3FAF-F618-5749FA1FDDFC}"/>
          </ac:spMkLst>
        </pc:spChg>
        <pc:spChg chg="mod ord">
          <ac:chgData name="Andreas Koksrud" userId="9d9beba6-c052-407a-8599-c781a677a996" providerId="ADAL" clId="{4C89AD2D-B60A-479F-9F95-9D423A06FAEA}" dt="2024-07-25T21:45:51.927" v="27737" actId="14100"/>
          <ac:spMkLst>
            <pc:docMk/>
            <pc:sldMk cId="214840016" sldId="998"/>
            <ac:spMk id="5" creationId="{D73DDB94-6DB6-25AB-B44B-A30298E6F119}"/>
          </ac:spMkLst>
        </pc:spChg>
        <pc:spChg chg="add del mod ord">
          <ac:chgData name="Andreas Koksrud" userId="9d9beba6-c052-407a-8599-c781a677a996" providerId="ADAL" clId="{4C89AD2D-B60A-479F-9F95-9D423A06FAEA}" dt="2024-07-25T21:45:44.028" v="27736" actId="478"/>
          <ac:spMkLst>
            <pc:docMk/>
            <pc:sldMk cId="214840016" sldId="998"/>
            <ac:spMk id="6" creationId="{AA062A39-992E-43B8-E938-F8F127C3D5B3}"/>
          </ac:spMkLst>
        </pc:spChg>
        <pc:spChg chg="add mod">
          <ac:chgData name="Andreas Koksrud" userId="9d9beba6-c052-407a-8599-c781a677a996" providerId="ADAL" clId="{4C89AD2D-B60A-479F-9F95-9D423A06FAEA}" dt="2024-07-25T21:45:59.202" v="27740" actId="20577"/>
          <ac:spMkLst>
            <pc:docMk/>
            <pc:sldMk cId="214840016" sldId="998"/>
            <ac:spMk id="7" creationId="{298855E9-2E8E-C780-2999-15C0B3FFB06A}"/>
          </ac:spMkLst>
        </pc:spChg>
      </pc:sldChg>
      <pc:sldChg chg="new del">
        <pc:chgData name="Andreas Koksrud" userId="9d9beba6-c052-407a-8599-c781a677a996" providerId="ADAL" clId="{4C89AD2D-B60A-479F-9F95-9D423A06FAEA}" dt="2024-07-25T22:05:57.420" v="29179" actId="47"/>
        <pc:sldMkLst>
          <pc:docMk/>
          <pc:sldMk cId="891789627" sldId="999"/>
        </pc:sldMkLst>
      </pc:sldChg>
      <pc:sldChg chg="addSp delSp modSp add mod chgLayout">
        <pc:chgData name="Andreas Koksrud" userId="9d9beba6-c052-407a-8599-c781a677a996" providerId="ADAL" clId="{4C89AD2D-B60A-479F-9F95-9D423A06FAEA}" dt="2024-08-04T15:47:05.602" v="36062" actId="20577"/>
        <pc:sldMkLst>
          <pc:docMk/>
          <pc:sldMk cId="69240320" sldId="1000"/>
        </pc:sldMkLst>
        <pc:spChg chg="add mod">
          <ac:chgData name="Andreas Koksrud" userId="9d9beba6-c052-407a-8599-c781a677a996" providerId="ADAL" clId="{4C89AD2D-B60A-479F-9F95-9D423A06FAEA}" dt="2024-07-25T21:51:48.969" v="28138" actId="26606"/>
          <ac:spMkLst>
            <pc:docMk/>
            <pc:sldMk cId="69240320" sldId="1000"/>
            <ac:spMk id="2" creationId="{684305E7-7601-D631-930D-163AF31053F1}"/>
          </ac:spMkLst>
        </pc:spChg>
        <pc:spChg chg="add mod ord">
          <ac:chgData name="Andreas Koksrud" userId="9d9beba6-c052-407a-8599-c781a677a996" providerId="ADAL" clId="{4C89AD2D-B60A-479F-9F95-9D423A06FAEA}" dt="2024-07-25T21:51:48.969" v="28138" actId="26606"/>
          <ac:spMkLst>
            <pc:docMk/>
            <pc:sldMk cId="69240320" sldId="1000"/>
            <ac:spMk id="3" creationId="{D98D71AC-DD16-CF17-134E-470414B344F7}"/>
          </ac:spMkLst>
        </pc:spChg>
        <pc:spChg chg="del">
          <ac:chgData name="Andreas Koksrud" userId="9d9beba6-c052-407a-8599-c781a677a996" providerId="ADAL" clId="{4C89AD2D-B60A-479F-9F95-9D423A06FAEA}" dt="2024-07-25T21:46:44.171" v="27772" actId="478"/>
          <ac:spMkLst>
            <pc:docMk/>
            <pc:sldMk cId="69240320" sldId="1000"/>
            <ac:spMk id="4" creationId="{FAFA46FA-B501-269C-8563-699E3F5DE947}"/>
          </ac:spMkLst>
        </pc:spChg>
        <pc:spChg chg="del">
          <ac:chgData name="Andreas Koksrud" userId="9d9beba6-c052-407a-8599-c781a677a996" providerId="ADAL" clId="{4C89AD2D-B60A-479F-9F95-9D423A06FAEA}" dt="2024-07-25T21:46:44.968" v="27773" actId="478"/>
          <ac:spMkLst>
            <pc:docMk/>
            <pc:sldMk cId="69240320" sldId="1000"/>
            <ac:spMk id="6" creationId="{9594E367-A5C0-9E5F-38CE-5B5E04D992E1}"/>
          </ac:spMkLst>
        </pc:spChg>
        <pc:spChg chg="mod">
          <ac:chgData name="Andreas Koksrud" userId="9d9beba6-c052-407a-8599-c781a677a996" providerId="ADAL" clId="{4C89AD2D-B60A-479F-9F95-9D423A06FAEA}" dt="2024-07-25T21:51:48.969" v="28138" actId="26606"/>
          <ac:spMkLst>
            <pc:docMk/>
            <pc:sldMk cId="69240320" sldId="1000"/>
            <ac:spMk id="124" creationId="{84E04E4E-021A-44EA-A21F-D749783987DC}"/>
          </ac:spMkLst>
        </pc:spChg>
        <pc:spChg chg="mod ord">
          <ac:chgData name="Andreas Koksrud" userId="9d9beba6-c052-407a-8599-c781a677a996" providerId="ADAL" clId="{4C89AD2D-B60A-479F-9F95-9D423A06FAEA}" dt="2024-07-25T21:51:48.969" v="28138" actId="26606"/>
          <ac:spMkLst>
            <pc:docMk/>
            <pc:sldMk cId="69240320" sldId="1000"/>
            <ac:spMk id="180" creationId="{00000000-0000-0000-0000-000000000000}"/>
          </ac:spMkLst>
        </pc:spChg>
        <pc:graphicFrameChg chg="mod modGraphic">
          <ac:chgData name="Andreas Koksrud" userId="9d9beba6-c052-407a-8599-c781a677a996" providerId="ADAL" clId="{4C89AD2D-B60A-479F-9F95-9D423A06FAEA}" dt="2024-08-04T15:47:05.602" v="36062" actId="20577"/>
          <ac:graphicFrameMkLst>
            <pc:docMk/>
            <pc:sldMk cId="69240320" sldId="1000"/>
            <ac:graphicFrameMk id="182" creationId="{31C961BD-9981-8CD8-539D-AB011F3808BE}"/>
          </ac:graphicFrameMkLst>
        </pc:graphicFrameChg>
      </pc:sldChg>
      <pc:sldChg chg="modSp add mod ord">
        <pc:chgData name="Andreas Koksrud" userId="9d9beba6-c052-407a-8599-c781a677a996" providerId="ADAL" clId="{4C89AD2D-B60A-479F-9F95-9D423A06FAEA}" dt="2024-07-25T22:14:11.739" v="30143"/>
        <pc:sldMkLst>
          <pc:docMk/>
          <pc:sldMk cId="316841881" sldId="1001"/>
        </pc:sldMkLst>
        <pc:spChg chg="mod">
          <ac:chgData name="Andreas Koksrud" userId="9d9beba6-c052-407a-8599-c781a677a996" providerId="ADAL" clId="{4C89AD2D-B60A-479F-9F95-9D423A06FAEA}" dt="2024-07-25T22:13:51.784" v="30084" actId="20577"/>
          <ac:spMkLst>
            <pc:docMk/>
            <pc:sldMk cId="316841881" sldId="1001"/>
            <ac:spMk id="180" creationId="{00000000-0000-0000-0000-000000000000}"/>
          </ac:spMkLst>
        </pc:spChg>
        <pc:spChg chg="mod">
          <ac:chgData name="Andreas Koksrud" userId="9d9beba6-c052-407a-8599-c781a677a996" providerId="ADAL" clId="{4C89AD2D-B60A-479F-9F95-9D423A06FAEA}" dt="2024-07-25T22:14:07.544" v="30141" actId="13926"/>
          <ac:spMkLst>
            <pc:docMk/>
            <pc:sldMk cId="316841881" sldId="1001"/>
            <ac:spMk id="181" creationId="{00000000-0000-0000-0000-000000000000}"/>
          </ac:spMkLst>
        </pc:spChg>
      </pc:sldChg>
      <pc:sldChg chg="addSp delSp modSp add mod">
        <pc:chgData name="Andreas Koksrud" userId="9d9beba6-c052-407a-8599-c781a677a996" providerId="ADAL" clId="{4C89AD2D-B60A-479F-9F95-9D423A06FAEA}" dt="2024-07-26T11:22:27.132" v="30326" actId="14100"/>
        <pc:sldMkLst>
          <pc:docMk/>
          <pc:sldMk cId="3021409605" sldId="1002"/>
        </pc:sldMkLst>
        <pc:spChg chg="del">
          <ac:chgData name="Andreas Koksrud" userId="9d9beba6-c052-407a-8599-c781a677a996" providerId="ADAL" clId="{4C89AD2D-B60A-479F-9F95-9D423A06FAEA}" dt="2024-07-25T22:21:34.384" v="30247" actId="478"/>
          <ac:spMkLst>
            <pc:docMk/>
            <pc:sldMk cId="3021409605" sldId="1002"/>
            <ac:spMk id="7" creationId="{A8B7B111-653E-4B53-BBD1-A75F603564D2}"/>
          </ac:spMkLst>
        </pc:spChg>
        <pc:spChg chg="add mod">
          <ac:chgData name="Andreas Koksrud" userId="9d9beba6-c052-407a-8599-c781a677a996" providerId="ADAL" clId="{4C89AD2D-B60A-479F-9F95-9D423A06FAEA}" dt="2024-07-25T22:24:41.636" v="30276"/>
          <ac:spMkLst>
            <pc:docMk/>
            <pc:sldMk cId="3021409605" sldId="1002"/>
            <ac:spMk id="14" creationId="{18F9BF18-8BBF-BC00-762E-ED556008DFD2}"/>
          </ac:spMkLst>
        </pc:spChg>
        <pc:spChg chg="add mod">
          <ac:chgData name="Andreas Koksrud" userId="9d9beba6-c052-407a-8599-c781a677a996" providerId="ADAL" clId="{4C89AD2D-B60A-479F-9F95-9D423A06FAEA}" dt="2024-07-26T11:22:17.429" v="30322" actId="14100"/>
          <ac:spMkLst>
            <pc:docMk/>
            <pc:sldMk cId="3021409605" sldId="1002"/>
            <ac:spMk id="15" creationId="{46534806-6C1F-535A-A066-CD1EC40EBD84}"/>
          </ac:spMkLst>
        </pc:spChg>
        <pc:spChg chg="add mod">
          <ac:chgData name="Andreas Koksrud" userId="9d9beba6-c052-407a-8599-c781a677a996" providerId="ADAL" clId="{4C89AD2D-B60A-479F-9F95-9D423A06FAEA}" dt="2024-07-26T11:22:27.132" v="30326" actId="14100"/>
          <ac:spMkLst>
            <pc:docMk/>
            <pc:sldMk cId="3021409605" sldId="1002"/>
            <ac:spMk id="17" creationId="{22F5D4DF-F1A4-10EB-53AE-F982AE8A1ECC}"/>
          </ac:spMkLst>
        </pc:spChg>
        <pc:picChg chg="add del">
          <ac:chgData name="Andreas Koksrud" userId="9d9beba6-c052-407a-8599-c781a677a996" providerId="ADAL" clId="{4C89AD2D-B60A-479F-9F95-9D423A06FAEA}" dt="2024-07-25T22:21:49.307" v="30257" actId="478"/>
          <ac:picMkLst>
            <pc:docMk/>
            <pc:sldMk cId="3021409605" sldId="1002"/>
            <ac:picMk id="3" creationId="{7294C548-54FB-1EB5-6AE5-F4FEE0514EE4}"/>
          </ac:picMkLst>
        </pc:picChg>
        <pc:picChg chg="del">
          <ac:chgData name="Andreas Koksrud" userId="9d9beba6-c052-407a-8599-c781a677a996" providerId="ADAL" clId="{4C89AD2D-B60A-479F-9F95-9D423A06FAEA}" dt="2024-07-25T22:21:31.465" v="30245" actId="478"/>
          <ac:picMkLst>
            <pc:docMk/>
            <pc:sldMk cId="3021409605" sldId="1002"/>
            <ac:picMk id="6" creationId="{DB6A23B5-33C1-32FC-9D78-89EC9BDAB4D4}"/>
          </ac:picMkLst>
        </pc:picChg>
        <pc:picChg chg="add del mod">
          <ac:chgData name="Andreas Koksrud" userId="9d9beba6-c052-407a-8599-c781a677a996" providerId="ADAL" clId="{4C89AD2D-B60A-479F-9F95-9D423A06FAEA}" dt="2024-07-25T22:21:38.659" v="30252" actId="22"/>
          <ac:picMkLst>
            <pc:docMk/>
            <pc:sldMk cId="3021409605" sldId="1002"/>
            <ac:picMk id="8" creationId="{29EF8F02-2468-B88D-2DF6-E3F7F8DE0E05}"/>
          </ac:picMkLst>
        </pc:picChg>
        <pc:picChg chg="add mod">
          <ac:chgData name="Andreas Koksrud" userId="9d9beba6-c052-407a-8599-c781a677a996" providerId="ADAL" clId="{4C89AD2D-B60A-479F-9F95-9D423A06FAEA}" dt="2024-07-25T22:24:46.801" v="30277" actId="1076"/>
          <ac:picMkLst>
            <pc:docMk/>
            <pc:sldMk cId="3021409605" sldId="1002"/>
            <ac:picMk id="10" creationId="{16F5AEBF-AC76-9B93-E9DB-0E76C36B301A}"/>
          </ac:picMkLst>
        </pc:picChg>
        <pc:picChg chg="del">
          <ac:chgData name="Andreas Koksrud" userId="9d9beba6-c052-407a-8599-c781a677a996" providerId="ADAL" clId="{4C89AD2D-B60A-479F-9F95-9D423A06FAEA}" dt="2024-07-25T22:21:32.162" v="30246" actId="478"/>
          <ac:picMkLst>
            <pc:docMk/>
            <pc:sldMk cId="3021409605" sldId="1002"/>
            <ac:picMk id="11" creationId="{7788CF72-20F5-BC83-82EA-CE4A2EA5CC1F}"/>
          </ac:picMkLst>
        </pc:picChg>
        <pc:picChg chg="add mod">
          <ac:chgData name="Andreas Koksrud" userId="9d9beba6-c052-407a-8599-c781a677a996" providerId="ADAL" clId="{4C89AD2D-B60A-479F-9F95-9D423A06FAEA}" dt="2024-07-25T22:24:46.801" v="30277" actId="1076"/>
          <ac:picMkLst>
            <pc:docMk/>
            <pc:sldMk cId="3021409605" sldId="1002"/>
            <ac:picMk id="13" creationId="{43111954-0CF0-F8A4-F535-91A5AE2520ED}"/>
          </ac:picMkLst>
        </pc:picChg>
        <pc:picChg chg="add mod">
          <ac:chgData name="Andreas Koksrud" userId="9d9beba6-c052-407a-8599-c781a677a996" providerId="ADAL" clId="{4C89AD2D-B60A-479F-9F95-9D423A06FAEA}" dt="2024-07-26T11:22:19.157" v="30324" actId="571"/>
          <ac:picMkLst>
            <pc:docMk/>
            <pc:sldMk cId="3021409605" sldId="1002"/>
            <ac:picMk id="16" creationId="{395DDBEF-8F80-C328-2029-B475FC676E52}"/>
          </ac:picMkLst>
        </pc:picChg>
      </pc:sldChg>
      <pc:sldChg chg="add del">
        <pc:chgData name="Andreas Koksrud" userId="9d9beba6-c052-407a-8599-c781a677a996" providerId="ADAL" clId="{4C89AD2D-B60A-479F-9F95-9D423A06FAEA}" dt="2024-07-25T22:19:04.056" v="30161" actId="47"/>
        <pc:sldMkLst>
          <pc:docMk/>
          <pc:sldMk cId="3134251798" sldId="1002"/>
        </pc:sldMkLst>
      </pc:sldChg>
      <pc:sldChg chg="addSp delSp modSp add mod">
        <pc:chgData name="Andreas Koksrud" userId="9d9beba6-c052-407a-8599-c781a677a996" providerId="ADAL" clId="{4C89AD2D-B60A-479F-9F95-9D423A06FAEA}" dt="2024-07-28T11:14:37.326" v="30623" actId="478"/>
        <pc:sldMkLst>
          <pc:docMk/>
          <pc:sldMk cId="3489449866" sldId="1003"/>
        </pc:sldMkLst>
        <pc:spChg chg="add mod">
          <ac:chgData name="Andreas Koksrud" userId="9d9beba6-c052-407a-8599-c781a677a996" providerId="ADAL" clId="{4C89AD2D-B60A-479F-9F95-9D423A06FAEA}" dt="2024-07-25T22:25:17.071" v="30292"/>
          <ac:spMkLst>
            <pc:docMk/>
            <pc:sldMk cId="3489449866" sldId="1003"/>
            <ac:spMk id="2" creationId="{37B98EC5-A49B-7272-8ABA-985ABCDE5E26}"/>
          </ac:spMkLst>
        </pc:spChg>
        <pc:spChg chg="add mod">
          <ac:chgData name="Andreas Koksrud" userId="9d9beba6-c052-407a-8599-c781a677a996" providerId="ADAL" clId="{4C89AD2D-B60A-479F-9F95-9D423A06FAEA}" dt="2024-07-25T22:25:41.410" v="30297" actId="1076"/>
          <ac:spMkLst>
            <pc:docMk/>
            <pc:sldMk cId="3489449866" sldId="1003"/>
            <ac:spMk id="7" creationId="{43EE3EDC-EE82-2475-970E-1310FD636EC2}"/>
          </ac:spMkLst>
        </pc:spChg>
        <pc:spChg chg="mod">
          <ac:chgData name="Andreas Koksrud" userId="9d9beba6-c052-407a-8599-c781a677a996" providerId="ADAL" clId="{4C89AD2D-B60A-479F-9F95-9D423A06FAEA}" dt="2024-07-25T22:25:07.431" v="30289" actId="20577"/>
          <ac:spMkLst>
            <pc:docMk/>
            <pc:sldMk cId="3489449866" sldId="1003"/>
            <ac:spMk id="14" creationId="{18F9BF18-8BBF-BC00-762E-ED556008DFD2}"/>
          </ac:spMkLst>
        </pc:spChg>
        <pc:spChg chg="add mod">
          <ac:chgData name="Andreas Koksrud" userId="9d9beba6-c052-407a-8599-c781a677a996" providerId="ADAL" clId="{4C89AD2D-B60A-479F-9F95-9D423A06FAEA}" dt="2024-07-26T11:21:07.849" v="30309" actId="14100"/>
          <ac:spMkLst>
            <pc:docMk/>
            <pc:sldMk cId="3489449866" sldId="1003"/>
            <ac:spMk id="15" creationId="{744D8998-15F9-CAC6-3166-B722D8BFEAE5}"/>
          </ac:spMkLst>
        </pc:spChg>
        <pc:spChg chg="add del mod">
          <ac:chgData name="Andreas Koksrud" userId="9d9beba6-c052-407a-8599-c781a677a996" providerId="ADAL" clId="{4C89AD2D-B60A-479F-9F95-9D423A06FAEA}" dt="2024-07-28T11:14:37.326" v="30623" actId="478"/>
          <ac:spMkLst>
            <pc:docMk/>
            <pc:sldMk cId="3489449866" sldId="1003"/>
            <ac:spMk id="16" creationId="{2A2E5321-6561-EF6F-409A-E597BF23B122}"/>
          </ac:spMkLst>
        </pc:spChg>
        <pc:picChg chg="add mod">
          <ac:chgData name="Andreas Koksrud" userId="9d9beba6-c052-407a-8599-c781a677a996" providerId="ADAL" clId="{4C89AD2D-B60A-479F-9F95-9D423A06FAEA}" dt="2024-07-25T22:25:32.383" v="30295" actId="14100"/>
          <ac:picMkLst>
            <pc:docMk/>
            <pc:sldMk cId="3489449866" sldId="1003"/>
            <ac:picMk id="6" creationId="{6B3E8DF8-228B-A2E1-AA83-34CF183E02DD}"/>
          </ac:picMkLst>
        </pc:picChg>
        <pc:picChg chg="add mod">
          <ac:chgData name="Andreas Koksrud" userId="9d9beba6-c052-407a-8599-c781a677a996" providerId="ADAL" clId="{4C89AD2D-B60A-479F-9F95-9D423A06FAEA}" dt="2024-07-28T11:14:34.020" v="30622" actId="14826"/>
          <ac:picMkLst>
            <pc:docMk/>
            <pc:sldMk cId="3489449866" sldId="1003"/>
            <ac:picMk id="9" creationId="{167AB419-E4B0-3643-084B-36FBDDA65EDD}"/>
          </ac:picMkLst>
        </pc:picChg>
        <pc:picChg chg="del">
          <ac:chgData name="Andreas Koksrud" userId="9d9beba6-c052-407a-8599-c781a677a996" providerId="ADAL" clId="{4C89AD2D-B60A-479F-9F95-9D423A06FAEA}" dt="2024-07-25T22:25:15.385" v="30290" actId="478"/>
          <ac:picMkLst>
            <pc:docMk/>
            <pc:sldMk cId="3489449866" sldId="1003"/>
            <ac:picMk id="10" creationId="{16F5AEBF-AC76-9B93-E9DB-0E76C36B301A}"/>
          </ac:picMkLst>
        </pc:picChg>
        <pc:picChg chg="add mod">
          <ac:chgData name="Andreas Koksrud" userId="9d9beba6-c052-407a-8599-c781a677a996" providerId="ADAL" clId="{4C89AD2D-B60A-479F-9F95-9D423A06FAEA}" dt="2024-07-25T22:27:21.588" v="30306" actId="1076"/>
          <ac:picMkLst>
            <pc:docMk/>
            <pc:sldMk cId="3489449866" sldId="1003"/>
            <ac:picMk id="12" creationId="{65503121-83D8-812A-7A64-225606D6C982}"/>
          </ac:picMkLst>
        </pc:picChg>
        <pc:picChg chg="del">
          <ac:chgData name="Andreas Koksrud" userId="9d9beba6-c052-407a-8599-c781a677a996" providerId="ADAL" clId="{4C89AD2D-B60A-479F-9F95-9D423A06FAEA}" dt="2024-07-25T22:25:44.184" v="30298" actId="478"/>
          <ac:picMkLst>
            <pc:docMk/>
            <pc:sldMk cId="3489449866" sldId="1003"/>
            <ac:picMk id="13" creationId="{43111954-0CF0-F8A4-F535-91A5AE2520ED}"/>
          </ac:picMkLst>
        </pc:picChg>
      </pc:sldChg>
      <pc:sldChg chg="add del">
        <pc:chgData name="Andreas Koksrud" userId="9d9beba6-c052-407a-8599-c781a677a996" providerId="ADAL" clId="{4C89AD2D-B60A-479F-9F95-9D423A06FAEA}" dt="2024-07-25T22:24:57.466" v="30278" actId="47"/>
        <pc:sldMkLst>
          <pc:docMk/>
          <pc:sldMk cId="3680695275" sldId="1003"/>
        </pc:sldMkLst>
      </pc:sldChg>
      <pc:sldChg chg="addSp delSp modSp add mod">
        <pc:chgData name="Andreas Koksrud" userId="9d9beba6-c052-407a-8599-c781a677a996" providerId="ADAL" clId="{4C89AD2D-B60A-479F-9F95-9D423A06FAEA}" dt="2024-07-29T08:41:00.858" v="31307" actId="1076"/>
        <pc:sldMkLst>
          <pc:docMk/>
          <pc:sldMk cId="2115270536" sldId="1004"/>
        </pc:sldMkLst>
        <pc:spChg chg="add del mod">
          <ac:chgData name="Andreas Koksrud" userId="9d9beba6-c052-407a-8599-c781a677a996" providerId="ADAL" clId="{4C89AD2D-B60A-479F-9F95-9D423A06FAEA}" dt="2024-07-29T08:39:37.097" v="31276" actId="478"/>
          <ac:spMkLst>
            <pc:docMk/>
            <pc:sldMk cId="2115270536" sldId="1004"/>
            <ac:spMk id="2" creationId="{2B6A855E-B861-1398-AEF2-03493B87260A}"/>
          </ac:spMkLst>
        </pc:spChg>
        <pc:spChg chg="mod">
          <ac:chgData name="Andreas Koksrud" userId="9d9beba6-c052-407a-8599-c781a677a996" providerId="ADAL" clId="{4C89AD2D-B60A-479F-9F95-9D423A06FAEA}" dt="2024-07-28T11:28:46.430" v="30853" actId="20577"/>
          <ac:spMkLst>
            <pc:docMk/>
            <pc:sldMk cId="2115270536" sldId="1004"/>
            <ac:spMk id="6" creationId="{FF73203B-FD2F-D819-13EF-BEB0D189D1B0}"/>
          </ac:spMkLst>
        </pc:spChg>
        <pc:spChg chg="mod">
          <ac:chgData name="Andreas Koksrud" userId="9d9beba6-c052-407a-8599-c781a677a996" providerId="ADAL" clId="{4C89AD2D-B60A-479F-9F95-9D423A06FAEA}" dt="2024-07-29T08:41:00.858" v="31307" actId="1076"/>
          <ac:spMkLst>
            <pc:docMk/>
            <pc:sldMk cId="2115270536" sldId="1004"/>
            <ac:spMk id="7" creationId="{FDA66A13-139E-E345-2026-A4A7199BE78F}"/>
          </ac:spMkLst>
        </pc:spChg>
        <pc:picChg chg="del">
          <ac:chgData name="Andreas Koksrud" userId="9d9beba6-c052-407a-8599-c781a677a996" providerId="ADAL" clId="{4C89AD2D-B60A-479F-9F95-9D423A06FAEA}" dt="2024-07-28T11:28:49.404" v="30854" actId="478"/>
          <ac:picMkLst>
            <pc:docMk/>
            <pc:sldMk cId="2115270536" sldId="1004"/>
            <ac:picMk id="3" creationId="{C5665B41-37A0-461F-4FD9-2E66581AA419}"/>
          </ac:picMkLst>
        </pc:picChg>
        <pc:picChg chg="add mod modCrop">
          <ac:chgData name="Andreas Koksrud" userId="9d9beba6-c052-407a-8599-c781a677a996" providerId="ADAL" clId="{4C89AD2D-B60A-479F-9F95-9D423A06FAEA}" dt="2024-07-29T08:40:32.035" v="31293" actId="1035"/>
          <ac:picMkLst>
            <pc:docMk/>
            <pc:sldMk cId="2115270536" sldId="1004"/>
            <ac:picMk id="9" creationId="{DF163A35-F98D-5588-C544-A1FB852F531D}"/>
          </ac:picMkLst>
        </pc:picChg>
        <pc:picChg chg="del">
          <ac:chgData name="Andreas Koksrud" userId="9d9beba6-c052-407a-8599-c781a677a996" providerId="ADAL" clId="{4C89AD2D-B60A-479F-9F95-9D423A06FAEA}" dt="2024-07-28T11:28:42.343" v="30840" actId="478"/>
          <ac:picMkLst>
            <pc:docMk/>
            <pc:sldMk cId="2115270536" sldId="1004"/>
            <ac:picMk id="10" creationId="{473DAECA-52B8-8A93-1F9F-AAC4E488A061}"/>
          </ac:picMkLst>
        </pc:picChg>
        <pc:picChg chg="del">
          <ac:chgData name="Andreas Koksrud" userId="9d9beba6-c052-407a-8599-c781a677a996" providerId="ADAL" clId="{4C89AD2D-B60A-479F-9F95-9D423A06FAEA}" dt="2024-07-28T11:30:21.121" v="30884" actId="478"/>
          <ac:picMkLst>
            <pc:docMk/>
            <pc:sldMk cId="2115270536" sldId="1004"/>
            <ac:picMk id="12" creationId="{8FD9265F-6B93-F9D1-0E9B-ED00A768816B}"/>
          </ac:picMkLst>
        </pc:picChg>
        <pc:picChg chg="add mod">
          <ac:chgData name="Andreas Koksrud" userId="9d9beba6-c052-407a-8599-c781a677a996" providerId="ADAL" clId="{4C89AD2D-B60A-479F-9F95-9D423A06FAEA}" dt="2024-07-29T08:40:19.145" v="31285" actId="1076"/>
          <ac:picMkLst>
            <pc:docMk/>
            <pc:sldMk cId="2115270536" sldId="1004"/>
            <ac:picMk id="13" creationId="{74F1C444-C6E4-BFED-DFD7-28599AD03071}"/>
          </ac:picMkLst>
        </pc:picChg>
        <pc:picChg chg="add mod modCrop">
          <ac:chgData name="Andreas Koksrud" userId="9d9beba6-c052-407a-8599-c781a677a996" providerId="ADAL" clId="{4C89AD2D-B60A-479F-9F95-9D423A06FAEA}" dt="2024-07-29T08:40:29.822" v="31287" actId="1076"/>
          <ac:picMkLst>
            <pc:docMk/>
            <pc:sldMk cId="2115270536" sldId="1004"/>
            <ac:picMk id="14" creationId="{DD453BEC-F9A6-9220-E024-9D0EE346FBD1}"/>
          </ac:picMkLst>
        </pc:picChg>
      </pc:sldChg>
      <pc:sldChg chg="add">
        <pc:chgData name="Andreas Koksrud" userId="9d9beba6-c052-407a-8599-c781a677a996" providerId="ADAL" clId="{4C89AD2D-B60A-479F-9F95-9D423A06FAEA}" dt="2024-07-31T19:25:38.188" v="31665" actId="2890"/>
        <pc:sldMkLst>
          <pc:docMk/>
          <pc:sldMk cId="891349444" sldId="1005"/>
        </pc:sldMkLst>
      </pc:sldChg>
      <pc:sldChg chg="new del">
        <pc:chgData name="Andreas Koksrud" userId="9d9beba6-c052-407a-8599-c781a677a996" providerId="ADAL" clId="{4C89AD2D-B60A-479F-9F95-9D423A06FAEA}" dt="2024-07-29T08:41:54.885" v="31309" actId="680"/>
        <pc:sldMkLst>
          <pc:docMk/>
          <pc:sldMk cId="2441957211" sldId="1005"/>
        </pc:sldMkLst>
      </pc:sldChg>
      <pc:sldChg chg="addSp delSp modSp add mod">
        <pc:chgData name="Andreas Koksrud" userId="9d9beba6-c052-407a-8599-c781a677a996" providerId="ADAL" clId="{4C89AD2D-B60A-479F-9F95-9D423A06FAEA}" dt="2024-08-06T12:24:24.051" v="37551" actId="1076"/>
        <pc:sldMkLst>
          <pc:docMk/>
          <pc:sldMk cId="1973431329" sldId="1006"/>
        </pc:sldMkLst>
        <pc:spChg chg="add del mod">
          <ac:chgData name="Andreas Koksrud" userId="9d9beba6-c052-407a-8599-c781a677a996" providerId="ADAL" clId="{4C89AD2D-B60A-479F-9F95-9D423A06FAEA}" dt="2024-08-04T16:32:09.694" v="37143" actId="478"/>
          <ac:spMkLst>
            <pc:docMk/>
            <pc:sldMk cId="1973431329" sldId="1006"/>
            <ac:spMk id="5" creationId="{99F89A76-97EE-432E-2287-774D9D5D2B01}"/>
          </ac:spMkLst>
        </pc:spChg>
        <pc:spChg chg="add mod">
          <ac:chgData name="Andreas Koksrud" userId="9d9beba6-c052-407a-8599-c781a677a996" providerId="ADAL" clId="{4C89AD2D-B60A-479F-9F95-9D423A06FAEA}" dt="2024-08-06T12:11:47.922" v="37490" actId="1076"/>
          <ac:spMkLst>
            <pc:docMk/>
            <pc:sldMk cId="1973431329" sldId="1006"/>
            <ac:spMk id="5" creationId="{BF490AA0-638A-A481-74F9-137557083419}"/>
          </ac:spMkLst>
        </pc:spChg>
        <pc:spChg chg="add mod">
          <ac:chgData name="Andreas Koksrud" userId="9d9beba6-c052-407a-8599-c781a677a996" providerId="ADAL" clId="{4C89AD2D-B60A-479F-9F95-9D423A06FAEA}" dt="2024-08-04T16:39:29.936" v="37445" actId="20577"/>
          <ac:spMkLst>
            <pc:docMk/>
            <pc:sldMk cId="1973431329" sldId="1006"/>
            <ac:spMk id="6" creationId="{0D4648DA-4B5B-6E10-A6B4-1C4D081CE994}"/>
          </ac:spMkLst>
        </pc:spChg>
        <pc:spChg chg="add mod">
          <ac:chgData name="Andreas Koksrud" userId="9d9beba6-c052-407a-8599-c781a677a996" providerId="ADAL" clId="{4C89AD2D-B60A-479F-9F95-9D423A06FAEA}" dt="2024-08-06T12:16:08.746" v="37493" actId="571"/>
          <ac:spMkLst>
            <pc:docMk/>
            <pc:sldMk cId="1973431329" sldId="1006"/>
            <ac:spMk id="8" creationId="{4F5C001A-329A-5C97-3A36-A4A152C0B18D}"/>
          </ac:spMkLst>
        </pc:spChg>
        <pc:spChg chg="del">
          <ac:chgData name="Andreas Koksrud" userId="9d9beba6-c052-407a-8599-c781a677a996" providerId="ADAL" clId="{4C89AD2D-B60A-479F-9F95-9D423A06FAEA}" dt="2024-08-04T16:31:54.721" v="37138" actId="478"/>
          <ac:spMkLst>
            <pc:docMk/>
            <pc:sldMk cId="1973431329" sldId="1006"/>
            <ac:spMk id="9" creationId="{CA0B8F57-C785-7ED7-75A2-B61F4152EC1C}"/>
          </ac:spMkLst>
        </pc:spChg>
        <pc:spChg chg="del">
          <ac:chgData name="Andreas Koksrud" userId="9d9beba6-c052-407a-8599-c781a677a996" providerId="ADAL" clId="{4C89AD2D-B60A-479F-9F95-9D423A06FAEA}" dt="2024-08-04T16:31:54.721" v="37138" actId="478"/>
          <ac:spMkLst>
            <pc:docMk/>
            <pc:sldMk cId="1973431329" sldId="1006"/>
            <ac:spMk id="10" creationId="{F997FC19-E381-D98F-81A5-EB4D94CF74AB}"/>
          </ac:spMkLst>
        </pc:spChg>
        <pc:spChg chg="add mod">
          <ac:chgData name="Andreas Koksrud" userId="9d9beba6-c052-407a-8599-c781a677a996" providerId="ADAL" clId="{4C89AD2D-B60A-479F-9F95-9D423A06FAEA}" dt="2024-08-06T12:17:23.712" v="37545" actId="1076"/>
          <ac:spMkLst>
            <pc:docMk/>
            <pc:sldMk cId="1973431329" sldId="1006"/>
            <ac:spMk id="11" creationId="{52D1236E-4802-CEC2-BD4D-A6CAA7DD4F85}"/>
          </ac:spMkLst>
        </pc:spChg>
        <pc:spChg chg="del">
          <ac:chgData name="Andreas Koksrud" userId="9d9beba6-c052-407a-8599-c781a677a996" providerId="ADAL" clId="{4C89AD2D-B60A-479F-9F95-9D423A06FAEA}" dt="2024-08-04T16:31:54.721" v="37138" actId="478"/>
          <ac:spMkLst>
            <pc:docMk/>
            <pc:sldMk cId="1973431329" sldId="1006"/>
            <ac:spMk id="18" creationId="{590BE1AA-95AF-43A9-954A-A3E79A728521}"/>
          </ac:spMkLst>
        </pc:spChg>
        <pc:spChg chg="mod">
          <ac:chgData name="Andreas Koksrud" userId="9d9beba6-c052-407a-8599-c781a677a996" providerId="ADAL" clId="{4C89AD2D-B60A-479F-9F95-9D423A06FAEA}" dt="2024-08-04T16:32:46.595" v="37154" actId="20577"/>
          <ac:spMkLst>
            <pc:docMk/>
            <pc:sldMk cId="1973431329" sldId="1006"/>
            <ac:spMk id="180" creationId="{00000000-0000-0000-0000-000000000000}"/>
          </ac:spMkLst>
        </pc:spChg>
        <pc:spChg chg="del mod">
          <ac:chgData name="Andreas Koksrud" userId="9d9beba6-c052-407a-8599-c781a677a996" providerId="ADAL" clId="{4C89AD2D-B60A-479F-9F95-9D423A06FAEA}" dt="2024-08-04T16:31:59.644" v="37141" actId="478"/>
          <ac:spMkLst>
            <pc:docMk/>
            <pc:sldMk cId="1973431329" sldId="1006"/>
            <ac:spMk id="181" creationId="{00000000-0000-0000-0000-000000000000}"/>
          </ac:spMkLst>
        </pc:spChg>
        <pc:picChg chg="del">
          <ac:chgData name="Andreas Koksrud" userId="9d9beba6-c052-407a-8599-c781a677a996" providerId="ADAL" clId="{4C89AD2D-B60A-479F-9F95-9D423A06FAEA}" dt="2024-08-04T16:31:52.135" v="37136" actId="478"/>
          <ac:picMkLst>
            <pc:docMk/>
            <pc:sldMk cId="1973431329" sldId="1006"/>
            <ac:picMk id="7" creationId="{D270A669-DD81-7E28-5FED-586D5E20D301}"/>
          </ac:picMkLst>
        </pc:picChg>
        <pc:picChg chg="add del">
          <ac:chgData name="Andreas Koksrud" userId="9d9beba6-c052-407a-8599-c781a677a996" providerId="ADAL" clId="{4C89AD2D-B60A-479F-9F95-9D423A06FAEA}" dt="2024-08-04T16:36:58.202" v="37359" actId="478"/>
          <ac:picMkLst>
            <pc:docMk/>
            <pc:sldMk cId="1973431329" sldId="1006"/>
            <ac:picMk id="12" creationId="{A4ED79FB-63A1-1D31-93B7-775792EFF5CE}"/>
          </ac:picMkLst>
        </pc:picChg>
        <pc:picChg chg="del">
          <ac:chgData name="Andreas Koksrud" userId="9d9beba6-c052-407a-8599-c781a677a996" providerId="ADAL" clId="{4C89AD2D-B60A-479F-9F95-9D423A06FAEA}" dt="2024-08-04T16:31:52.960" v="37137" actId="478"/>
          <ac:picMkLst>
            <pc:docMk/>
            <pc:sldMk cId="1973431329" sldId="1006"/>
            <ac:picMk id="13" creationId="{C1E9FDD8-2702-0576-73BE-828D8198DCFB}"/>
          </ac:picMkLst>
        </pc:picChg>
        <pc:picChg chg="add mod">
          <ac:chgData name="Andreas Koksrud" userId="9d9beba6-c052-407a-8599-c781a677a996" providerId="ADAL" clId="{4C89AD2D-B60A-479F-9F95-9D423A06FAEA}" dt="2024-08-06T12:24:24.051" v="37551" actId="1076"/>
          <ac:picMkLst>
            <pc:docMk/>
            <pc:sldMk cId="1973431329" sldId="1006"/>
            <ac:picMk id="15" creationId="{8E3DB78A-889B-FE8A-A870-262BE8307440}"/>
          </ac:picMkLst>
        </pc:picChg>
        <pc:picChg chg="add mod">
          <ac:chgData name="Andreas Koksrud" userId="9d9beba6-c052-407a-8599-c781a677a996" providerId="ADAL" clId="{4C89AD2D-B60A-479F-9F95-9D423A06FAEA}" dt="2024-08-04T16:39:46.972" v="37450" actId="1076"/>
          <ac:picMkLst>
            <pc:docMk/>
            <pc:sldMk cId="1973431329" sldId="1006"/>
            <ac:picMk id="16" creationId="{9EC9C4B6-6713-57DC-CDF7-4AB82213FA0E}"/>
          </ac:picMkLst>
        </pc:picChg>
        <pc:picChg chg="del">
          <ac:chgData name="Andreas Koksrud" userId="9d9beba6-c052-407a-8599-c781a677a996" providerId="ADAL" clId="{4C89AD2D-B60A-479F-9F95-9D423A06FAEA}" dt="2024-08-04T16:31:51.295" v="37135" actId="478"/>
          <ac:picMkLst>
            <pc:docMk/>
            <pc:sldMk cId="1973431329" sldId="1006"/>
            <ac:picMk id="17" creationId="{A5E4FFA0-B255-C8A8-4BB6-FF985E86FD5E}"/>
          </ac:picMkLst>
        </pc:picChg>
        <pc:picChg chg="add mod">
          <ac:chgData name="Andreas Koksrud" userId="9d9beba6-c052-407a-8599-c781a677a996" providerId="ADAL" clId="{4C89AD2D-B60A-479F-9F95-9D423A06FAEA}" dt="2024-08-04T16:42:37.590" v="37456" actId="14100"/>
          <ac:picMkLst>
            <pc:docMk/>
            <pc:sldMk cId="1973431329" sldId="1006"/>
            <ac:picMk id="20" creationId="{8A5E579A-7D44-0A7C-58BD-5B6F159E42F0}"/>
          </ac:picMkLst>
        </pc:picChg>
        <pc:picChg chg="add del mod">
          <ac:chgData name="Andreas Koksrud" userId="9d9beba6-c052-407a-8599-c781a677a996" providerId="ADAL" clId="{4C89AD2D-B60A-479F-9F95-9D423A06FAEA}" dt="2024-08-04T16:46:17.921" v="37485" actId="478"/>
          <ac:picMkLst>
            <pc:docMk/>
            <pc:sldMk cId="1973431329" sldId="1006"/>
            <ac:picMk id="22" creationId="{ED81073F-75B4-3093-ED48-8D3442D424F7}"/>
          </ac:picMkLst>
        </pc:picChg>
        <pc:picChg chg="add mod">
          <ac:chgData name="Andreas Koksrud" userId="9d9beba6-c052-407a-8599-c781a677a996" providerId="ADAL" clId="{4C89AD2D-B60A-479F-9F95-9D423A06FAEA}" dt="2024-08-04T16:46:24.599" v="37488" actId="14100"/>
          <ac:picMkLst>
            <pc:docMk/>
            <pc:sldMk cId="1973431329" sldId="1006"/>
            <ac:picMk id="24" creationId="{6FE53B6D-961A-2176-C25C-3CDF0070DE87}"/>
          </ac:picMkLst>
        </pc:picChg>
        <pc:cxnChg chg="add mod">
          <ac:chgData name="Andreas Koksrud" userId="9d9beba6-c052-407a-8599-c781a677a996" providerId="ADAL" clId="{4C89AD2D-B60A-479F-9F95-9D423A06FAEA}" dt="2024-08-06T12:16:01.106" v="37492" actId="14100"/>
          <ac:cxnSpMkLst>
            <pc:docMk/>
            <pc:sldMk cId="1973431329" sldId="1006"/>
            <ac:cxnSpMk id="2" creationId="{F3838632-C318-389B-A421-99F75FBD93F5}"/>
          </ac:cxnSpMkLst>
        </pc:cxnChg>
        <pc:cxnChg chg="del">
          <ac:chgData name="Andreas Koksrud" userId="9d9beba6-c052-407a-8599-c781a677a996" providerId="ADAL" clId="{4C89AD2D-B60A-479F-9F95-9D423A06FAEA}" dt="2024-08-04T16:31:54.721" v="37138" actId="478"/>
          <ac:cxnSpMkLst>
            <pc:docMk/>
            <pc:sldMk cId="1973431329" sldId="1006"/>
            <ac:cxnSpMk id="8" creationId="{E82D89F0-8631-AF82-B3B7-0F64B54EE1B5}"/>
          </ac:cxnSpMkLst>
        </pc:cxnChg>
        <pc:cxnChg chg="add mod">
          <ac:chgData name="Andreas Koksrud" userId="9d9beba6-c052-407a-8599-c781a677a996" providerId="ADAL" clId="{4C89AD2D-B60A-479F-9F95-9D423A06FAEA}" dt="2024-08-06T12:16:16.086" v="37495" actId="14100"/>
          <ac:cxnSpMkLst>
            <pc:docMk/>
            <pc:sldMk cId="1973431329" sldId="1006"/>
            <ac:cxnSpMk id="9" creationId="{A0C3E323-BE57-68A1-017B-F0AE6914118C}"/>
          </ac:cxnSpMkLst>
        </pc:cxnChg>
        <pc:cxnChg chg="add mod">
          <ac:chgData name="Andreas Koksrud" userId="9d9beba6-c052-407a-8599-c781a677a996" providerId="ADAL" clId="{4C89AD2D-B60A-479F-9F95-9D423A06FAEA}" dt="2024-08-06T12:17:31.098" v="37547" actId="14100"/>
          <ac:cxnSpMkLst>
            <pc:docMk/>
            <pc:sldMk cId="1973431329" sldId="1006"/>
            <ac:cxnSpMk id="12" creationId="{77C1C8D9-11E6-27F5-83C3-19339006CADF}"/>
          </ac:cxnSpMkLst>
        </pc:cxnChg>
        <pc:cxnChg chg="del">
          <ac:chgData name="Andreas Koksrud" userId="9d9beba6-c052-407a-8599-c781a677a996" providerId="ADAL" clId="{4C89AD2D-B60A-479F-9F95-9D423A06FAEA}" dt="2024-08-04T16:31:54.721" v="37138" actId="478"/>
          <ac:cxnSpMkLst>
            <pc:docMk/>
            <pc:sldMk cId="1973431329" sldId="1006"/>
            <ac:cxnSpMk id="14" creationId="{B2C9EDD1-F9A4-636D-A7D1-7E8A19E2AC32}"/>
          </ac:cxnSpMkLst>
        </pc:cxnChg>
      </pc:sldChg>
      <pc:sldChg chg="addSp delSp modSp add mod">
        <pc:chgData name="Andreas Koksrud" userId="9d9beba6-c052-407a-8599-c781a677a996" providerId="ADAL" clId="{4C89AD2D-B60A-479F-9F95-9D423A06FAEA}" dt="2024-08-06T12:45:51.596" v="37680" actId="14100"/>
        <pc:sldMkLst>
          <pc:docMk/>
          <pc:sldMk cId="393510099" sldId="1007"/>
        </pc:sldMkLst>
        <pc:spChg chg="add del mod">
          <ac:chgData name="Andreas Koksrud" userId="9d9beba6-c052-407a-8599-c781a677a996" providerId="ADAL" clId="{4C89AD2D-B60A-479F-9F95-9D423A06FAEA}" dt="2024-08-06T12:25:26.108" v="37553" actId="478"/>
          <ac:spMkLst>
            <pc:docMk/>
            <pc:sldMk cId="393510099" sldId="1007"/>
            <ac:spMk id="2" creationId="{C9AA2A52-AB22-FC6F-F11C-EDF1D8477DCD}"/>
          </ac:spMkLst>
        </pc:spChg>
        <pc:spChg chg="mod">
          <ac:chgData name="Andreas Koksrud" userId="9d9beba6-c052-407a-8599-c781a677a996" providerId="ADAL" clId="{4C89AD2D-B60A-479F-9F95-9D423A06FAEA}" dt="2024-08-06T12:40:09.720" v="37654" actId="20577"/>
          <ac:spMkLst>
            <pc:docMk/>
            <pc:sldMk cId="393510099" sldId="1007"/>
            <ac:spMk id="6" creationId="{0D4648DA-4B5B-6E10-A6B4-1C4D081CE994}"/>
          </ac:spMkLst>
        </pc:spChg>
        <pc:spChg chg="add mod">
          <ac:chgData name="Andreas Koksrud" userId="9d9beba6-c052-407a-8599-c781a677a996" providerId="ADAL" clId="{4C89AD2D-B60A-479F-9F95-9D423A06FAEA}" dt="2024-08-06T12:39:44.052" v="37574" actId="14100"/>
          <ac:spMkLst>
            <pc:docMk/>
            <pc:sldMk cId="393510099" sldId="1007"/>
            <ac:spMk id="9" creationId="{EA9522FE-046D-6C60-1C30-3D9CC75D9B9F}"/>
          </ac:spMkLst>
        </pc:spChg>
        <pc:spChg chg="add mod">
          <ac:chgData name="Andreas Koksrud" userId="9d9beba6-c052-407a-8599-c781a677a996" providerId="ADAL" clId="{4C89AD2D-B60A-479F-9F95-9D423A06FAEA}" dt="2024-08-06T12:39:40.331" v="37573" actId="14100"/>
          <ac:spMkLst>
            <pc:docMk/>
            <pc:sldMk cId="393510099" sldId="1007"/>
            <ac:spMk id="10" creationId="{5737FA8F-D1D5-BE7D-F9C3-7B6CD30F3BC9}"/>
          </ac:spMkLst>
        </pc:spChg>
        <pc:spChg chg="add del mod">
          <ac:chgData name="Andreas Koksrud" userId="9d9beba6-c052-407a-8599-c781a677a996" providerId="ADAL" clId="{4C89AD2D-B60A-479F-9F95-9D423A06FAEA}" dt="2024-08-06T12:39:34.774" v="37571" actId="478"/>
          <ac:spMkLst>
            <pc:docMk/>
            <pc:sldMk cId="393510099" sldId="1007"/>
            <ac:spMk id="13" creationId="{F561E89F-E1EE-6F5A-8997-74F66B0F4155}"/>
          </ac:spMkLst>
        </pc:spChg>
        <pc:spChg chg="mod">
          <ac:chgData name="Andreas Koksrud" userId="9d9beba6-c052-407a-8599-c781a677a996" providerId="ADAL" clId="{4C89AD2D-B60A-479F-9F95-9D423A06FAEA}" dt="2024-08-04T16:34:44.198" v="37179" actId="20577"/>
          <ac:spMkLst>
            <pc:docMk/>
            <pc:sldMk cId="393510099" sldId="1007"/>
            <ac:spMk id="180" creationId="{00000000-0000-0000-0000-000000000000}"/>
          </ac:spMkLst>
        </pc:spChg>
        <pc:picChg chg="add del mod">
          <ac:chgData name="Andreas Koksrud" userId="9d9beba6-c052-407a-8599-c781a677a996" providerId="ADAL" clId="{4C89AD2D-B60A-479F-9F95-9D423A06FAEA}" dt="2024-08-06T12:38:42.346" v="37564" actId="478"/>
          <ac:picMkLst>
            <pc:docMk/>
            <pc:sldMk cId="393510099" sldId="1007"/>
            <ac:picMk id="5" creationId="{FE307C5B-98CE-AAA9-5B44-15D2F0372C1E}"/>
          </ac:picMkLst>
        </pc:picChg>
        <pc:picChg chg="add del mod">
          <ac:chgData name="Andreas Koksrud" userId="9d9beba6-c052-407a-8599-c781a677a996" providerId="ADAL" clId="{4C89AD2D-B60A-479F-9F95-9D423A06FAEA}" dt="2024-08-06T12:40:38.385" v="37657" actId="478"/>
          <ac:picMkLst>
            <pc:docMk/>
            <pc:sldMk cId="393510099" sldId="1007"/>
            <ac:picMk id="7" creationId="{E00FCB49-C960-7143-5476-383FB89997BB}"/>
          </ac:picMkLst>
        </pc:picChg>
        <pc:picChg chg="add mod ord modCrop">
          <ac:chgData name="Andreas Koksrud" userId="9d9beba6-c052-407a-8599-c781a677a996" providerId="ADAL" clId="{4C89AD2D-B60A-479F-9F95-9D423A06FAEA}" dt="2024-08-06T12:39:26.488" v="37570" actId="732"/>
          <ac:picMkLst>
            <pc:docMk/>
            <pc:sldMk cId="393510099" sldId="1007"/>
            <ac:picMk id="14" creationId="{34B80D8D-28CA-A753-5C59-71D512055FD0}"/>
          </ac:picMkLst>
        </pc:picChg>
        <pc:picChg chg="add mod">
          <ac:chgData name="Andreas Koksrud" userId="9d9beba6-c052-407a-8599-c781a677a996" providerId="ADAL" clId="{4C89AD2D-B60A-479F-9F95-9D423A06FAEA}" dt="2024-08-06T12:41:07.520" v="37660" actId="14100"/>
          <ac:picMkLst>
            <pc:docMk/>
            <pc:sldMk cId="393510099" sldId="1007"/>
            <ac:picMk id="18" creationId="{A356CE13-1D38-7645-880F-A5DCBC74F3D1}"/>
          </ac:picMkLst>
        </pc:picChg>
        <pc:picChg chg="add mod">
          <ac:chgData name="Andreas Koksrud" userId="9d9beba6-c052-407a-8599-c781a677a996" providerId="ADAL" clId="{4C89AD2D-B60A-479F-9F95-9D423A06FAEA}" dt="2024-08-06T12:41:33.381" v="37663" actId="14100"/>
          <ac:picMkLst>
            <pc:docMk/>
            <pc:sldMk cId="393510099" sldId="1007"/>
            <ac:picMk id="20" creationId="{69901157-AF83-E86B-B56A-DEF711529082}"/>
          </ac:picMkLst>
        </pc:picChg>
        <pc:picChg chg="add mod">
          <ac:chgData name="Andreas Koksrud" userId="9d9beba6-c052-407a-8599-c781a677a996" providerId="ADAL" clId="{4C89AD2D-B60A-479F-9F95-9D423A06FAEA}" dt="2024-08-06T12:41:56.363" v="37666" actId="14100"/>
          <ac:picMkLst>
            <pc:docMk/>
            <pc:sldMk cId="393510099" sldId="1007"/>
            <ac:picMk id="22" creationId="{149DD14F-5045-F81E-96FA-0A9B4B309FF8}"/>
          </ac:picMkLst>
        </pc:picChg>
        <pc:picChg chg="add mod">
          <ac:chgData name="Andreas Koksrud" userId="9d9beba6-c052-407a-8599-c781a677a996" providerId="ADAL" clId="{4C89AD2D-B60A-479F-9F95-9D423A06FAEA}" dt="2024-08-06T12:45:22.769" v="37677" actId="1076"/>
          <ac:picMkLst>
            <pc:docMk/>
            <pc:sldMk cId="393510099" sldId="1007"/>
            <ac:picMk id="32" creationId="{F8DA2683-BDFE-F449-57CB-F72B8877350B}"/>
          </ac:picMkLst>
        </pc:picChg>
        <pc:picChg chg="add mod">
          <ac:chgData name="Andreas Koksrud" userId="9d9beba6-c052-407a-8599-c781a677a996" providerId="ADAL" clId="{4C89AD2D-B60A-479F-9F95-9D423A06FAEA}" dt="2024-08-06T12:45:51.596" v="37680" actId="14100"/>
          <ac:picMkLst>
            <pc:docMk/>
            <pc:sldMk cId="393510099" sldId="1007"/>
            <ac:picMk id="34" creationId="{E734843C-18F0-BB37-5A4F-3FEF0381F50C}"/>
          </ac:picMkLst>
        </pc:picChg>
        <pc:cxnChg chg="add mod">
          <ac:chgData name="Andreas Koksrud" userId="9d9beba6-c052-407a-8599-c781a677a996" providerId="ADAL" clId="{4C89AD2D-B60A-479F-9F95-9D423A06FAEA}" dt="2024-08-06T12:40:18.529" v="37656" actId="14100"/>
          <ac:cxnSpMkLst>
            <pc:docMk/>
            <pc:sldMk cId="393510099" sldId="1007"/>
            <ac:cxnSpMk id="8" creationId="{6DB23AA1-8A0B-5B86-3A9C-F1363D6B2A91}"/>
          </ac:cxnSpMkLst>
        </pc:cxnChg>
        <pc:cxnChg chg="add mod">
          <ac:chgData name="Andreas Koksrud" userId="9d9beba6-c052-407a-8599-c781a677a996" providerId="ADAL" clId="{4C89AD2D-B60A-479F-9F95-9D423A06FAEA}" dt="2024-08-06T12:40:14.966" v="37655" actId="14100"/>
          <ac:cxnSpMkLst>
            <pc:docMk/>
            <pc:sldMk cId="393510099" sldId="1007"/>
            <ac:cxnSpMk id="11" creationId="{48D8B29F-B432-E37A-0E38-022A27E4C0AB}"/>
          </ac:cxnSpMkLst>
        </pc:cxnChg>
        <pc:cxnChg chg="add del mod">
          <ac:chgData name="Andreas Koksrud" userId="9d9beba6-c052-407a-8599-c781a677a996" providerId="ADAL" clId="{4C89AD2D-B60A-479F-9F95-9D423A06FAEA}" dt="2024-08-06T12:39:36.454" v="37572" actId="478"/>
          <ac:cxnSpMkLst>
            <pc:docMk/>
            <pc:sldMk cId="393510099" sldId="1007"/>
            <ac:cxnSpMk id="12" creationId="{0AAACBDE-4559-DE16-4A89-770607D8C8CE}"/>
          </ac:cxnSpMkLst>
        </pc:cxnChg>
        <pc:cxnChg chg="add mod">
          <ac:chgData name="Andreas Koksrud" userId="9d9beba6-c052-407a-8599-c781a677a996" providerId="ADAL" clId="{4C89AD2D-B60A-479F-9F95-9D423A06FAEA}" dt="2024-08-06T12:42:11.084" v="37669" actId="14100"/>
          <ac:cxnSpMkLst>
            <pc:docMk/>
            <pc:sldMk cId="393510099" sldId="1007"/>
            <ac:cxnSpMk id="23" creationId="{E688358A-2472-8643-1ECF-1FAB3B17AEA4}"/>
          </ac:cxnSpMkLst>
        </pc:cxnChg>
        <pc:cxnChg chg="add mod">
          <ac:chgData name="Andreas Koksrud" userId="9d9beba6-c052-407a-8599-c781a677a996" providerId="ADAL" clId="{4C89AD2D-B60A-479F-9F95-9D423A06FAEA}" dt="2024-08-06T12:42:17.887" v="37672" actId="14100"/>
          <ac:cxnSpMkLst>
            <pc:docMk/>
            <pc:sldMk cId="393510099" sldId="1007"/>
            <ac:cxnSpMk id="26" creationId="{34096284-9148-45DA-E801-137CB0846677}"/>
          </ac:cxnSpMkLst>
        </pc:cxnChg>
        <pc:cxnChg chg="add mod">
          <ac:chgData name="Andreas Koksrud" userId="9d9beba6-c052-407a-8599-c781a677a996" providerId="ADAL" clId="{4C89AD2D-B60A-479F-9F95-9D423A06FAEA}" dt="2024-08-06T12:42:25.933" v="37674" actId="14100"/>
          <ac:cxnSpMkLst>
            <pc:docMk/>
            <pc:sldMk cId="393510099" sldId="1007"/>
            <ac:cxnSpMk id="29" creationId="{39D92218-74E7-6BA5-D3CE-E67955A4490A}"/>
          </ac:cxnSpMkLst>
        </pc:cxnChg>
      </pc:sldChg>
      <pc:sldChg chg="modSp add del mod">
        <pc:chgData name="Andreas Koksrud" userId="9d9beba6-c052-407a-8599-c781a677a996" providerId="ADAL" clId="{4C89AD2D-B60A-479F-9F95-9D423A06FAEA}" dt="2024-08-06T12:46:21.028" v="37681" actId="47"/>
        <pc:sldMkLst>
          <pc:docMk/>
          <pc:sldMk cId="628658036" sldId="1008"/>
        </pc:sldMkLst>
        <pc:spChg chg="mod">
          <ac:chgData name="Andreas Koksrud" userId="9d9beba6-c052-407a-8599-c781a677a996" providerId="ADAL" clId="{4C89AD2D-B60A-479F-9F95-9D423A06FAEA}" dt="2024-08-04T16:34:50.152" v="37194" actId="20577"/>
          <ac:spMkLst>
            <pc:docMk/>
            <pc:sldMk cId="628658036" sldId="1008"/>
            <ac:spMk id="180" creationId="{00000000-0000-0000-0000-000000000000}"/>
          </ac:spMkLst>
        </pc:spChg>
      </pc:sldChg>
      <pc:sldChg chg="addSp modSp add mod">
        <pc:chgData name="Andreas Koksrud" userId="9d9beba6-c052-407a-8599-c781a677a996" providerId="ADAL" clId="{4C89AD2D-B60A-479F-9F95-9D423A06FAEA}" dt="2024-08-06T13:13:17.154" v="38404" actId="14826"/>
        <pc:sldMkLst>
          <pc:docMk/>
          <pc:sldMk cId="204293732" sldId="1009"/>
        </pc:sldMkLst>
        <pc:spChg chg="mod">
          <ac:chgData name="Andreas Koksrud" userId="9d9beba6-c052-407a-8599-c781a677a996" providerId="ADAL" clId="{4C89AD2D-B60A-479F-9F95-9D423A06FAEA}" dt="2024-08-06T13:09:14.558" v="38236" actId="403"/>
          <ac:spMkLst>
            <pc:docMk/>
            <pc:sldMk cId="204293732" sldId="1009"/>
            <ac:spMk id="6" creationId="{0D4648DA-4B5B-6E10-A6B4-1C4D081CE994}"/>
          </ac:spMkLst>
        </pc:spChg>
        <pc:spChg chg="add mod">
          <ac:chgData name="Andreas Koksrud" userId="9d9beba6-c052-407a-8599-c781a677a996" providerId="ADAL" clId="{4C89AD2D-B60A-479F-9F95-9D423A06FAEA}" dt="2024-08-06T12:57:53.063" v="38066" actId="1037"/>
          <ac:spMkLst>
            <pc:docMk/>
            <pc:sldMk cId="204293732" sldId="1009"/>
            <ac:spMk id="7" creationId="{B250CD7F-4F1F-032D-232F-76216BBC57FA}"/>
          </ac:spMkLst>
        </pc:spChg>
        <pc:spChg chg="add mod">
          <ac:chgData name="Andreas Koksrud" userId="9d9beba6-c052-407a-8599-c781a677a996" providerId="ADAL" clId="{4C89AD2D-B60A-479F-9F95-9D423A06FAEA}" dt="2024-08-06T13:11:07.477" v="38333" actId="27636"/>
          <ac:spMkLst>
            <pc:docMk/>
            <pc:sldMk cId="204293732" sldId="1009"/>
            <ac:spMk id="27" creationId="{9F9FC0F1-3DB9-11A0-0582-2A41985BC798}"/>
          </ac:spMkLst>
        </pc:spChg>
        <pc:spChg chg="add mod">
          <ac:chgData name="Andreas Koksrud" userId="9d9beba6-c052-407a-8599-c781a677a996" providerId="ADAL" clId="{4C89AD2D-B60A-479F-9F95-9D423A06FAEA}" dt="2024-08-06T13:11:45.427" v="38402" actId="27636"/>
          <ac:spMkLst>
            <pc:docMk/>
            <pc:sldMk cId="204293732" sldId="1009"/>
            <ac:spMk id="32" creationId="{7441BED7-411B-F94C-B861-6678777A050F}"/>
          </ac:spMkLst>
        </pc:spChg>
        <pc:spChg chg="mod">
          <ac:chgData name="Andreas Koksrud" userId="9d9beba6-c052-407a-8599-c781a677a996" providerId="ADAL" clId="{4C89AD2D-B60A-479F-9F95-9D423A06FAEA}" dt="2024-08-04T16:35:03.835" v="37234" actId="20577"/>
          <ac:spMkLst>
            <pc:docMk/>
            <pc:sldMk cId="204293732" sldId="1009"/>
            <ac:spMk id="180" creationId="{00000000-0000-0000-0000-000000000000}"/>
          </ac:spMkLst>
        </pc:spChg>
        <pc:picChg chg="add mod">
          <ac:chgData name="Andreas Koksrud" userId="9d9beba6-c052-407a-8599-c781a677a996" providerId="ADAL" clId="{4C89AD2D-B60A-479F-9F95-9D423A06FAEA}" dt="2024-08-06T12:57:32.718" v="38060" actId="14100"/>
          <ac:picMkLst>
            <pc:docMk/>
            <pc:sldMk cId="204293732" sldId="1009"/>
            <ac:picMk id="5" creationId="{7D6069A2-9501-2300-BD28-8209D040D610}"/>
          </ac:picMkLst>
        </pc:picChg>
        <pc:picChg chg="add mod ord">
          <ac:chgData name="Andreas Koksrud" userId="9d9beba6-c052-407a-8599-c781a677a996" providerId="ADAL" clId="{4C89AD2D-B60A-479F-9F95-9D423A06FAEA}" dt="2024-08-06T13:00:14.291" v="38073" actId="167"/>
          <ac:picMkLst>
            <pc:docMk/>
            <pc:sldMk cId="204293732" sldId="1009"/>
            <ac:picMk id="12" creationId="{CA5A0F25-9526-EBB3-A04F-5EB28C9A446E}"/>
          </ac:picMkLst>
        </pc:picChg>
        <pc:picChg chg="add mod">
          <ac:chgData name="Andreas Koksrud" userId="9d9beba6-c052-407a-8599-c781a677a996" providerId="ADAL" clId="{4C89AD2D-B60A-479F-9F95-9D423A06FAEA}" dt="2024-08-06T13:08:32.916" v="38181" actId="1076"/>
          <ac:picMkLst>
            <pc:docMk/>
            <pc:sldMk cId="204293732" sldId="1009"/>
            <ac:picMk id="15" creationId="{127C00FE-471B-0958-D5D3-5F812F0489F6}"/>
          </ac:picMkLst>
        </pc:picChg>
        <pc:picChg chg="add mod">
          <ac:chgData name="Andreas Koksrud" userId="9d9beba6-c052-407a-8599-c781a677a996" providerId="ADAL" clId="{4C89AD2D-B60A-479F-9F95-9D423A06FAEA}" dt="2024-08-06T13:13:17.154" v="38404" actId="14826"/>
          <ac:picMkLst>
            <pc:docMk/>
            <pc:sldMk cId="204293732" sldId="1009"/>
            <ac:picMk id="19" creationId="{359151E5-029A-999E-26AE-1377CE51CE76}"/>
          </ac:picMkLst>
        </pc:picChg>
        <pc:picChg chg="add mod">
          <ac:chgData name="Andreas Koksrud" userId="9d9beba6-c052-407a-8599-c781a677a996" providerId="ADAL" clId="{4C89AD2D-B60A-479F-9F95-9D423A06FAEA}" dt="2024-08-06T13:10:59.204" v="38330" actId="1076"/>
          <ac:picMkLst>
            <pc:docMk/>
            <pc:sldMk cId="204293732" sldId="1009"/>
            <ac:picMk id="30" creationId="{9DCA5A58-5D56-1568-3249-932C89E09859}"/>
          </ac:picMkLst>
        </pc:picChg>
        <pc:cxnChg chg="add mod">
          <ac:chgData name="Andreas Koksrud" userId="9d9beba6-c052-407a-8599-c781a677a996" providerId="ADAL" clId="{4C89AD2D-B60A-479F-9F95-9D423A06FAEA}" dt="2024-08-06T13:00:11.520" v="38072" actId="14100"/>
          <ac:cxnSpMkLst>
            <pc:docMk/>
            <pc:sldMk cId="204293732" sldId="1009"/>
            <ac:cxnSpMk id="8" creationId="{B1874FD3-F563-97BC-FDE6-AC4BDAED6CF9}"/>
          </ac:cxnSpMkLst>
        </pc:cxnChg>
        <pc:cxnChg chg="add mod">
          <ac:chgData name="Andreas Koksrud" userId="9d9beba6-c052-407a-8599-c781a677a996" providerId="ADAL" clId="{4C89AD2D-B60A-479F-9F95-9D423A06FAEA}" dt="2024-08-06T13:06:18.665" v="38171" actId="14100"/>
          <ac:cxnSpMkLst>
            <pc:docMk/>
            <pc:sldMk cId="204293732" sldId="1009"/>
            <ac:cxnSpMk id="16" creationId="{AC1557EC-4A73-6D5E-CC6D-62931451DEA2}"/>
          </ac:cxnSpMkLst>
        </pc:cxnChg>
        <pc:cxnChg chg="add mod">
          <ac:chgData name="Andreas Koksrud" userId="9d9beba6-c052-407a-8599-c781a677a996" providerId="ADAL" clId="{4C89AD2D-B60A-479F-9F95-9D423A06FAEA}" dt="2024-08-06T13:11:52.421" v="38403" actId="14100"/>
          <ac:cxnSpMkLst>
            <pc:docMk/>
            <pc:sldMk cId="204293732" sldId="1009"/>
            <ac:cxnSpMk id="21" creationId="{F2921D8A-B823-857B-75BD-14275745C8CB}"/>
          </ac:cxnSpMkLst>
        </pc:cxnChg>
        <pc:cxnChg chg="add mod">
          <ac:chgData name="Andreas Koksrud" userId="9d9beba6-c052-407a-8599-c781a677a996" providerId="ADAL" clId="{4C89AD2D-B60A-479F-9F95-9D423A06FAEA}" dt="2024-08-06T13:09:59.339" v="38244" actId="14100"/>
          <ac:cxnSpMkLst>
            <pc:docMk/>
            <pc:sldMk cId="204293732" sldId="1009"/>
            <ac:cxnSpMk id="25" creationId="{267E66C1-AFF1-F625-4563-8C222B7AF09A}"/>
          </ac:cxnSpMkLst>
        </pc:cxnChg>
      </pc:sldChg>
      <pc:sldChg chg="addSp delSp modSp add mod">
        <pc:chgData name="Andreas Koksrud" userId="9d9beba6-c052-407a-8599-c781a677a996" providerId="ADAL" clId="{4C89AD2D-B60A-479F-9F95-9D423A06FAEA}" dt="2024-08-06T12:54:17.888" v="37944" actId="1076"/>
        <pc:sldMkLst>
          <pc:docMk/>
          <pc:sldMk cId="1721478970" sldId="1010"/>
        </pc:sldMkLst>
        <pc:spChg chg="mod">
          <ac:chgData name="Andreas Koksrud" userId="9d9beba6-c052-407a-8599-c781a677a996" providerId="ADAL" clId="{4C89AD2D-B60A-479F-9F95-9D423A06FAEA}" dt="2024-08-06T12:48:06.631" v="37749" actId="6549"/>
          <ac:spMkLst>
            <pc:docMk/>
            <pc:sldMk cId="1721478970" sldId="1010"/>
            <ac:spMk id="6" creationId="{0D4648DA-4B5B-6E10-A6B4-1C4D081CE994}"/>
          </ac:spMkLst>
        </pc:spChg>
        <pc:spChg chg="mod">
          <ac:chgData name="Andreas Koksrud" userId="9d9beba6-c052-407a-8599-c781a677a996" providerId="ADAL" clId="{4C89AD2D-B60A-479F-9F95-9D423A06FAEA}" dt="2024-08-06T12:47:34.456" v="37706" actId="14100"/>
          <ac:spMkLst>
            <pc:docMk/>
            <pc:sldMk cId="1721478970" sldId="1010"/>
            <ac:spMk id="9" creationId="{EA9522FE-046D-6C60-1C30-3D9CC75D9B9F}"/>
          </ac:spMkLst>
        </pc:spChg>
        <pc:spChg chg="mod">
          <ac:chgData name="Andreas Koksrud" userId="9d9beba6-c052-407a-8599-c781a677a996" providerId="ADAL" clId="{4C89AD2D-B60A-479F-9F95-9D423A06FAEA}" dt="2024-08-06T12:47:43.342" v="37707" actId="14100"/>
          <ac:spMkLst>
            <pc:docMk/>
            <pc:sldMk cId="1721478970" sldId="1010"/>
            <ac:spMk id="10" creationId="{5737FA8F-D1D5-BE7D-F9C3-7B6CD30F3BC9}"/>
          </ac:spMkLst>
        </pc:spChg>
        <pc:spChg chg="add mod">
          <ac:chgData name="Andreas Koksrud" userId="9d9beba6-c052-407a-8599-c781a677a996" providerId="ADAL" clId="{4C89AD2D-B60A-479F-9F95-9D423A06FAEA}" dt="2024-08-06T12:50:10.460" v="37761"/>
          <ac:spMkLst>
            <pc:docMk/>
            <pc:sldMk cId="1721478970" sldId="1010"/>
            <ac:spMk id="13" creationId="{5009A4B6-5845-F246-3B85-058382DA43CC}"/>
          </ac:spMkLst>
        </pc:spChg>
        <pc:spChg chg="add mod">
          <ac:chgData name="Andreas Koksrud" userId="9d9beba6-c052-407a-8599-c781a677a996" providerId="ADAL" clId="{4C89AD2D-B60A-479F-9F95-9D423A06FAEA}" dt="2024-08-06T12:50:10.460" v="37761"/>
          <ac:spMkLst>
            <pc:docMk/>
            <pc:sldMk cId="1721478970" sldId="1010"/>
            <ac:spMk id="15" creationId="{2B4512CC-043C-8815-A8CA-BF12F414CD89}"/>
          </ac:spMkLst>
        </pc:spChg>
        <pc:spChg chg="add mod">
          <ac:chgData name="Andreas Koksrud" userId="9d9beba6-c052-407a-8599-c781a677a996" providerId="ADAL" clId="{4C89AD2D-B60A-479F-9F95-9D423A06FAEA}" dt="2024-08-06T12:50:10.460" v="37761"/>
          <ac:spMkLst>
            <pc:docMk/>
            <pc:sldMk cId="1721478970" sldId="1010"/>
            <ac:spMk id="16" creationId="{03F084D7-BCF8-298C-81A4-164B79657963}"/>
          </ac:spMkLst>
        </pc:spChg>
        <pc:spChg chg="add mod">
          <ac:chgData name="Andreas Koksrud" userId="9d9beba6-c052-407a-8599-c781a677a996" providerId="ADAL" clId="{4C89AD2D-B60A-479F-9F95-9D423A06FAEA}" dt="2024-08-06T12:50:10.460" v="37761"/>
          <ac:spMkLst>
            <pc:docMk/>
            <pc:sldMk cId="1721478970" sldId="1010"/>
            <ac:spMk id="17" creationId="{83249ECC-52F2-A82D-0EDA-AE73A36A3ADC}"/>
          </ac:spMkLst>
        </pc:spChg>
        <pc:spChg chg="add mod">
          <ac:chgData name="Andreas Koksrud" userId="9d9beba6-c052-407a-8599-c781a677a996" providerId="ADAL" clId="{4C89AD2D-B60A-479F-9F95-9D423A06FAEA}" dt="2024-08-06T12:50:10.460" v="37761"/>
          <ac:spMkLst>
            <pc:docMk/>
            <pc:sldMk cId="1721478970" sldId="1010"/>
            <ac:spMk id="19" creationId="{D061BFDF-D940-5741-27AB-E0574D99F604}"/>
          </ac:spMkLst>
        </pc:spChg>
        <pc:spChg chg="add mod">
          <ac:chgData name="Andreas Koksrud" userId="9d9beba6-c052-407a-8599-c781a677a996" providerId="ADAL" clId="{4C89AD2D-B60A-479F-9F95-9D423A06FAEA}" dt="2024-08-06T12:50:10.460" v="37761"/>
          <ac:spMkLst>
            <pc:docMk/>
            <pc:sldMk cId="1721478970" sldId="1010"/>
            <ac:spMk id="21" creationId="{DAEC36BE-70B3-A8BC-9233-95562E815701}"/>
          </ac:spMkLst>
        </pc:spChg>
        <pc:spChg chg="add mod">
          <ac:chgData name="Andreas Koksrud" userId="9d9beba6-c052-407a-8599-c781a677a996" providerId="ADAL" clId="{4C89AD2D-B60A-479F-9F95-9D423A06FAEA}" dt="2024-08-06T12:51:34.679" v="37779" actId="14100"/>
          <ac:spMkLst>
            <pc:docMk/>
            <pc:sldMk cId="1721478970" sldId="1010"/>
            <ac:spMk id="24" creationId="{54106520-7F2D-C319-1F88-9EA7642B935A}"/>
          </ac:spMkLst>
        </pc:spChg>
        <pc:spChg chg="add mod">
          <ac:chgData name="Andreas Koksrud" userId="9d9beba6-c052-407a-8599-c781a677a996" providerId="ADAL" clId="{4C89AD2D-B60A-479F-9F95-9D423A06FAEA}" dt="2024-08-06T12:51:34.679" v="37779" actId="14100"/>
          <ac:spMkLst>
            <pc:docMk/>
            <pc:sldMk cId="1721478970" sldId="1010"/>
            <ac:spMk id="25" creationId="{64682E0C-7F56-1050-7FC1-CE0C576E093D}"/>
          </ac:spMkLst>
        </pc:spChg>
        <pc:spChg chg="add mod">
          <ac:chgData name="Andreas Koksrud" userId="9d9beba6-c052-407a-8599-c781a677a996" providerId="ADAL" clId="{4C89AD2D-B60A-479F-9F95-9D423A06FAEA}" dt="2024-08-06T12:51:34.679" v="37779" actId="14100"/>
          <ac:spMkLst>
            <pc:docMk/>
            <pc:sldMk cId="1721478970" sldId="1010"/>
            <ac:spMk id="27" creationId="{A102DBCC-132A-48BD-5804-1EF6F75E96E2}"/>
          </ac:spMkLst>
        </pc:spChg>
        <pc:spChg chg="add mod">
          <ac:chgData name="Andreas Koksrud" userId="9d9beba6-c052-407a-8599-c781a677a996" providerId="ADAL" clId="{4C89AD2D-B60A-479F-9F95-9D423A06FAEA}" dt="2024-08-06T12:52:18.655" v="37813" actId="1076"/>
          <ac:spMkLst>
            <pc:docMk/>
            <pc:sldMk cId="1721478970" sldId="1010"/>
            <ac:spMk id="28" creationId="{3F8B869B-8A47-76AC-CE67-9FFEB127D972}"/>
          </ac:spMkLst>
        </pc:spChg>
        <pc:spChg chg="add del mod">
          <ac:chgData name="Andreas Koksrud" userId="9d9beba6-c052-407a-8599-c781a677a996" providerId="ADAL" clId="{4C89AD2D-B60A-479F-9F95-9D423A06FAEA}" dt="2024-08-06T12:51:59.184" v="37800" actId="478"/>
          <ac:spMkLst>
            <pc:docMk/>
            <pc:sldMk cId="1721478970" sldId="1010"/>
            <ac:spMk id="30" creationId="{2B93B8ED-6830-B5D1-2AA9-C868B98951F7}"/>
          </ac:spMkLst>
        </pc:spChg>
        <pc:spChg chg="add del mod">
          <ac:chgData name="Andreas Koksrud" userId="9d9beba6-c052-407a-8599-c781a677a996" providerId="ADAL" clId="{4C89AD2D-B60A-479F-9F95-9D423A06FAEA}" dt="2024-08-06T12:52:01.925" v="37801" actId="478"/>
          <ac:spMkLst>
            <pc:docMk/>
            <pc:sldMk cId="1721478970" sldId="1010"/>
            <ac:spMk id="31" creationId="{B777939B-065B-7311-5854-84D33DC9D28F}"/>
          </ac:spMkLst>
        </pc:spChg>
        <pc:spChg chg="add mod">
          <ac:chgData name="Andreas Koksrud" userId="9d9beba6-c052-407a-8599-c781a677a996" providerId="ADAL" clId="{4C89AD2D-B60A-479F-9F95-9D423A06FAEA}" dt="2024-08-06T12:52:37.908" v="37840" actId="20577"/>
          <ac:spMkLst>
            <pc:docMk/>
            <pc:sldMk cId="1721478970" sldId="1010"/>
            <ac:spMk id="33" creationId="{57157685-BEA4-F630-D38E-D16BBD7E9ED5}"/>
          </ac:spMkLst>
        </pc:spChg>
        <pc:spChg chg="add mod">
          <ac:chgData name="Andreas Koksrud" userId="9d9beba6-c052-407a-8599-c781a677a996" providerId="ADAL" clId="{4C89AD2D-B60A-479F-9F95-9D423A06FAEA}" dt="2024-08-06T12:52:45.384" v="37846" actId="14100"/>
          <ac:spMkLst>
            <pc:docMk/>
            <pc:sldMk cId="1721478970" sldId="1010"/>
            <ac:spMk id="35" creationId="{E33A3144-AB76-D665-5D7F-A55982D79C24}"/>
          </ac:spMkLst>
        </pc:spChg>
        <pc:spChg chg="add mod">
          <ac:chgData name="Andreas Koksrud" userId="9d9beba6-c052-407a-8599-c781a677a996" providerId="ADAL" clId="{4C89AD2D-B60A-479F-9F95-9D423A06FAEA}" dt="2024-08-06T12:52:56.233" v="37847"/>
          <ac:spMkLst>
            <pc:docMk/>
            <pc:sldMk cId="1721478970" sldId="1010"/>
            <ac:spMk id="36" creationId="{8C0EB85A-16C0-5ECE-678C-03D4A18B86C2}"/>
          </ac:spMkLst>
        </pc:spChg>
        <pc:spChg chg="add mod">
          <ac:chgData name="Andreas Koksrud" userId="9d9beba6-c052-407a-8599-c781a677a996" providerId="ADAL" clId="{4C89AD2D-B60A-479F-9F95-9D423A06FAEA}" dt="2024-08-06T12:53:46.256" v="37940" actId="14100"/>
          <ac:spMkLst>
            <pc:docMk/>
            <pc:sldMk cId="1721478970" sldId="1010"/>
            <ac:spMk id="37" creationId="{1005F7BD-A479-5551-3A94-06DB67A1E752}"/>
          </ac:spMkLst>
        </pc:spChg>
        <pc:spChg chg="mod">
          <ac:chgData name="Andreas Koksrud" userId="9d9beba6-c052-407a-8599-c781a677a996" providerId="ADAL" clId="{4C89AD2D-B60A-479F-9F95-9D423A06FAEA}" dt="2024-08-06T12:46:31.170" v="37690" actId="20577"/>
          <ac:spMkLst>
            <pc:docMk/>
            <pc:sldMk cId="1721478970" sldId="1010"/>
            <ac:spMk id="180" creationId="{00000000-0000-0000-0000-000000000000}"/>
          </ac:spMkLst>
        </pc:spChg>
        <pc:picChg chg="add mod ord modCrop">
          <ac:chgData name="Andreas Koksrud" userId="9d9beba6-c052-407a-8599-c781a677a996" providerId="ADAL" clId="{4C89AD2D-B60A-479F-9F95-9D423A06FAEA}" dt="2024-08-06T12:50:14.520" v="37763" actId="1076"/>
          <ac:picMkLst>
            <pc:docMk/>
            <pc:sldMk cId="1721478970" sldId="1010"/>
            <ac:picMk id="2" creationId="{D8CDA3AC-6649-E659-7206-5824A1C01BD1}"/>
          </ac:picMkLst>
        </pc:picChg>
        <pc:picChg chg="add mod ord">
          <ac:chgData name="Andreas Koksrud" userId="9d9beba6-c052-407a-8599-c781a677a996" providerId="ADAL" clId="{4C89AD2D-B60A-479F-9F95-9D423A06FAEA}" dt="2024-08-06T12:50:53.724" v="37772" actId="34135"/>
          <ac:picMkLst>
            <pc:docMk/>
            <pc:sldMk cId="1721478970" sldId="1010"/>
            <ac:picMk id="12" creationId="{D712A047-6D55-93B2-8073-B289E19D75BD}"/>
          </ac:picMkLst>
        </pc:picChg>
        <pc:picChg chg="del">
          <ac:chgData name="Andreas Koksrud" userId="9d9beba6-c052-407a-8599-c781a677a996" providerId="ADAL" clId="{4C89AD2D-B60A-479F-9F95-9D423A06FAEA}" dt="2024-08-06T12:46:40.337" v="37691" actId="478"/>
          <ac:picMkLst>
            <pc:docMk/>
            <pc:sldMk cId="1721478970" sldId="1010"/>
            <ac:picMk id="14" creationId="{34B80D8D-28CA-A753-5C59-71D512055FD0}"/>
          </ac:picMkLst>
        </pc:picChg>
        <pc:picChg chg="del">
          <ac:chgData name="Andreas Koksrud" userId="9d9beba6-c052-407a-8599-c781a677a996" providerId="ADAL" clId="{4C89AD2D-B60A-479F-9F95-9D423A06FAEA}" dt="2024-08-06T12:49:08.569" v="37751" actId="478"/>
          <ac:picMkLst>
            <pc:docMk/>
            <pc:sldMk cId="1721478970" sldId="1010"/>
            <ac:picMk id="18" creationId="{A356CE13-1D38-7645-880F-A5DCBC74F3D1}"/>
          </ac:picMkLst>
        </pc:picChg>
        <pc:picChg chg="del">
          <ac:chgData name="Andreas Koksrud" userId="9d9beba6-c052-407a-8599-c781a677a996" providerId="ADAL" clId="{4C89AD2D-B60A-479F-9F95-9D423A06FAEA}" dt="2024-08-06T12:49:11.145" v="37754" actId="478"/>
          <ac:picMkLst>
            <pc:docMk/>
            <pc:sldMk cId="1721478970" sldId="1010"/>
            <ac:picMk id="20" creationId="{69901157-AF83-E86B-B56A-DEF711529082}"/>
          </ac:picMkLst>
        </pc:picChg>
        <pc:picChg chg="del">
          <ac:chgData name="Andreas Koksrud" userId="9d9beba6-c052-407a-8599-c781a677a996" providerId="ADAL" clId="{4C89AD2D-B60A-479F-9F95-9D423A06FAEA}" dt="2024-08-06T12:49:12.027" v="37755" actId="478"/>
          <ac:picMkLst>
            <pc:docMk/>
            <pc:sldMk cId="1721478970" sldId="1010"/>
            <ac:picMk id="22" creationId="{149DD14F-5045-F81E-96FA-0A9B4B309FF8}"/>
          </ac:picMkLst>
        </pc:picChg>
        <pc:picChg chg="del">
          <ac:chgData name="Andreas Koksrud" userId="9d9beba6-c052-407a-8599-c781a677a996" providerId="ADAL" clId="{4C89AD2D-B60A-479F-9F95-9D423A06FAEA}" dt="2024-08-06T12:49:19.236" v="37757" actId="478"/>
          <ac:picMkLst>
            <pc:docMk/>
            <pc:sldMk cId="1721478970" sldId="1010"/>
            <ac:picMk id="32" creationId="{F8DA2683-BDFE-F449-57CB-F72B8877350B}"/>
          </ac:picMkLst>
        </pc:picChg>
        <pc:picChg chg="del">
          <ac:chgData name="Andreas Koksrud" userId="9d9beba6-c052-407a-8599-c781a677a996" providerId="ADAL" clId="{4C89AD2D-B60A-479F-9F95-9D423A06FAEA}" dt="2024-08-06T12:49:03.393" v="37750" actId="478"/>
          <ac:picMkLst>
            <pc:docMk/>
            <pc:sldMk cId="1721478970" sldId="1010"/>
            <ac:picMk id="34" creationId="{E734843C-18F0-BB37-5A4F-3FEF0381F50C}"/>
          </ac:picMkLst>
        </pc:picChg>
        <pc:picChg chg="add mod">
          <ac:chgData name="Andreas Koksrud" userId="9d9beba6-c052-407a-8599-c781a677a996" providerId="ADAL" clId="{4C89AD2D-B60A-479F-9F95-9D423A06FAEA}" dt="2024-08-06T12:54:17.888" v="37944" actId="1076"/>
          <ac:picMkLst>
            <pc:docMk/>
            <pc:sldMk cId="1721478970" sldId="1010"/>
            <ac:picMk id="39" creationId="{1FFC585D-72E7-C0AA-12D8-79321C7135B1}"/>
          </ac:picMkLst>
        </pc:picChg>
        <pc:cxnChg chg="mod">
          <ac:chgData name="Andreas Koksrud" userId="9d9beba6-c052-407a-8599-c781a677a996" providerId="ADAL" clId="{4C89AD2D-B60A-479F-9F95-9D423A06FAEA}" dt="2024-08-06T12:47:53.766" v="37726" actId="14100"/>
          <ac:cxnSpMkLst>
            <pc:docMk/>
            <pc:sldMk cId="1721478970" sldId="1010"/>
            <ac:cxnSpMk id="8" creationId="{6DB23AA1-8A0B-5B86-3A9C-F1363D6B2A91}"/>
          </ac:cxnSpMkLst>
        </pc:cxnChg>
        <pc:cxnChg chg="del">
          <ac:chgData name="Andreas Koksrud" userId="9d9beba6-c052-407a-8599-c781a677a996" providerId="ADAL" clId="{4C89AD2D-B60A-479F-9F95-9D423A06FAEA}" dt="2024-08-06T12:49:09.696" v="37752" actId="478"/>
          <ac:cxnSpMkLst>
            <pc:docMk/>
            <pc:sldMk cId="1721478970" sldId="1010"/>
            <ac:cxnSpMk id="23" creationId="{E688358A-2472-8643-1ECF-1FAB3B17AEA4}"/>
          </ac:cxnSpMkLst>
        </pc:cxnChg>
        <pc:cxnChg chg="del">
          <ac:chgData name="Andreas Koksrud" userId="9d9beba6-c052-407a-8599-c781a677a996" providerId="ADAL" clId="{4C89AD2D-B60A-479F-9F95-9D423A06FAEA}" dt="2024-08-06T12:49:10.411" v="37753" actId="478"/>
          <ac:cxnSpMkLst>
            <pc:docMk/>
            <pc:sldMk cId="1721478970" sldId="1010"/>
            <ac:cxnSpMk id="26" creationId="{34096284-9148-45DA-E801-137CB0846677}"/>
          </ac:cxnSpMkLst>
        </pc:cxnChg>
        <pc:cxnChg chg="del mod">
          <ac:chgData name="Andreas Koksrud" userId="9d9beba6-c052-407a-8599-c781a677a996" providerId="ADAL" clId="{4C89AD2D-B60A-479F-9F95-9D423A06FAEA}" dt="2024-08-06T12:49:14.768" v="37756" actId="478"/>
          <ac:cxnSpMkLst>
            <pc:docMk/>
            <pc:sldMk cId="1721478970" sldId="1010"/>
            <ac:cxnSpMk id="29" creationId="{39D92218-74E7-6BA5-D3CE-E67955A4490A}"/>
          </ac:cxnSpMkLst>
        </pc:cxnChg>
      </pc:sldChg>
      <pc:sldChg chg="addSp modSp add mod">
        <pc:chgData name="Andreas Koksrud" userId="9d9beba6-c052-407a-8599-c781a677a996" providerId="ADAL" clId="{4C89AD2D-B60A-479F-9F95-9D423A06FAEA}" dt="2024-08-06T18:20:11.363" v="40097" actId="14100"/>
        <pc:sldMkLst>
          <pc:docMk/>
          <pc:sldMk cId="653559357" sldId="1011"/>
        </pc:sldMkLst>
        <pc:spChg chg="mod">
          <ac:chgData name="Andreas Koksrud" userId="9d9beba6-c052-407a-8599-c781a677a996" providerId="ADAL" clId="{4C89AD2D-B60A-479F-9F95-9D423A06FAEA}" dt="2024-08-06T18:06:55.213" v="39813" actId="20577"/>
          <ac:spMkLst>
            <pc:docMk/>
            <pc:sldMk cId="653559357" sldId="1011"/>
            <ac:spMk id="180" creationId="{00000000-0000-0000-0000-000000000000}"/>
          </ac:spMkLst>
        </pc:spChg>
        <pc:spChg chg="mod">
          <ac:chgData name="Andreas Koksrud" userId="9d9beba6-c052-407a-8599-c781a677a996" providerId="ADAL" clId="{4C89AD2D-B60A-479F-9F95-9D423A06FAEA}" dt="2024-08-06T18:18:50.645" v="40086" actId="20577"/>
          <ac:spMkLst>
            <pc:docMk/>
            <pc:sldMk cId="653559357" sldId="1011"/>
            <ac:spMk id="181" creationId="{00000000-0000-0000-0000-000000000000}"/>
          </ac:spMkLst>
        </pc:spChg>
        <pc:picChg chg="add mod">
          <ac:chgData name="Andreas Koksrud" userId="9d9beba6-c052-407a-8599-c781a677a996" providerId="ADAL" clId="{4C89AD2D-B60A-479F-9F95-9D423A06FAEA}" dt="2024-08-06T18:19:46.462" v="40092" actId="14100"/>
          <ac:picMkLst>
            <pc:docMk/>
            <pc:sldMk cId="653559357" sldId="1011"/>
            <ac:picMk id="5" creationId="{C049DB05-19C9-75CF-1716-033099892C22}"/>
          </ac:picMkLst>
        </pc:picChg>
        <pc:picChg chg="add mod">
          <ac:chgData name="Andreas Koksrud" userId="9d9beba6-c052-407a-8599-c781a677a996" providerId="ADAL" clId="{4C89AD2D-B60A-479F-9F95-9D423A06FAEA}" dt="2024-08-06T18:19:41.252" v="40090" actId="1076"/>
          <ac:picMkLst>
            <pc:docMk/>
            <pc:sldMk cId="653559357" sldId="1011"/>
            <ac:picMk id="7" creationId="{570286E5-094F-0920-9DAE-C4D4F72E6333}"/>
          </ac:picMkLst>
        </pc:picChg>
        <pc:cxnChg chg="add mod">
          <ac:chgData name="Andreas Koksrud" userId="9d9beba6-c052-407a-8599-c781a677a996" providerId="ADAL" clId="{4C89AD2D-B60A-479F-9F95-9D423A06FAEA}" dt="2024-08-06T18:20:00.956" v="40095" actId="14100"/>
          <ac:cxnSpMkLst>
            <pc:docMk/>
            <pc:sldMk cId="653559357" sldId="1011"/>
            <ac:cxnSpMk id="8" creationId="{1FE24919-990F-8045-C81C-E62A932DC4D9}"/>
          </ac:cxnSpMkLst>
        </pc:cxnChg>
        <pc:cxnChg chg="add mod">
          <ac:chgData name="Andreas Koksrud" userId="9d9beba6-c052-407a-8599-c781a677a996" providerId="ADAL" clId="{4C89AD2D-B60A-479F-9F95-9D423A06FAEA}" dt="2024-08-06T18:20:11.363" v="40097" actId="14100"/>
          <ac:cxnSpMkLst>
            <pc:docMk/>
            <pc:sldMk cId="653559357" sldId="1011"/>
            <ac:cxnSpMk id="10" creationId="{1B710D42-F9CC-B8D3-F2EB-19D5514CCDBE}"/>
          </ac:cxnSpMkLst>
        </pc:cxnChg>
      </pc:sldChg>
    </pc:docChg>
  </pc:docChgLst>
  <pc:docChgLst>
    <pc:chgData name="Koksrud Andreas" userId="9d9beba6-c052-407a-8599-c781a677a996" providerId="ADAL" clId="{905ADE08-F996-4E61-A704-9E9FFC9B393E}"/>
    <pc:docChg chg="undo custSel addSld delSld modSld sldOrd addSection modSection">
      <pc:chgData name="Koksrud Andreas" userId="9d9beba6-c052-407a-8599-c781a677a996" providerId="ADAL" clId="{905ADE08-F996-4E61-A704-9E9FFC9B393E}" dt="2023-12-13T20:51:15.061" v="3243" actId="20577"/>
      <pc:docMkLst>
        <pc:docMk/>
      </pc:docMkLst>
      <pc:sldChg chg="modSp mod">
        <pc:chgData name="Koksrud Andreas" userId="9d9beba6-c052-407a-8599-c781a677a996" providerId="ADAL" clId="{905ADE08-F996-4E61-A704-9E9FFC9B393E}" dt="2023-12-11T15:23:58.322" v="60" actId="20577"/>
        <pc:sldMkLst>
          <pc:docMk/>
          <pc:sldMk cId="697137886" sldId="679"/>
        </pc:sldMkLst>
        <pc:spChg chg="mod">
          <ac:chgData name="Koksrud Andreas" userId="9d9beba6-c052-407a-8599-c781a677a996" providerId="ADAL" clId="{905ADE08-F996-4E61-A704-9E9FFC9B393E}" dt="2023-12-11T15:23:47.067" v="23" actId="20577"/>
          <ac:spMkLst>
            <pc:docMk/>
            <pc:sldMk cId="697137886" sldId="679"/>
            <ac:spMk id="2" creationId="{00000000-0000-0000-0000-000000000000}"/>
          </ac:spMkLst>
        </pc:spChg>
        <pc:spChg chg="mod">
          <ac:chgData name="Koksrud Andreas" userId="9d9beba6-c052-407a-8599-c781a677a996" providerId="ADAL" clId="{905ADE08-F996-4E61-A704-9E9FFC9B393E}" dt="2023-12-11T15:23:58.322" v="60" actId="20577"/>
          <ac:spMkLst>
            <pc:docMk/>
            <pc:sldMk cId="697137886" sldId="679"/>
            <ac:spMk id="3" creationId="{00000000-0000-0000-0000-000000000000}"/>
          </ac:spMkLst>
        </pc:spChg>
      </pc:sldChg>
      <pc:sldChg chg="modSp mod">
        <pc:chgData name="Koksrud Andreas" userId="9d9beba6-c052-407a-8599-c781a677a996" providerId="ADAL" clId="{905ADE08-F996-4E61-A704-9E9FFC9B393E}" dt="2023-12-13T06:40:00.683" v="2549" actId="15"/>
        <pc:sldMkLst>
          <pc:docMk/>
          <pc:sldMk cId="267941889" sldId="776"/>
        </pc:sldMkLst>
        <pc:spChg chg="mod">
          <ac:chgData name="Koksrud Andreas" userId="9d9beba6-c052-407a-8599-c781a677a996" providerId="ADAL" clId="{905ADE08-F996-4E61-A704-9E9FFC9B393E}" dt="2023-12-13T06:40:00.683" v="2549" actId="15"/>
          <ac:spMkLst>
            <pc:docMk/>
            <pc:sldMk cId="267941889" sldId="776"/>
            <ac:spMk id="2" creationId="{9DFEA761-9758-CCB6-454F-76D77B537567}"/>
          </ac:spMkLst>
        </pc:spChg>
      </pc:sldChg>
      <pc:sldChg chg="modSp mod">
        <pc:chgData name="Koksrud Andreas" userId="9d9beba6-c052-407a-8599-c781a677a996" providerId="ADAL" clId="{905ADE08-F996-4E61-A704-9E9FFC9B393E}" dt="2023-12-13T06:51:31.478" v="2594" actId="20577"/>
        <pc:sldMkLst>
          <pc:docMk/>
          <pc:sldMk cId="3268319793" sldId="777"/>
        </pc:sldMkLst>
        <pc:spChg chg="mod">
          <ac:chgData name="Koksrud Andreas" userId="9d9beba6-c052-407a-8599-c781a677a996" providerId="ADAL" clId="{905ADE08-F996-4E61-A704-9E9FFC9B393E}" dt="2023-12-13T06:51:31.478" v="2594" actId="20577"/>
          <ac:spMkLst>
            <pc:docMk/>
            <pc:sldMk cId="3268319793" sldId="777"/>
            <ac:spMk id="181" creationId="{00000000-0000-0000-0000-000000000000}"/>
          </ac:spMkLst>
        </pc:spChg>
      </pc:sldChg>
      <pc:sldChg chg="addSp delSp modSp mod">
        <pc:chgData name="Koksrud Andreas" userId="9d9beba6-c052-407a-8599-c781a677a996" providerId="ADAL" clId="{905ADE08-F996-4E61-A704-9E9FFC9B393E}" dt="2023-12-11T15:37:46.693" v="1354" actId="20577"/>
        <pc:sldMkLst>
          <pc:docMk/>
          <pc:sldMk cId="1881751481" sldId="782"/>
        </pc:sldMkLst>
        <pc:spChg chg="mod">
          <ac:chgData name="Koksrud Andreas" userId="9d9beba6-c052-407a-8599-c781a677a996" providerId="ADAL" clId="{905ADE08-F996-4E61-A704-9E9FFC9B393E}" dt="2023-12-11T15:25:59.337" v="98" actId="20577"/>
          <ac:spMkLst>
            <pc:docMk/>
            <pc:sldMk cId="1881751481" sldId="782"/>
            <ac:spMk id="180" creationId="{00000000-0000-0000-0000-000000000000}"/>
          </ac:spMkLst>
        </pc:spChg>
        <pc:spChg chg="mod">
          <ac:chgData name="Koksrud Andreas" userId="9d9beba6-c052-407a-8599-c781a677a996" providerId="ADAL" clId="{905ADE08-F996-4E61-A704-9E9FFC9B393E}" dt="2023-12-11T15:37:46.693" v="1354" actId="20577"/>
          <ac:spMkLst>
            <pc:docMk/>
            <pc:sldMk cId="1881751481" sldId="782"/>
            <ac:spMk id="181" creationId="{00000000-0000-0000-0000-000000000000}"/>
          </ac:spMkLst>
        </pc:spChg>
        <pc:graphicFrameChg chg="add del mod">
          <ac:chgData name="Koksrud Andreas" userId="9d9beba6-c052-407a-8599-c781a677a996" providerId="ADAL" clId="{905ADE08-F996-4E61-A704-9E9FFC9B393E}" dt="2023-12-11T15:25:06.415" v="62"/>
          <ac:graphicFrameMkLst>
            <pc:docMk/>
            <pc:sldMk cId="1881751481" sldId="782"/>
            <ac:graphicFrameMk id="2" creationId="{CC52BEE3-323F-0ED8-AC1E-F5E024C42E73}"/>
          </ac:graphicFrameMkLst>
        </pc:graphicFrameChg>
      </pc:sldChg>
      <pc:sldChg chg="del">
        <pc:chgData name="Koksrud Andreas" userId="9d9beba6-c052-407a-8599-c781a677a996" providerId="ADAL" clId="{905ADE08-F996-4E61-A704-9E9FFC9B393E}" dt="2023-12-11T15:32:38.827" v="738" actId="47"/>
        <pc:sldMkLst>
          <pc:docMk/>
          <pc:sldMk cId="1235100158" sldId="796"/>
        </pc:sldMkLst>
      </pc:sldChg>
      <pc:sldChg chg="addSp modSp mod">
        <pc:chgData name="Koksrud Andreas" userId="9d9beba6-c052-407a-8599-c781a677a996" providerId="ADAL" clId="{905ADE08-F996-4E61-A704-9E9FFC9B393E}" dt="2023-12-13T06:47:54.037" v="2585" actId="20577"/>
        <pc:sldMkLst>
          <pc:docMk/>
          <pc:sldMk cId="590634226" sldId="798"/>
        </pc:sldMkLst>
        <pc:spChg chg="mod">
          <ac:chgData name="Koksrud Andreas" userId="9d9beba6-c052-407a-8599-c781a677a996" providerId="ADAL" clId="{905ADE08-F996-4E61-A704-9E9FFC9B393E}" dt="2023-12-13T06:47:54.037" v="2585" actId="20577"/>
          <ac:spMkLst>
            <pc:docMk/>
            <pc:sldMk cId="590634226" sldId="798"/>
            <ac:spMk id="181" creationId="{00000000-0000-0000-0000-000000000000}"/>
          </ac:spMkLst>
        </pc:spChg>
        <pc:picChg chg="add mod">
          <ac:chgData name="Koksrud Andreas" userId="9d9beba6-c052-407a-8599-c781a677a996" providerId="ADAL" clId="{905ADE08-F996-4E61-A704-9E9FFC9B393E}" dt="2023-12-13T06:44:30.665" v="2566" actId="1076"/>
          <ac:picMkLst>
            <pc:docMk/>
            <pc:sldMk cId="590634226" sldId="798"/>
            <ac:picMk id="4" creationId="{3268E2CD-034A-0355-88E6-A9987142F20D}"/>
          </ac:picMkLst>
        </pc:picChg>
      </pc:sldChg>
      <pc:sldChg chg="modSp mod">
        <pc:chgData name="Koksrud Andreas" userId="9d9beba6-c052-407a-8599-c781a677a996" providerId="ADAL" clId="{905ADE08-F996-4E61-A704-9E9FFC9B393E}" dt="2023-12-13T20:51:15.061" v="3243" actId="20577"/>
        <pc:sldMkLst>
          <pc:docMk/>
          <pc:sldMk cId="1792322963" sldId="799"/>
        </pc:sldMkLst>
        <pc:spChg chg="mod">
          <ac:chgData name="Koksrud Andreas" userId="9d9beba6-c052-407a-8599-c781a677a996" providerId="ADAL" clId="{905ADE08-F996-4E61-A704-9E9FFC9B393E}" dt="2023-12-13T20:51:15.061" v="3243" actId="20577"/>
          <ac:spMkLst>
            <pc:docMk/>
            <pc:sldMk cId="1792322963" sldId="799"/>
            <ac:spMk id="3" creationId="{6DBAC8E0-D9CE-6A68-DA2F-CA5F6C327794}"/>
          </ac:spMkLst>
        </pc:spChg>
      </pc:sldChg>
      <pc:sldChg chg="modSp mod">
        <pc:chgData name="Koksrud Andreas" userId="9d9beba6-c052-407a-8599-c781a677a996" providerId="ADAL" clId="{905ADE08-F996-4E61-A704-9E9FFC9B393E}" dt="2023-12-11T15:32:35.532" v="737" actId="20577"/>
        <pc:sldMkLst>
          <pc:docMk/>
          <pc:sldMk cId="4143839114" sldId="803"/>
        </pc:sldMkLst>
        <pc:spChg chg="mod">
          <ac:chgData name="Koksrud Andreas" userId="9d9beba6-c052-407a-8599-c781a677a996" providerId="ADAL" clId="{905ADE08-F996-4E61-A704-9E9FFC9B393E}" dt="2023-12-11T15:32:35.532" v="737" actId="20577"/>
          <ac:spMkLst>
            <pc:docMk/>
            <pc:sldMk cId="4143839114" sldId="803"/>
            <ac:spMk id="181" creationId="{00000000-0000-0000-0000-000000000000}"/>
          </ac:spMkLst>
        </pc:spChg>
      </pc:sldChg>
      <pc:sldChg chg="addSp delSp modSp mod">
        <pc:chgData name="Koksrud Andreas" userId="9d9beba6-c052-407a-8599-c781a677a996" providerId="ADAL" clId="{905ADE08-F996-4E61-A704-9E9FFC9B393E}" dt="2023-12-13T06:38:23.920" v="2547" actId="20577"/>
        <pc:sldMkLst>
          <pc:docMk/>
          <pc:sldMk cId="197388729" sldId="808"/>
        </pc:sldMkLst>
        <pc:spChg chg="add del mod">
          <ac:chgData name="Koksrud Andreas" userId="9d9beba6-c052-407a-8599-c781a677a996" providerId="ADAL" clId="{905ADE08-F996-4E61-A704-9E9FFC9B393E}" dt="2023-12-13T06:37:23.083" v="2485" actId="478"/>
          <ac:spMkLst>
            <pc:docMk/>
            <pc:sldMk cId="197388729" sldId="808"/>
            <ac:spMk id="5" creationId="{6BD46638-F78C-CE17-1726-774BC18C60AD}"/>
          </ac:spMkLst>
        </pc:spChg>
        <pc:spChg chg="add mod">
          <ac:chgData name="Koksrud Andreas" userId="9d9beba6-c052-407a-8599-c781a677a996" providerId="ADAL" clId="{905ADE08-F996-4E61-A704-9E9FFC9B393E}" dt="2023-12-13T06:38:23.920" v="2547" actId="20577"/>
          <ac:spMkLst>
            <pc:docMk/>
            <pc:sldMk cId="197388729" sldId="808"/>
            <ac:spMk id="6" creationId="{368EF28D-23AD-D8A3-05B5-AAD612FE36D2}"/>
          </ac:spMkLst>
        </pc:spChg>
      </pc:sldChg>
      <pc:sldChg chg="modSp add mod">
        <pc:chgData name="Koksrud Andreas" userId="9d9beba6-c052-407a-8599-c781a677a996" providerId="ADAL" clId="{905ADE08-F996-4E61-A704-9E9FFC9B393E}" dt="2023-12-11T15:30:38.784" v="679" actId="20577"/>
        <pc:sldMkLst>
          <pc:docMk/>
          <pc:sldMk cId="67928958" sldId="831"/>
        </pc:sldMkLst>
        <pc:spChg chg="mod">
          <ac:chgData name="Koksrud Andreas" userId="9d9beba6-c052-407a-8599-c781a677a996" providerId="ADAL" clId="{905ADE08-F996-4E61-A704-9E9FFC9B393E}" dt="2023-12-11T15:29:29.307" v="439" actId="20577"/>
          <ac:spMkLst>
            <pc:docMk/>
            <pc:sldMk cId="67928958" sldId="831"/>
            <ac:spMk id="180" creationId="{00000000-0000-0000-0000-000000000000}"/>
          </ac:spMkLst>
        </pc:spChg>
        <pc:spChg chg="mod">
          <ac:chgData name="Koksrud Andreas" userId="9d9beba6-c052-407a-8599-c781a677a996" providerId="ADAL" clId="{905ADE08-F996-4E61-A704-9E9FFC9B393E}" dt="2023-12-11T15:30:38.784" v="679" actId="20577"/>
          <ac:spMkLst>
            <pc:docMk/>
            <pc:sldMk cId="67928958" sldId="831"/>
            <ac:spMk id="181" creationId="{00000000-0000-0000-0000-000000000000}"/>
          </ac:spMkLst>
        </pc:spChg>
      </pc:sldChg>
      <pc:sldChg chg="modSp add mod">
        <pc:chgData name="Koksrud Andreas" userId="9d9beba6-c052-407a-8599-c781a677a996" providerId="ADAL" clId="{905ADE08-F996-4E61-A704-9E9FFC9B393E}" dt="2023-12-11T15:32:00.972" v="736" actId="20577"/>
        <pc:sldMkLst>
          <pc:docMk/>
          <pc:sldMk cId="1745852061" sldId="832"/>
        </pc:sldMkLst>
        <pc:spChg chg="mod">
          <ac:chgData name="Koksrud Andreas" userId="9d9beba6-c052-407a-8599-c781a677a996" providerId="ADAL" clId="{905ADE08-F996-4E61-A704-9E9FFC9B393E}" dt="2023-12-11T15:31:42.860" v="685" actId="20577"/>
          <ac:spMkLst>
            <pc:docMk/>
            <pc:sldMk cId="1745852061" sldId="832"/>
            <ac:spMk id="180" creationId="{00000000-0000-0000-0000-000000000000}"/>
          </ac:spMkLst>
        </pc:spChg>
        <pc:spChg chg="mod">
          <ac:chgData name="Koksrud Andreas" userId="9d9beba6-c052-407a-8599-c781a677a996" providerId="ADAL" clId="{905ADE08-F996-4E61-A704-9E9FFC9B393E}" dt="2023-12-11T15:32:00.972" v="736" actId="20577"/>
          <ac:spMkLst>
            <pc:docMk/>
            <pc:sldMk cId="1745852061" sldId="832"/>
            <ac:spMk id="181" creationId="{00000000-0000-0000-0000-000000000000}"/>
          </ac:spMkLst>
        </pc:spChg>
      </pc:sldChg>
      <pc:sldChg chg="modSp add mod">
        <pc:chgData name="Koksrud Andreas" userId="9d9beba6-c052-407a-8599-c781a677a996" providerId="ADAL" clId="{905ADE08-F996-4E61-A704-9E9FFC9B393E}" dt="2023-12-11T15:33:18.144" v="824" actId="20577"/>
        <pc:sldMkLst>
          <pc:docMk/>
          <pc:sldMk cId="1408972888" sldId="833"/>
        </pc:sldMkLst>
        <pc:spChg chg="mod">
          <ac:chgData name="Koksrud Andreas" userId="9d9beba6-c052-407a-8599-c781a677a996" providerId="ADAL" clId="{905ADE08-F996-4E61-A704-9E9FFC9B393E}" dt="2023-12-11T15:33:18.144" v="824" actId="20577"/>
          <ac:spMkLst>
            <pc:docMk/>
            <pc:sldMk cId="1408972888" sldId="833"/>
            <ac:spMk id="181" creationId="{00000000-0000-0000-0000-000000000000}"/>
          </ac:spMkLst>
        </pc:spChg>
      </pc:sldChg>
      <pc:sldChg chg="modSp add mod">
        <pc:chgData name="Koksrud Andreas" userId="9d9beba6-c052-407a-8599-c781a677a996" providerId="ADAL" clId="{905ADE08-F996-4E61-A704-9E9FFC9B393E}" dt="2023-12-11T15:33:34.143" v="856" actId="20577"/>
        <pc:sldMkLst>
          <pc:docMk/>
          <pc:sldMk cId="4111253885" sldId="834"/>
        </pc:sldMkLst>
        <pc:spChg chg="mod">
          <ac:chgData name="Koksrud Andreas" userId="9d9beba6-c052-407a-8599-c781a677a996" providerId="ADAL" clId="{905ADE08-F996-4E61-A704-9E9FFC9B393E}" dt="2023-12-11T15:33:34.143" v="856" actId="20577"/>
          <ac:spMkLst>
            <pc:docMk/>
            <pc:sldMk cId="4111253885" sldId="834"/>
            <ac:spMk id="181" creationId="{00000000-0000-0000-0000-000000000000}"/>
          </ac:spMkLst>
        </pc:spChg>
      </pc:sldChg>
      <pc:sldChg chg="modSp add mod">
        <pc:chgData name="Koksrud Andreas" userId="9d9beba6-c052-407a-8599-c781a677a996" providerId="ADAL" clId="{905ADE08-F996-4E61-A704-9E9FFC9B393E}" dt="2023-12-11T15:34:50.919" v="1113" actId="20577"/>
        <pc:sldMkLst>
          <pc:docMk/>
          <pc:sldMk cId="1712697486" sldId="835"/>
        </pc:sldMkLst>
        <pc:spChg chg="mod">
          <ac:chgData name="Koksrud Andreas" userId="9d9beba6-c052-407a-8599-c781a677a996" providerId="ADAL" clId="{905ADE08-F996-4E61-A704-9E9FFC9B393E}" dt="2023-12-11T15:34:50.919" v="1113" actId="20577"/>
          <ac:spMkLst>
            <pc:docMk/>
            <pc:sldMk cId="1712697486" sldId="835"/>
            <ac:spMk id="181" creationId="{00000000-0000-0000-0000-000000000000}"/>
          </ac:spMkLst>
        </pc:spChg>
      </pc:sldChg>
      <pc:sldChg chg="modSp add mod">
        <pc:chgData name="Koksrud Andreas" userId="9d9beba6-c052-407a-8599-c781a677a996" providerId="ADAL" clId="{905ADE08-F996-4E61-A704-9E9FFC9B393E}" dt="2023-12-11T15:37:13.050" v="1313" actId="20577"/>
        <pc:sldMkLst>
          <pc:docMk/>
          <pc:sldMk cId="1864085447" sldId="836"/>
        </pc:sldMkLst>
        <pc:spChg chg="mod">
          <ac:chgData name="Koksrud Andreas" userId="9d9beba6-c052-407a-8599-c781a677a996" providerId="ADAL" clId="{905ADE08-F996-4E61-A704-9E9FFC9B393E}" dt="2023-12-11T15:37:13.050" v="1313" actId="20577"/>
          <ac:spMkLst>
            <pc:docMk/>
            <pc:sldMk cId="1864085447" sldId="836"/>
            <ac:spMk id="181" creationId="{00000000-0000-0000-0000-000000000000}"/>
          </ac:spMkLst>
        </pc:spChg>
      </pc:sldChg>
      <pc:sldChg chg="modSp add mod">
        <pc:chgData name="Koksrud Andreas" userId="9d9beba6-c052-407a-8599-c781a677a996" providerId="ADAL" clId="{905ADE08-F996-4E61-A704-9E9FFC9B393E}" dt="2023-12-11T15:39:42.880" v="1418" actId="20577"/>
        <pc:sldMkLst>
          <pc:docMk/>
          <pc:sldMk cId="2778952537" sldId="837"/>
        </pc:sldMkLst>
        <pc:spChg chg="mod">
          <ac:chgData name="Koksrud Andreas" userId="9d9beba6-c052-407a-8599-c781a677a996" providerId="ADAL" clId="{905ADE08-F996-4E61-A704-9E9FFC9B393E}" dt="2023-12-11T15:39:42.880" v="1418" actId="20577"/>
          <ac:spMkLst>
            <pc:docMk/>
            <pc:sldMk cId="2778952537" sldId="837"/>
            <ac:spMk id="181" creationId="{00000000-0000-0000-0000-000000000000}"/>
          </ac:spMkLst>
        </pc:spChg>
      </pc:sldChg>
      <pc:sldChg chg="add">
        <pc:chgData name="Koksrud Andreas" userId="9d9beba6-c052-407a-8599-c781a677a996" providerId="ADAL" clId="{905ADE08-F996-4E61-A704-9E9FFC9B393E}" dt="2023-12-11T15:32:55.034" v="750"/>
        <pc:sldMkLst>
          <pc:docMk/>
          <pc:sldMk cId="1436840472" sldId="838"/>
        </pc:sldMkLst>
      </pc:sldChg>
      <pc:sldChg chg="addSp delSp modSp add mod ord">
        <pc:chgData name="Koksrud Andreas" userId="9d9beba6-c052-407a-8599-c781a677a996" providerId="ADAL" clId="{905ADE08-F996-4E61-A704-9E9FFC9B393E}" dt="2023-12-12T14:06:00.487" v="1759" actId="1076"/>
        <pc:sldMkLst>
          <pc:docMk/>
          <pc:sldMk cId="1070812493" sldId="839"/>
        </pc:sldMkLst>
        <pc:spChg chg="add mod">
          <ac:chgData name="Koksrud Andreas" userId="9d9beba6-c052-407a-8599-c781a677a996" providerId="ADAL" clId="{905ADE08-F996-4E61-A704-9E9FFC9B393E}" dt="2023-12-12T14:05:35.749" v="1754" actId="20577"/>
          <ac:spMkLst>
            <pc:docMk/>
            <pc:sldMk cId="1070812493" sldId="839"/>
            <ac:spMk id="2" creationId="{6B539DEF-BEF0-2AA6-A90D-BC67AC4C73CD}"/>
          </ac:spMkLst>
        </pc:spChg>
        <pc:spChg chg="mod">
          <ac:chgData name="Koksrud Andreas" userId="9d9beba6-c052-407a-8599-c781a677a996" providerId="ADAL" clId="{905ADE08-F996-4E61-A704-9E9FFC9B393E}" dt="2023-12-12T14:05:57.716" v="1758" actId="1076"/>
          <ac:spMkLst>
            <pc:docMk/>
            <pc:sldMk cId="1070812493" sldId="839"/>
            <ac:spMk id="122" creationId="{589D8BE4-645F-4594-947A-E4BC57588686}"/>
          </ac:spMkLst>
        </pc:spChg>
        <pc:spChg chg="mod">
          <ac:chgData name="Koksrud Andreas" userId="9d9beba6-c052-407a-8599-c781a677a996" providerId="ADAL" clId="{905ADE08-F996-4E61-A704-9E9FFC9B393E}" dt="2023-12-12T14:00:14.021" v="1450" actId="20577"/>
          <ac:spMkLst>
            <pc:docMk/>
            <pc:sldMk cId="1070812493" sldId="839"/>
            <ac:spMk id="180" creationId="{00000000-0000-0000-0000-000000000000}"/>
          </ac:spMkLst>
        </pc:spChg>
        <pc:spChg chg="del mod">
          <ac:chgData name="Koksrud Andreas" userId="9d9beba6-c052-407a-8599-c781a677a996" providerId="ADAL" clId="{905ADE08-F996-4E61-A704-9E9FFC9B393E}" dt="2023-12-12T14:00:58.043" v="1469" actId="478"/>
          <ac:spMkLst>
            <pc:docMk/>
            <pc:sldMk cId="1070812493" sldId="839"/>
            <ac:spMk id="181" creationId="{00000000-0000-0000-0000-000000000000}"/>
          </ac:spMkLst>
        </pc:spChg>
        <pc:picChg chg="add mod modCrop">
          <ac:chgData name="Koksrud Andreas" userId="9d9beba6-c052-407a-8599-c781a677a996" providerId="ADAL" clId="{905ADE08-F996-4E61-A704-9E9FFC9B393E}" dt="2023-12-12T14:04:37.907" v="1697" actId="1076"/>
          <ac:picMkLst>
            <pc:docMk/>
            <pc:sldMk cId="1070812493" sldId="839"/>
            <ac:picMk id="4" creationId="{16ACBFBD-08BB-139F-D9D0-EADD6B408942}"/>
          </ac:picMkLst>
        </pc:picChg>
        <pc:picChg chg="add mod">
          <ac:chgData name="Koksrud Andreas" userId="9d9beba6-c052-407a-8599-c781a677a996" providerId="ADAL" clId="{905ADE08-F996-4E61-A704-9E9FFC9B393E}" dt="2023-12-12T14:06:00.487" v="1759" actId="1076"/>
          <ac:picMkLst>
            <pc:docMk/>
            <pc:sldMk cId="1070812493" sldId="839"/>
            <ac:picMk id="6" creationId="{DFEC059D-3A2C-AA23-2366-4D01CA00FB89}"/>
          </ac:picMkLst>
        </pc:picChg>
      </pc:sldChg>
      <pc:sldChg chg="addSp delSp modSp add mod">
        <pc:chgData name="Koksrud Andreas" userId="9d9beba6-c052-407a-8599-c781a677a996" providerId="ADAL" clId="{905ADE08-F996-4E61-A704-9E9FFC9B393E}" dt="2023-12-12T14:18:08.618" v="2111" actId="14100"/>
        <pc:sldMkLst>
          <pc:docMk/>
          <pc:sldMk cId="2685798531" sldId="840"/>
        </pc:sldMkLst>
        <pc:spChg chg="mod">
          <ac:chgData name="Koksrud Andreas" userId="9d9beba6-c052-407a-8599-c781a677a996" providerId="ADAL" clId="{905ADE08-F996-4E61-A704-9E9FFC9B393E}" dt="2023-12-12T14:18:00.449" v="2109" actId="207"/>
          <ac:spMkLst>
            <pc:docMk/>
            <pc:sldMk cId="2685798531" sldId="840"/>
            <ac:spMk id="2" creationId="{6B539DEF-BEF0-2AA6-A90D-BC67AC4C73CD}"/>
          </ac:spMkLst>
        </pc:spChg>
        <pc:grpChg chg="add del mod">
          <ac:chgData name="Koksrud Andreas" userId="9d9beba6-c052-407a-8599-c781a677a996" providerId="ADAL" clId="{905ADE08-F996-4E61-A704-9E9FFC9B393E}" dt="2023-12-12T14:11:13.132" v="1958"/>
          <ac:grpSpMkLst>
            <pc:docMk/>
            <pc:sldMk cId="2685798531" sldId="840"/>
            <ac:grpSpMk id="11" creationId="{49264E30-90C5-5417-0BB7-C6785BD422AA}"/>
          </ac:grpSpMkLst>
        </pc:grpChg>
        <pc:grpChg chg="mod">
          <ac:chgData name="Koksrud Andreas" userId="9d9beba6-c052-407a-8599-c781a677a996" providerId="ADAL" clId="{905ADE08-F996-4E61-A704-9E9FFC9B393E}" dt="2023-12-12T14:11:00.390" v="1955"/>
          <ac:grpSpMkLst>
            <pc:docMk/>
            <pc:sldMk cId="2685798531" sldId="840"/>
            <ac:grpSpMk id="24" creationId="{4C864C84-8B4F-D0F2-36B8-4043528FA826}"/>
          </ac:grpSpMkLst>
        </pc:grpChg>
        <pc:picChg chg="del">
          <ac:chgData name="Koksrud Andreas" userId="9d9beba6-c052-407a-8599-c781a677a996" providerId="ADAL" clId="{905ADE08-F996-4E61-A704-9E9FFC9B393E}" dt="2023-12-12T14:06:25.239" v="1763" actId="478"/>
          <ac:picMkLst>
            <pc:docMk/>
            <pc:sldMk cId="2685798531" sldId="840"/>
            <ac:picMk id="4" creationId="{16ACBFBD-08BB-139F-D9D0-EADD6B408942}"/>
          </ac:picMkLst>
        </pc:picChg>
        <pc:picChg chg="add mod modCrop">
          <ac:chgData name="Koksrud Andreas" userId="9d9beba6-c052-407a-8599-c781a677a996" providerId="ADAL" clId="{905ADE08-F996-4E61-A704-9E9FFC9B393E}" dt="2023-12-12T14:08:10.760" v="1854" actId="732"/>
          <ac:picMkLst>
            <pc:docMk/>
            <pc:sldMk cId="2685798531" sldId="840"/>
            <ac:picMk id="5" creationId="{FA1D1CDB-0122-8BC7-BDA8-1D165EC5D626}"/>
          </ac:picMkLst>
        </pc:picChg>
        <pc:picChg chg="del">
          <ac:chgData name="Koksrud Andreas" userId="9d9beba6-c052-407a-8599-c781a677a996" providerId="ADAL" clId="{905ADE08-F996-4E61-A704-9E9FFC9B393E}" dt="2023-12-12T14:06:24.606" v="1762" actId="478"/>
          <ac:picMkLst>
            <pc:docMk/>
            <pc:sldMk cId="2685798531" sldId="840"/>
            <ac:picMk id="6" creationId="{DFEC059D-3A2C-AA23-2366-4D01CA00FB89}"/>
          </ac:picMkLst>
        </pc:picChg>
        <pc:picChg chg="add mod modCrop">
          <ac:chgData name="Koksrud Andreas" userId="9d9beba6-c052-407a-8599-c781a677a996" providerId="ADAL" clId="{905ADE08-F996-4E61-A704-9E9FFC9B393E}" dt="2023-12-12T14:08:48.236" v="1888" actId="1076"/>
          <ac:picMkLst>
            <pc:docMk/>
            <pc:sldMk cId="2685798531" sldId="840"/>
            <ac:picMk id="8" creationId="{964DC94F-4CE3-9E77-1C05-790F17DC6E24}"/>
          </ac:picMkLst>
        </pc:picChg>
        <pc:picChg chg="add del mod">
          <ac:chgData name="Koksrud Andreas" userId="9d9beba6-c052-407a-8599-c781a677a996" providerId="ADAL" clId="{905ADE08-F996-4E61-A704-9E9FFC9B393E}" dt="2023-12-12T14:13:46.413" v="2016" actId="478"/>
          <ac:picMkLst>
            <pc:docMk/>
            <pc:sldMk cId="2685798531" sldId="840"/>
            <ac:picMk id="17" creationId="{8B8772CD-3546-8D4B-2082-FE9DA8D0B8B7}"/>
          </ac:picMkLst>
        </pc:picChg>
        <pc:picChg chg="add mod ord modCrop">
          <ac:chgData name="Koksrud Andreas" userId="9d9beba6-c052-407a-8599-c781a677a996" providerId="ADAL" clId="{905ADE08-F996-4E61-A704-9E9FFC9B393E}" dt="2023-12-12T14:14:12.576" v="2022" actId="732"/>
          <ac:picMkLst>
            <pc:docMk/>
            <pc:sldMk cId="2685798531" sldId="840"/>
            <ac:picMk id="34" creationId="{6D1C5FAC-4895-136E-BE85-9762BF1503B0}"/>
          </ac:picMkLst>
        </pc:picChg>
        <pc:inkChg chg="add mod">
          <ac:chgData name="Koksrud Andreas" userId="9d9beba6-c052-407a-8599-c781a677a996" providerId="ADAL" clId="{905ADE08-F996-4E61-A704-9E9FFC9B393E}" dt="2023-12-12T14:11:13.132" v="1958"/>
          <ac:inkMkLst>
            <pc:docMk/>
            <pc:sldMk cId="2685798531" sldId="840"/>
            <ac:inkMk id="9" creationId="{7D41FC44-30D7-8EC4-3C0D-60303B7F9F48}"/>
          </ac:inkMkLst>
        </pc:inkChg>
        <pc:inkChg chg="add del mod">
          <ac:chgData name="Koksrud Andreas" userId="9d9beba6-c052-407a-8599-c781a677a996" providerId="ADAL" clId="{905ADE08-F996-4E61-A704-9E9FFC9B393E}" dt="2023-12-12T14:11:13.132" v="1958"/>
          <ac:inkMkLst>
            <pc:docMk/>
            <pc:sldMk cId="2685798531" sldId="840"/>
            <ac:inkMk id="10" creationId="{7A494DF7-1529-1CC3-00B5-4CAA83CD5C9F}"/>
          </ac:inkMkLst>
        </pc:inkChg>
        <pc:inkChg chg="add del">
          <ac:chgData name="Koksrud Andreas" userId="9d9beba6-c052-407a-8599-c781a677a996" providerId="ADAL" clId="{905ADE08-F996-4E61-A704-9E9FFC9B393E}" dt="2023-12-12T14:09:06.970" v="1895" actId="9405"/>
          <ac:inkMkLst>
            <pc:docMk/>
            <pc:sldMk cId="2685798531" sldId="840"/>
            <ac:inkMk id="12" creationId="{6E1B7F5F-2F12-FB55-FBD3-D5AA1CD20532}"/>
          </ac:inkMkLst>
        </pc:inkChg>
        <pc:inkChg chg="add del">
          <ac:chgData name="Koksrud Andreas" userId="9d9beba6-c052-407a-8599-c781a677a996" providerId="ADAL" clId="{905ADE08-F996-4E61-A704-9E9FFC9B393E}" dt="2023-12-12T14:09:05.640" v="1894" actId="9405"/>
          <ac:inkMkLst>
            <pc:docMk/>
            <pc:sldMk cId="2685798531" sldId="840"/>
            <ac:inkMk id="13" creationId="{70AB2D40-BABE-EF09-855B-9ED381923EB8}"/>
          </ac:inkMkLst>
        </pc:inkChg>
        <pc:inkChg chg="add">
          <ac:chgData name="Koksrud Andreas" userId="9d9beba6-c052-407a-8599-c781a677a996" providerId="ADAL" clId="{905ADE08-F996-4E61-A704-9E9FFC9B393E}" dt="2023-12-12T14:09:09.200" v="1896" actId="9405"/>
          <ac:inkMkLst>
            <pc:docMk/>
            <pc:sldMk cId="2685798531" sldId="840"/>
            <ac:inkMk id="14" creationId="{EC93E4B3-9494-24C0-A12F-DB26FF397062}"/>
          </ac:inkMkLst>
        </pc:inkChg>
        <pc:inkChg chg="add del">
          <ac:chgData name="Koksrud Andreas" userId="9d9beba6-c052-407a-8599-c781a677a996" providerId="ADAL" clId="{905ADE08-F996-4E61-A704-9E9FFC9B393E}" dt="2023-12-12T14:09:22.880" v="1898" actId="9405"/>
          <ac:inkMkLst>
            <pc:docMk/>
            <pc:sldMk cId="2685798531" sldId="840"/>
            <ac:inkMk id="15" creationId="{9C5C7EB7-1FC2-EC4B-DC4F-C3F20221A47C}"/>
          </ac:inkMkLst>
        </pc:inkChg>
        <pc:inkChg chg="add del">
          <ac:chgData name="Koksrud Andreas" userId="9d9beba6-c052-407a-8599-c781a677a996" providerId="ADAL" clId="{905ADE08-F996-4E61-A704-9E9FFC9B393E}" dt="2023-12-12T14:11:17.452" v="1960"/>
          <ac:inkMkLst>
            <pc:docMk/>
            <pc:sldMk cId="2685798531" sldId="840"/>
            <ac:inkMk id="18" creationId="{4AA4232C-3F24-F783-09EA-83F290D660A9}"/>
          </ac:inkMkLst>
        </pc:inkChg>
        <pc:inkChg chg="add del">
          <ac:chgData name="Koksrud Andreas" userId="9d9beba6-c052-407a-8599-c781a677a996" providerId="ADAL" clId="{905ADE08-F996-4E61-A704-9E9FFC9B393E}" dt="2023-12-12T14:11:15.824" v="1959"/>
          <ac:inkMkLst>
            <pc:docMk/>
            <pc:sldMk cId="2685798531" sldId="840"/>
            <ac:inkMk id="19" creationId="{BD4B8F9C-E185-954B-E33E-536C062E8FAF}"/>
          </ac:inkMkLst>
        </pc:inkChg>
        <pc:inkChg chg="add mod">
          <ac:chgData name="Koksrud Andreas" userId="9d9beba6-c052-407a-8599-c781a677a996" providerId="ADAL" clId="{905ADE08-F996-4E61-A704-9E9FFC9B393E}" dt="2023-12-12T14:12:15.493" v="1970" actId="1076"/>
          <ac:inkMkLst>
            <pc:docMk/>
            <pc:sldMk cId="2685798531" sldId="840"/>
            <ac:inkMk id="20" creationId="{D1E06875-6E46-44AA-8159-B5C24C076C77}"/>
          </ac:inkMkLst>
        </pc:inkChg>
        <pc:inkChg chg="add del">
          <ac:chgData name="Koksrud Andreas" userId="9d9beba6-c052-407a-8599-c781a677a996" providerId="ADAL" clId="{905ADE08-F996-4E61-A704-9E9FFC9B393E}" dt="2023-12-12T14:10:44.324" v="1950" actId="9405"/>
          <ac:inkMkLst>
            <pc:docMk/>
            <pc:sldMk cId="2685798531" sldId="840"/>
            <ac:inkMk id="21" creationId="{67810F8D-E8A4-2F75-EE7D-241F7FF517FE}"/>
          </ac:inkMkLst>
        </pc:inkChg>
        <pc:inkChg chg="add del">
          <ac:chgData name="Koksrud Andreas" userId="9d9beba6-c052-407a-8599-c781a677a996" providerId="ADAL" clId="{905ADE08-F996-4E61-A704-9E9FFC9B393E}" dt="2023-12-12T14:11:18.917" v="1961"/>
          <ac:inkMkLst>
            <pc:docMk/>
            <pc:sldMk cId="2685798531" sldId="840"/>
            <ac:inkMk id="22" creationId="{BA9A69B7-78FE-3B88-1FC2-3762436BF465}"/>
          </ac:inkMkLst>
        </pc:inkChg>
        <pc:inkChg chg="add del mod">
          <ac:chgData name="Koksrud Andreas" userId="9d9beba6-c052-407a-8599-c781a677a996" providerId="ADAL" clId="{905ADE08-F996-4E61-A704-9E9FFC9B393E}" dt="2023-12-12T14:11:00.390" v="1955"/>
          <ac:inkMkLst>
            <pc:docMk/>
            <pc:sldMk cId="2685798531" sldId="840"/>
            <ac:inkMk id="23" creationId="{5721DEAC-19D3-0636-D314-C7A72847D80C}"/>
          </ac:inkMkLst>
        </pc:inkChg>
        <pc:inkChg chg="add del">
          <ac:chgData name="Koksrud Andreas" userId="9d9beba6-c052-407a-8599-c781a677a996" providerId="ADAL" clId="{905ADE08-F996-4E61-A704-9E9FFC9B393E}" dt="2023-12-12T14:11:06.295" v="1957" actId="9405"/>
          <ac:inkMkLst>
            <pc:docMk/>
            <pc:sldMk cId="2685798531" sldId="840"/>
            <ac:inkMk id="25" creationId="{293357F7-04AC-85ED-418A-E058E2FF4B1D}"/>
          </ac:inkMkLst>
        </pc:inkChg>
        <pc:inkChg chg="add mod">
          <ac:chgData name="Koksrud Andreas" userId="9d9beba6-c052-407a-8599-c781a677a996" providerId="ADAL" clId="{905ADE08-F996-4E61-A704-9E9FFC9B393E}" dt="2023-12-12T14:12:15.493" v="1970" actId="1076"/>
          <ac:inkMkLst>
            <pc:docMk/>
            <pc:sldMk cId="2685798531" sldId="840"/>
            <ac:inkMk id="26" creationId="{506B2C7D-993D-7DB3-5D05-6B6080E348A0}"/>
          </ac:inkMkLst>
        </pc:inkChg>
        <pc:inkChg chg="add del">
          <ac:chgData name="Koksrud Andreas" userId="9d9beba6-c052-407a-8599-c781a677a996" providerId="ADAL" clId="{905ADE08-F996-4E61-A704-9E9FFC9B393E}" dt="2023-12-12T14:11:31.717" v="1964" actId="9405"/>
          <ac:inkMkLst>
            <pc:docMk/>
            <pc:sldMk cId="2685798531" sldId="840"/>
            <ac:inkMk id="27" creationId="{52BFDFF6-8F6D-8CEC-7FAC-0E40A00F3BF6}"/>
          </ac:inkMkLst>
        </pc:inkChg>
        <pc:inkChg chg="add">
          <ac:chgData name="Koksrud Andreas" userId="9d9beba6-c052-407a-8599-c781a677a996" providerId="ADAL" clId="{905ADE08-F996-4E61-A704-9E9FFC9B393E}" dt="2023-12-12T14:11:34.655" v="1965" actId="9405"/>
          <ac:inkMkLst>
            <pc:docMk/>
            <pc:sldMk cId="2685798531" sldId="840"/>
            <ac:inkMk id="28" creationId="{CB8F037B-F1EF-9347-C28B-C91E87814DCE}"/>
          </ac:inkMkLst>
        </pc:inkChg>
        <pc:inkChg chg="add mod">
          <ac:chgData name="Koksrud Andreas" userId="9d9beba6-c052-407a-8599-c781a677a996" providerId="ADAL" clId="{905ADE08-F996-4E61-A704-9E9FFC9B393E}" dt="2023-12-12T14:17:25.093" v="2106" actId="1076"/>
          <ac:inkMkLst>
            <pc:docMk/>
            <pc:sldMk cId="2685798531" sldId="840"/>
            <ac:inkMk id="29" creationId="{26467775-29D8-F70A-013F-F4F832036DAE}"/>
          </ac:inkMkLst>
        </pc:inkChg>
        <pc:inkChg chg="add mod">
          <ac:chgData name="Koksrud Andreas" userId="9d9beba6-c052-407a-8599-c781a677a996" providerId="ADAL" clId="{905ADE08-F996-4E61-A704-9E9FFC9B393E}" dt="2023-12-12T14:16:59.990" v="2098" actId="14100"/>
          <ac:inkMkLst>
            <pc:docMk/>
            <pc:sldMk cId="2685798531" sldId="840"/>
            <ac:inkMk id="30" creationId="{F8B853B3-56FC-9FDD-C740-E6EA9A1A4598}"/>
          </ac:inkMkLst>
        </pc:inkChg>
        <pc:inkChg chg="add">
          <ac:chgData name="Koksrud Andreas" userId="9d9beba6-c052-407a-8599-c781a677a996" providerId="ADAL" clId="{905ADE08-F996-4E61-A704-9E9FFC9B393E}" dt="2023-12-12T14:11:48.875" v="1968" actId="9405"/>
          <ac:inkMkLst>
            <pc:docMk/>
            <pc:sldMk cId="2685798531" sldId="840"/>
            <ac:inkMk id="31" creationId="{E14D3840-295E-488D-96E9-B861031FE7CC}"/>
          </ac:inkMkLst>
        </pc:inkChg>
        <pc:inkChg chg="add mod">
          <ac:chgData name="Koksrud Andreas" userId="9d9beba6-c052-407a-8599-c781a677a996" providerId="ADAL" clId="{905ADE08-F996-4E61-A704-9E9FFC9B393E}" dt="2023-12-12T14:14:22.753" v="2025" actId="14100"/>
          <ac:inkMkLst>
            <pc:docMk/>
            <pc:sldMk cId="2685798531" sldId="840"/>
            <ac:inkMk id="32" creationId="{A9B8A2E3-24FD-08BD-79D8-F9665417262E}"/>
          </ac:inkMkLst>
        </pc:inkChg>
        <pc:inkChg chg="add mod">
          <ac:chgData name="Koksrud Andreas" userId="9d9beba6-c052-407a-8599-c781a677a996" providerId="ADAL" clId="{905ADE08-F996-4E61-A704-9E9FFC9B393E}" dt="2023-12-12T14:18:08.618" v="2111" actId="14100"/>
          <ac:inkMkLst>
            <pc:docMk/>
            <pc:sldMk cId="2685798531" sldId="840"/>
            <ac:inkMk id="35" creationId="{2EFC97F4-B7A9-B9AC-1CA3-90508208F20A}"/>
          </ac:inkMkLst>
        </pc:inkChg>
      </pc:sldChg>
      <pc:sldChg chg="addSp delSp modSp add mod">
        <pc:chgData name="Koksrud Andreas" userId="9d9beba6-c052-407a-8599-c781a677a996" providerId="ADAL" clId="{905ADE08-F996-4E61-A704-9E9FFC9B393E}" dt="2023-12-13T09:24:41.830" v="3241" actId="20577"/>
        <pc:sldMkLst>
          <pc:docMk/>
          <pc:sldMk cId="2309282967" sldId="841"/>
        </pc:sldMkLst>
        <pc:spChg chg="mod">
          <ac:chgData name="Koksrud Andreas" userId="9d9beba6-c052-407a-8599-c781a677a996" providerId="ADAL" clId="{905ADE08-F996-4E61-A704-9E9FFC9B393E}" dt="2023-12-12T14:19:22.385" v="2160" actId="14100"/>
          <ac:spMkLst>
            <pc:docMk/>
            <pc:sldMk cId="2309282967" sldId="841"/>
            <ac:spMk id="2" creationId="{6B539DEF-BEF0-2AA6-A90D-BC67AC4C73CD}"/>
          </ac:spMkLst>
        </pc:spChg>
        <pc:spChg chg="add mod">
          <ac:chgData name="Koksrud Andreas" userId="9d9beba6-c052-407a-8599-c781a677a996" providerId="ADAL" clId="{905ADE08-F996-4E61-A704-9E9FFC9B393E}" dt="2023-12-13T07:54:07.844" v="2940" actId="20577"/>
          <ac:spMkLst>
            <pc:docMk/>
            <pc:sldMk cId="2309282967" sldId="841"/>
            <ac:spMk id="4" creationId="{F5738D0C-CBD4-78A4-C3C7-21AA65CB25E4}"/>
          </ac:spMkLst>
        </pc:spChg>
        <pc:spChg chg="add mod">
          <ac:chgData name="Koksrud Andreas" userId="9d9beba6-c052-407a-8599-c781a677a996" providerId="ADAL" clId="{905ADE08-F996-4E61-A704-9E9FFC9B393E}" dt="2023-12-13T09:24:41.830" v="3241" actId="20577"/>
          <ac:spMkLst>
            <pc:docMk/>
            <pc:sldMk cId="2309282967" sldId="841"/>
            <ac:spMk id="6" creationId="{5BDD3AAC-325F-DE80-3D51-9E564913C38B}"/>
          </ac:spMkLst>
        </pc:spChg>
        <pc:picChg chg="del">
          <ac:chgData name="Koksrud Andreas" userId="9d9beba6-c052-407a-8599-c781a677a996" providerId="ADAL" clId="{905ADE08-F996-4E61-A704-9E9FFC9B393E}" dt="2023-12-12T14:19:09.646" v="2153" actId="478"/>
          <ac:picMkLst>
            <pc:docMk/>
            <pc:sldMk cId="2309282967" sldId="841"/>
            <ac:picMk id="5" creationId="{FA1D1CDB-0122-8BC7-BDA8-1D165EC5D626}"/>
          </ac:picMkLst>
        </pc:picChg>
        <pc:picChg chg="del">
          <ac:chgData name="Koksrud Andreas" userId="9d9beba6-c052-407a-8599-c781a677a996" providerId="ADAL" clId="{905ADE08-F996-4E61-A704-9E9FFC9B393E}" dt="2023-12-12T14:19:08.852" v="2152" actId="478"/>
          <ac:picMkLst>
            <pc:docMk/>
            <pc:sldMk cId="2309282967" sldId="841"/>
            <ac:picMk id="8" creationId="{964DC94F-4CE3-9E77-1C05-790F17DC6E24}"/>
          </ac:picMkLst>
        </pc:picChg>
        <pc:picChg chg="add mod">
          <ac:chgData name="Koksrud Andreas" userId="9d9beba6-c052-407a-8599-c781a677a996" providerId="ADAL" clId="{905ADE08-F996-4E61-A704-9E9FFC9B393E}" dt="2023-12-13T09:24:27.623" v="3202" actId="1076"/>
          <ac:picMkLst>
            <pc:docMk/>
            <pc:sldMk cId="2309282967" sldId="841"/>
            <ac:picMk id="10" creationId="{99972FBC-6511-25D7-0A58-058A9C8D59CC}"/>
          </ac:picMkLst>
        </pc:picChg>
        <pc:picChg chg="del">
          <ac:chgData name="Koksrud Andreas" userId="9d9beba6-c052-407a-8599-c781a677a996" providerId="ADAL" clId="{905ADE08-F996-4E61-A704-9E9FFC9B393E}" dt="2023-12-12T14:19:13.493" v="2155" actId="478"/>
          <ac:picMkLst>
            <pc:docMk/>
            <pc:sldMk cId="2309282967" sldId="841"/>
            <ac:picMk id="34" creationId="{6D1C5FAC-4895-136E-BE85-9762BF1503B0}"/>
          </ac:picMkLst>
        </pc:picChg>
        <pc:inkChg chg="del">
          <ac:chgData name="Koksrud Andreas" userId="9d9beba6-c052-407a-8599-c781a677a996" providerId="ADAL" clId="{905ADE08-F996-4E61-A704-9E9FFC9B393E}" dt="2023-12-12T14:19:12.024" v="2154" actId="478"/>
          <ac:inkMkLst>
            <pc:docMk/>
            <pc:sldMk cId="2309282967" sldId="841"/>
            <ac:inkMk id="9" creationId="{7D41FC44-30D7-8EC4-3C0D-60303B7F9F48}"/>
          </ac:inkMkLst>
        </pc:inkChg>
        <pc:inkChg chg="del">
          <ac:chgData name="Koksrud Andreas" userId="9d9beba6-c052-407a-8599-c781a677a996" providerId="ADAL" clId="{905ADE08-F996-4E61-A704-9E9FFC9B393E}" dt="2023-12-12T14:19:12.024" v="2154" actId="478"/>
          <ac:inkMkLst>
            <pc:docMk/>
            <pc:sldMk cId="2309282967" sldId="841"/>
            <ac:inkMk id="14" creationId="{EC93E4B3-9494-24C0-A12F-DB26FF397062}"/>
          </ac:inkMkLst>
        </pc:inkChg>
        <pc:inkChg chg="del">
          <ac:chgData name="Koksrud Andreas" userId="9d9beba6-c052-407a-8599-c781a677a996" providerId="ADAL" clId="{905ADE08-F996-4E61-A704-9E9FFC9B393E}" dt="2023-12-12T14:19:16.004" v="2157" actId="478"/>
          <ac:inkMkLst>
            <pc:docMk/>
            <pc:sldMk cId="2309282967" sldId="841"/>
            <ac:inkMk id="20" creationId="{D1E06875-6E46-44AA-8159-B5C24C076C77}"/>
          </ac:inkMkLst>
        </pc:inkChg>
        <pc:inkChg chg="del">
          <ac:chgData name="Koksrud Andreas" userId="9d9beba6-c052-407a-8599-c781a677a996" providerId="ADAL" clId="{905ADE08-F996-4E61-A704-9E9FFC9B393E}" dt="2023-12-12T14:19:16.004" v="2157" actId="478"/>
          <ac:inkMkLst>
            <pc:docMk/>
            <pc:sldMk cId="2309282967" sldId="841"/>
            <ac:inkMk id="26" creationId="{506B2C7D-993D-7DB3-5D05-6B6080E348A0}"/>
          </ac:inkMkLst>
        </pc:inkChg>
        <pc:inkChg chg="del">
          <ac:chgData name="Koksrud Andreas" userId="9d9beba6-c052-407a-8599-c781a677a996" providerId="ADAL" clId="{905ADE08-F996-4E61-A704-9E9FFC9B393E}" dt="2023-12-12T14:19:12.024" v="2154" actId="478"/>
          <ac:inkMkLst>
            <pc:docMk/>
            <pc:sldMk cId="2309282967" sldId="841"/>
            <ac:inkMk id="28" creationId="{CB8F037B-F1EF-9347-C28B-C91E87814DCE}"/>
          </ac:inkMkLst>
        </pc:inkChg>
        <pc:inkChg chg="del">
          <ac:chgData name="Koksrud Andreas" userId="9d9beba6-c052-407a-8599-c781a677a996" providerId="ADAL" clId="{905ADE08-F996-4E61-A704-9E9FFC9B393E}" dt="2023-12-12T14:19:16.004" v="2157" actId="478"/>
          <ac:inkMkLst>
            <pc:docMk/>
            <pc:sldMk cId="2309282967" sldId="841"/>
            <ac:inkMk id="29" creationId="{26467775-29D8-F70A-013F-F4F832036DAE}"/>
          </ac:inkMkLst>
        </pc:inkChg>
        <pc:inkChg chg="del">
          <ac:chgData name="Koksrud Andreas" userId="9d9beba6-c052-407a-8599-c781a677a996" providerId="ADAL" clId="{905ADE08-F996-4E61-A704-9E9FFC9B393E}" dt="2023-12-12T14:19:14.672" v="2156" actId="478"/>
          <ac:inkMkLst>
            <pc:docMk/>
            <pc:sldMk cId="2309282967" sldId="841"/>
            <ac:inkMk id="30" creationId="{F8B853B3-56FC-9FDD-C740-E6EA9A1A4598}"/>
          </ac:inkMkLst>
        </pc:inkChg>
        <pc:inkChg chg="del">
          <ac:chgData name="Koksrud Andreas" userId="9d9beba6-c052-407a-8599-c781a677a996" providerId="ADAL" clId="{905ADE08-F996-4E61-A704-9E9FFC9B393E}" dt="2023-12-12T14:19:12.024" v="2154" actId="478"/>
          <ac:inkMkLst>
            <pc:docMk/>
            <pc:sldMk cId="2309282967" sldId="841"/>
            <ac:inkMk id="31" creationId="{E14D3840-295E-488D-96E9-B861031FE7CC}"/>
          </ac:inkMkLst>
        </pc:inkChg>
        <pc:inkChg chg="del">
          <ac:chgData name="Koksrud Andreas" userId="9d9beba6-c052-407a-8599-c781a677a996" providerId="ADAL" clId="{905ADE08-F996-4E61-A704-9E9FFC9B393E}" dt="2023-12-12T14:19:18.503" v="2159" actId="478"/>
          <ac:inkMkLst>
            <pc:docMk/>
            <pc:sldMk cId="2309282967" sldId="841"/>
            <ac:inkMk id="32" creationId="{A9B8A2E3-24FD-08BD-79D8-F9665417262E}"/>
          </ac:inkMkLst>
        </pc:inkChg>
        <pc:inkChg chg="del">
          <ac:chgData name="Koksrud Andreas" userId="9d9beba6-c052-407a-8599-c781a677a996" providerId="ADAL" clId="{905ADE08-F996-4E61-A704-9E9FFC9B393E}" dt="2023-12-12T14:19:17.341" v="2158" actId="478"/>
          <ac:inkMkLst>
            <pc:docMk/>
            <pc:sldMk cId="2309282967" sldId="841"/>
            <ac:inkMk id="35" creationId="{2EFC97F4-B7A9-B9AC-1CA3-90508208F20A}"/>
          </ac:inkMkLst>
        </pc:inkChg>
      </pc:sldChg>
      <pc:sldChg chg="addSp delSp modSp add mod ord">
        <pc:chgData name="Koksrud Andreas" userId="9d9beba6-c052-407a-8599-c781a677a996" providerId="ADAL" clId="{905ADE08-F996-4E61-A704-9E9FFC9B393E}" dt="2023-12-13T07:53:52.316" v="2933" actId="20577"/>
        <pc:sldMkLst>
          <pc:docMk/>
          <pc:sldMk cId="685011829" sldId="842"/>
        </pc:sldMkLst>
        <pc:spChg chg="mod">
          <ac:chgData name="Koksrud Andreas" userId="9d9beba6-c052-407a-8599-c781a677a996" providerId="ADAL" clId="{905ADE08-F996-4E61-A704-9E9FFC9B393E}" dt="2023-12-13T07:53:52.316" v="2933" actId="20577"/>
          <ac:spMkLst>
            <pc:docMk/>
            <pc:sldMk cId="685011829" sldId="842"/>
            <ac:spMk id="2" creationId="{6B539DEF-BEF0-2AA6-A90D-BC67AC4C73CD}"/>
          </ac:spMkLst>
        </pc:spChg>
        <pc:graphicFrameChg chg="add del mod">
          <ac:chgData name="Koksrud Andreas" userId="9d9beba6-c052-407a-8599-c781a677a996" providerId="ADAL" clId="{905ADE08-F996-4E61-A704-9E9FFC9B393E}" dt="2023-12-13T07:05:57.272" v="2753"/>
          <ac:graphicFrameMkLst>
            <pc:docMk/>
            <pc:sldMk cId="685011829" sldId="842"/>
            <ac:graphicFrameMk id="12" creationId="{52293B95-C17D-E781-C1EB-963D924E194F}"/>
          </ac:graphicFrameMkLst>
        </pc:graphicFrameChg>
        <pc:picChg chg="add mod">
          <ac:chgData name="Koksrud Andreas" userId="9d9beba6-c052-407a-8599-c781a677a996" providerId="ADAL" clId="{905ADE08-F996-4E61-A704-9E9FFC9B393E}" dt="2023-12-12T14:22:25.294" v="2200" actId="1076"/>
          <ac:picMkLst>
            <pc:docMk/>
            <pc:sldMk cId="685011829" sldId="842"/>
            <ac:picMk id="4" creationId="{CD27EE68-E949-5DC0-F5A5-089E60CE19C8}"/>
          </ac:picMkLst>
        </pc:picChg>
        <pc:picChg chg="del">
          <ac:chgData name="Koksrud Andreas" userId="9d9beba6-c052-407a-8599-c781a677a996" providerId="ADAL" clId="{905ADE08-F996-4E61-A704-9E9FFC9B393E}" dt="2023-12-12T14:21:51.809" v="2185" actId="478"/>
          <ac:picMkLst>
            <pc:docMk/>
            <pc:sldMk cId="685011829" sldId="842"/>
            <ac:picMk id="5" creationId="{FA1D1CDB-0122-8BC7-BDA8-1D165EC5D626}"/>
          </ac:picMkLst>
        </pc:picChg>
        <pc:picChg chg="add del mod">
          <ac:chgData name="Koksrud Andreas" userId="9d9beba6-c052-407a-8599-c781a677a996" providerId="ADAL" clId="{905ADE08-F996-4E61-A704-9E9FFC9B393E}" dt="2023-12-13T07:48:41.674" v="2809" actId="478"/>
          <ac:picMkLst>
            <pc:docMk/>
            <pc:sldMk cId="685011829" sldId="842"/>
            <ac:picMk id="7" creationId="{B4C29A63-A2AE-9195-40D6-8D0EC6160D2B}"/>
          </ac:picMkLst>
        </pc:picChg>
        <pc:picChg chg="del">
          <ac:chgData name="Koksrud Andreas" userId="9d9beba6-c052-407a-8599-c781a677a996" providerId="ADAL" clId="{905ADE08-F996-4E61-A704-9E9FFC9B393E}" dt="2023-12-12T14:21:55.473" v="2186" actId="478"/>
          <ac:picMkLst>
            <pc:docMk/>
            <pc:sldMk cId="685011829" sldId="842"/>
            <ac:picMk id="8" creationId="{964DC94F-4CE3-9E77-1C05-790F17DC6E24}"/>
          </ac:picMkLst>
        </pc:picChg>
        <pc:picChg chg="add mod modCrop">
          <ac:chgData name="Koksrud Andreas" userId="9d9beba6-c052-407a-8599-c781a677a996" providerId="ADAL" clId="{905ADE08-F996-4E61-A704-9E9FFC9B393E}" dt="2023-12-12T14:29:59.246" v="2329" actId="1076"/>
          <ac:picMkLst>
            <pc:docMk/>
            <pc:sldMk cId="685011829" sldId="842"/>
            <ac:picMk id="11" creationId="{C3DB902A-EBDB-5DD0-3C18-0BDD4E0CA8B1}"/>
          </ac:picMkLst>
        </pc:picChg>
        <pc:picChg chg="add mod">
          <ac:chgData name="Koksrud Andreas" userId="9d9beba6-c052-407a-8599-c781a677a996" providerId="ADAL" clId="{905ADE08-F996-4E61-A704-9E9FFC9B393E}" dt="2023-12-13T07:50:14.347" v="2909" actId="1076"/>
          <ac:picMkLst>
            <pc:docMk/>
            <pc:sldMk cId="685011829" sldId="842"/>
            <ac:picMk id="15" creationId="{BA161936-FBBD-7AC9-F759-4CA842D7B33F}"/>
          </ac:picMkLst>
        </pc:picChg>
        <pc:picChg chg="add mod modCrop">
          <ac:chgData name="Koksrud Andreas" userId="9d9beba6-c052-407a-8599-c781a677a996" providerId="ADAL" clId="{905ADE08-F996-4E61-A704-9E9FFC9B393E}" dt="2023-12-13T07:53:48.467" v="2929" actId="732"/>
          <ac:picMkLst>
            <pc:docMk/>
            <pc:sldMk cId="685011829" sldId="842"/>
            <ac:picMk id="17" creationId="{AE665B1C-CB9E-2500-BE81-4AE1C755B7C6}"/>
          </ac:picMkLst>
        </pc:picChg>
        <pc:picChg chg="add mod modCrop">
          <ac:chgData name="Koksrud Andreas" userId="9d9beba6-c052-407a-8599-c781a677a996" providerId="ADAL" clId="{905ADE08-F996-4E61-A704-9E9FFC9B393E}" dt="2023-12-13T07:53:43.195" v="2928" actId="732"/>
          <ac:picMkLst>
            <pc:docMk/>
            <pc:sldMk cId="685011829" sldId="842"/>
            <ac:picMk id="19" creationId="{D4356995-C4F7-D58E-D0D2-F975BE842509}"/>
          </ac:picMkLst>
        </pc:picChg>
        <pc:picChg chg="del">
          <ac:chgData name="Koksrud Andreas" userId="9d9beba6-c052-407a-8599-c781a677a996" providerId="ADAL" clId="{905ADE08-F996-4E61-A704-9E9FFC9B393E}" dt="2023-12-12T14:22:03.190" v="2190" actId="478"/>
          <ac:picMkLst>
            <pc:docMk/>
            <pc:sldMk cId="685011829" sldId="842"/>
            <ac:picMk id="34" creationId="{6D1C5FAC-4895-136E-BE85-9762BF1503B0}"/>
          </ac:picMkLst>
        </pc:picChg>
        <pc:inkChg chg="del">
          <ac:chgData name="Koksrud Andreas" userId="9d9beba6-c052-407a-8599-c781a677a996" providerId="ADAL" clId="{905ADE08-F996-4E61-A704-9E9FFC9B393E}" dt="2023-12-12T14:21:57.833" v="2187" actId="478"/>
          <ac:inkMkLst>
            <pc:docMk/>
            <pc:sldMk cId="685011829" sldId="842"/>
            <ac:inkMk id="9" creationId="{7D41FC44-30D7-8EC4-3C0D-60303B7F9F48}"/>
          </ac:inkMkLst>
        </pc:inkChg>
        <pc:inkChg chg="del">
          <ac:chgData name="Koksrud Andreas" userId="9d9beba6-c052-407a-8599-c781a677a996" providerId="ADAL" clId="{905ADE08-F996-4E61-A704-9E9FFC9B393E}" dt="2023-12-12T14:21:57.833" v="2187" actId="478"/>
          <ac:inkMkLst>
            <pc:docMk/>
            <pc:sldMk cId="685011829" sldId="842"/>
            <ac:inkMk id="14" creationId="{EC93E4B3-9494-24C0-A12F-DB26FF397062}"/>
          </ac:inkMkLst>
        </pc:inkChg>
        <pc:inkChg chg="del">
          <ac:chgData name="Koksrud Andreas" userId="9d9beba6-c052-407a-8599-c781a677a996" providerId="ADAL" clId="{905ADE08-F996-4E61-A704-9E9FFC9B393E}" dt="2023-12-12T14:22:05.721" v="2191" actId="478"/>
          <ac:inkMkLst>
            <pc:docMk/>
            <pc:sldMk cId="685011829" sldId="842"/>
            <ac:inkMk id="20" creationId="{D1E06875-6E46-44AA-8159-B5C24C076C77}"/>
          </ac:inkMkLst>
        </pc:inkChg>
        <pc:inkChg chg="del">
          <ac:chgData name="Koksrud Andreas" userId="9d9beba6-c052-407a-8599-c781a677a996" providerId="ADAL" clId="{905ADE08-F996-4E61-A704-9E9FFC9B393E}" dt="2023-12-12T14:22:05.721" v="2191" actId="478"/>
          <ac:inkMkLst>
            <pc:docMk/>
            <pc:sldMk cId="685011829" sldId="842"/>
            <ac:inkMk id="26" creationId="{506B2C7D-993D-7DB3-5D05-6B6080E348A0}"/>
          </ac:inkMkLst>
        </pc:inkChg>
        <pc:inkChg chg="del">
          <ac:chgData name="Koksrud Andreas" userId="9d9beba6-c052-407a-8599-c781a677a996" providerId="ADAL" clId="{905ADE08-F996-4E61-A704-9E9FFC9B393E}" dt="2023-12-12T14:21:57.833" v="2187" actId="478"/>
          <ac:inkMkLst>
            <pc:docMk/>
            <pc:sldMk cId="685011829" sldId="842"/>
            <ac:inkMk id="28" creationId="{CB8F037B-F1EF-9347-C28B-C91E87814DCE}"/>
          </ac:inkMkLst>
        </pc:inkChg>
        <pc:inkChg chg="del">
          <ac:chgData name="Koksrud Andreas" userId="9d9beba6-c052-407a-8599-c781a677a996" providerId="ADAL" clId="{905ADE08-F996-4E61-A704-9E9FFC9B393E}" dt="2023-12-12T14:22:15.765" v="2196" actId="478"/>
          <ac:inkMkLst>
            <pc:docMk/>
            <pc:sldMk cId="685011829" sldId="842"/>
            <ac:inkMk id="29" creationId="{26467775-29D8-F70A-013F-F4F832036DAE}"/>
          </ac:inkMkLst>
        </pc:inkChg>
        <pc:inkChg chg="del">
          <ac:chgData name="Koksrud Andreas" userId="9d9beba6-c052-407a-8599-c781a677a996" providerId="ADAL" clId="{905ADE08-F996-4E61-A704-9E9FFC9B393E}" dt="2023-12-12T14:22:05.721" v="2191" actId="478"/>
          <ac:inkMkLst>
            <pc:docMk/>
            <pc:sldMk cId="685011829" sldId="842"/>
            <ac:inkMk id="30" creationId="{F8B853B3-56FC-9FDD-C740-E6EA9A1A4598}"/>
          </ac:inkMkLst>
        </pc:inkChg>
        <pc:inkChg chg="del">
          <ac:chgData name="Koksrud Andreas" userId="9d9beba6-c052-407a-8599-c781a677a996" providerId="ADAL" clId="{905ADE08-F996-4E61-A704-9E9FFC9B393E}" dt="2023-12-12T14:21:57.833" v="2187" actId="478"/>
          <ac:inkMkLst>
            <pc:docMk/>
            <pc:sldMk cId="685011829" sldId="842"/>
            <ac:inkMk id="31" creationId="{E14D3840-295E-488D-96E9-B861031FE7CC}"/>
          </ac:inkMkLst>
        </pc:inkChg>
        <pc:inkChg chg="del">
          <ac:chgData name="Koksrud Andreas" userId="9d9beba6-c052-407a-8599-c781a677a996" providerId="ADAL" clId="{905ADE08-F996-4E61-A704-9E9FFC9B393E}" dt="2023-12-12T14:22:07.120" v="2192" actId="478"/>
          <ac:inkMkLst>
            <pc:docMk/>
            <pc:sldMk cId="685011829" sldId="842"/>
            <ac:inkMk id="32" creationId="{A9B8A2E3-24FD-08BD-79D8-F9665417262E}"/>
          </ac:inkMkLst>
        </pc:inkChg>
        <pc:inkChg chg="del">
          <ac:chgData name="Koksrud Andreas" userId="9d9beba6-c052-407a-8599-c781a677a996" providerId="ADAL" clId="{905ADE08-F996-4E61-A704-9E9FFC9B393E}" dt="2023-12-12T14:22:14.696" v="2195" actId="478"/>
          <ac:inkMkLst>
            <pc:docMk/>
            <pc:sldMk cId="685011829" sldId="842"/>
            <ac:inkMk id="35" creationId="{2EFC97F4-B7A9-B9AC-1CA3-90508208F20A}"/>
          </ac:inkMkLst>
        </pc:inkChg>
      </pc:sldChg>
      <pc:sldChg chg="modSp add del mod ord">
        <pc:chgData name="Koksrud Andreas" userId="9d9beba6-c052-407a-8599-c781a677a996" providerId="ADAL" clId="{905ADE08-F996-4E61-A704-9E9FFC9B393E}" dt="2023-12-13T07:51:10.932" v="2917" actId="47"/>
        <pc:sldMkLst>
          <pc:docMk/>
          <pc:sldMk cId="1752389271" sldId="843"/>
        </pc:sldMkLst>
        <pc:spChg chg="mod">
          <ac:chgData name="Koksrud Andreas" userId="9d9beba6-c052-407a-8599-c781a677a996" providerId="ADAL" clId="{905ADE08-F996-4E61-A704-9E9FFC9B393E}" dt="2023-12-13T06:30:01.211" v="2457" actId="13926"/>
          <ac:spMkLst>
            <pc:docMk/>
            <pc:sldMk cId="1752389271" sldId="843"/>
            <ac:spMk id="2" creationId="{6B539DEF-BEF0-2AA6-A90D-BC67AC4C73CD}"/>
          </ac:spMkLst>
        </pc:spChg>
        <pc:spChg chg="mod">
          <ac:chgData name="Koksrud Andreas" userId="9d9beba6-c052-407a-8599-c781a677a996" providerId="ADAL" clId="{905ADE08-F996-4E61-A704-9E9FFC9B393E}" dt="2023-12-13T07:02:59.951" v="2751" actId="20577"/>
          <ac:spMkLst>
            <pc:docMk/>
            <pc:sldMk cId="1752389271" sldId="843"/>
            <ac:spMk id="4" creationId="{F5738D0C-CBD4-78A4-C3C7-21AA65CB25E4}"/>
          </ac:spMkLst>
        </pc:spChg>
      </pc:sldChg>
      <pc:sldChg chg="addSp delSp modSp add mod ord">
        <pc:chgData name="Koksrud Andreas" userId="9d9beba6-c052-407a-8599-c781a677a996" providerId="ADAL" clId="{905ADE08-F996-4E61-A704-9E9FFC9B393E}" dt="2023-12-13T06:52:37.552" v="2712" actId="1076"/>
        <pc:sldMkLst>
          <pc:docMk/>
          <pc:sldMk cId="798825500" sldId="844"/>
        </pc:sldMkLst>
        <pc:spChg chg="add mod">
          <ac:chgData name="Koksrud Andreas" userId="9d9beba6-c052-407a-8599-c781a677a996" providerId="ADAL" clId="{905ADE08-F996-4E61-A704-9E9FFC9B393E}" dt="2023-12-13T06:52:37.552" v="2712" actId="1076"/>
          <ac:spMkLst>
            <pc:docMk/>
            <pc:sldMk cId="798825500" sldId="844"/>
            <ac:spMk id="2" creationId="{244AF8B4-0676-DA57-A478-7C2D0FFFC8AA}"/>
          </ac:spMkLst>
        </pc:spChg>
        <pc:spChg chg="add del mod">
          <ac:chgData name="Koksrud Andreas" userId="9d9beba6-c052-407a-8599-c781a677a996" providerId="ADAL" clId="{905ADE08-F996-4E61-A704-9E9FFC9B393E}" dt="2023-12-13T06:52:33.992" v="2711" actId="478"/>
          <ac:spMkLst>
            <pc:docMk/>
            <pc:sldMk cId="798825500" sldId="844"/>
            <ac:spMk id="4" creationId="{729558F1-C707-44AE-841E-E720983691A6}"/>
          </ac:spMkLst>
        </pc:spChg>
        <pc:spChg chg="del">
          <ac:chgData name="Koksrud Andreas" userId="9d9beba6-c052-407a-8599-c781a677a996" providerId="ADAL" clId="{905ADE08-F996-4E61-A704-9E9FFC9B393E}" dt="2023-12-13T06:52:32.351" v="2710" actId="478"/>
          <ac:spMkLst>
            <pc:docMk/>
            <pc:sldMk cId="798825500" sldId="844"/>
            <ac:spMk id="181" creationId="{00000000-0000-0000-0000-000000000000}"/>
          </ac:spMkLst>
        </pc:spChg>
      </pc:sldChg>
      <pc:sldChg chg="modSp add mod ord">
        <pc:chgData name="Koksrud Andreas" userId="9d9beba6-c052-407a-8599-c781a677a996" providerId="ADAL" clId="{905ADE08-F996-4E61-A704-9E9FFC9B393E}" dt="2023-12-13T09:18:05.855" v="3033" actId="20577"/>
        <pc:sldMkLst>
          <pc:docMk/>
          <pc:sldMk cId="3245717989" sldId="845"/>
        </pc:sldMkLst>
        <pc:spChg chg="mod">
          <ac:chgData name="Koksrud Andreas" userId="9d9beba6-c052-407a-8599-c781a677a996" providerId="ADAL" clId="{905ADE08-F996-4E61-A704-9E9FFC9B393E}" dt="2023-12-13T09:18:05.855" v="3033" actId="20577"/>
          <ac:spMkLst>
            <pc:docMk/>
            <pc:sldMk cId="3245717989" sldId="845"/>
            <ac:spMk id="4" creationId="{F5738D0C-CBD4-78A4-C3C7-21AA65CB25E4}"/>
          </ac:spMkLst>
        </pc:spChg>
      </pc:sldChg>
      <pc:sldChg chg="addSp delSp modSp add mod">
        <pc:chgData name="Koksrud Andreas" userId="9d9beba6-c052-407a-8599-c781a677a996" providerId="ADAL" clId="{905ADE08-F996-4E61-A704-9E9FFC9B393E}" dt="2023-12-13T09:16:32.013" v="3024" actId="20577"/>
        <pc:sldMkLst>
          <pc:docMk/>
          <pc:sldMk cId="3805266284" sldId="846"/>
        </pc:sldMkLst>
        <pc:spChg chg="mod">
          <ac:chgData name="Koksrud Andreas" userId="9d9beba6-c052-407a-8599-c781a677a996" providerId="ADAL" clId="{905ADE08-F996-4E61-A704-9E9FFC9B393E}" dt="2023-12-13T09:16:32.013" v="3024" actId="20577"/>
          <ac:spMkLst>
            <pc:docMk/>
            <pc:sldMk cId="3805266284" sldId="846"/>
            <ac:spMk id="2" creationId="{6B539DEF-BEF0-2AA6-A90D-BC67AC4C73CD}"/>
          </ac:spMkLst>
        </pc:spChg>
        <pc:picChg chg="del">
          <ac:chgData name="Koksrud Andreas" userId="9d9beba6-c052-407a-8599-c781a677a996" providerId="ADAL" clId="{905ADE08-F996-4E61-A704-9E9FFC9B393E}" dt="2023-12-13T09:14:00.541" v="2954" actId="478"/>
          <ac:picMkLst>
            <pc:docMk/>
            <pc:sldMk cId="3805266284" sldId="846"/>
            <ac:picMk id="4" creationId="{CD27EE68-E949-5DC0-F5A5-089E60CE19C8}"/>
          </ac:picMkLst>
        </pc:picChg>
        <pc:picChg chg="add mod">
          <ac:chgData name="Koksrud Andreas" userId="9d9beba6-c052-407a-8599-c781a677a996" providerId="ADAL" clId="{905ADE08-F996-4E61-A704-9E9FFC9B393E}" dt="2023-12-13T09:16:11.597" v="2971" actId="1076"/>
          <ac:picMkLst>
            <pc:docMk/>
            <pc:sldMk cId="3805266284" sldId="846"/>
            <ac:picMk id="5" creationId="{6825C77A-19B6-C044-8CAB-F6A3349D4966}"/>
          </ac:picMkLst>
        </pc:picChg>
        <pc:picChg chg="del">
          <ac:chgData name="Koksrud Andreas" userId="9d9beba6-c052-407a-8599-c781a677a996" providerId="ADAL" clId="{905ADE08-F996-4E61-A704-9E9FFC9B393E}" dt="2023-12-13T09:16:03.464" v="2967" actId="478"/>
          <ac:picMkLst>
            <pc:docMk/>
            <pc:sldMk cId="3805266284" sldId="846"/>
            <ac:picMk id="11" creationId="{C3DB902A-EBDB-5DD0-3C18-0BDD4E0CA8B1}"/>
          </ac:picMkLst>
        </pc:picChg>
        <pc:picChg chg="del">
          <ac:chgData name="Koksrud Andreas" userId="9d9beba6-c052-407a-8599-c781a677a996" providerId="ADAL" clId="{905ADE08-F996-4E61-A704-9E9FFC9B393E}" dt="2023-12-13T09:16:02" v="2965" actId="478"/>
          <ac:picMkLst>
            <pc:docMk/>
            <pc:sldMk cId="3805266284" sldId="846"/>
            <ac:picMk id="15" creationId="{BA161936-FBBD-7AC9-F759-4CA842D7B33F}"/>
          </ac:picMkLst>
        </pc:picChg>
        <pc:picChg chg="del">
          <ac:chgData name="Koksrud Andreas" userId="9d9beba6-c052-407a-8599-c781a677a996" providerId="ADAL" clId="{905ADE08-F996-4E61-A704-9E9FFC9B393E}" dt="2023-12-13T09:16:02.653" v="2966" actId="478"/>
          <ac:picMkLst>
            <pc:docMk/>
            <pc:sldMk cId="3805266284" sldId="846"/>
            <ac:picMk id="17" creationId="{AE665B1C-CB9E-2500-BE81-4AE1C755B7C6}"/>
          </ac:picMkLst>
        </pc:picChg>
        <pc:picChg chg="del">
          <ac:chgData name="Koksrud Andreas" userId="9d9beba6-c052-407a-8599-c781a677a996" providerId="ADAL" clId="{905ADE08-F996-4E61-A704-9E9FFC9B393E}" dt="2023-12-13T09:16:04.638" v="2968" actId="478"/>
          <ac:picMkLst>
            <pc:docMk/>
            <pc:sldMk cId="3805266284" sldId="846"/>
            <ac:picMk id="19" creationId="{D4356995-C4F7-D58E-D0D2-F975BE842509}"/>
          </ac:picMkLst>
        </pc:picChg>
      </pc:sldChg>
      <pc:sldChg chg="modSp add mod ord">
        <pc:chgData name="Koksrud Andreas" userId="9d9beba6-c052-407a-8599-c781a677a996" providerId="ADAL" clId="{905ADE08-F996-4E61-A704-9E9FFC9B393E}" dt="2023-12-13T09:18:22.346" v="3036"/>
        <pc:sldMkLst>
          <pc:docMk/>
          <pc:sldMk cId="1521086367" sldId="847"/>
        </pc:sldMkLst>
        <pc:spChg chg="mod">
          <ac:chgData name="Koksrud Andreas" userId="9d9beba6-c052-407a-8599-c781a677a996" providerId="ADAL" clId="{905ADE08-F996-4E61-A704-9E9FFC9B393E}" dt="2023-12-13T09:18:22.346" v="3036"/>
          <ac:spMkLst>
            <pc:docMk/>
            <pc:sldMk cId="1521086367" sldId="847"/>
            <ac:spMk id="4" creationId="{F5738D0C-CBD4-78A4-C3C7-21AA65CB25E4}"/>
          </ac:spMkLst>
        </pc:spChg>
      </pc:sldChg>
    </pc:docChg>
  </pc:docChgLst>
  <pc:docChgLst>
    <pc:chgData name="Andreas Koksrud" userId="9d9beba6-c052-407a-8599-c781a677a996" providerId="ADAL" clId="{00BA2FB9-5762-4652-871C-5839CA256700}"/>
    <pc:docChg chg="custSel addSld delSld modSld modSection modNotesMaster modHandout">
      <pc:chgData name="Andreas Koksrud" userId="9d9beba6-c052-407a-8599-c781a677a996" providerId="ADAL" clId="{00BA2FB9-5762-4652-871C-5839CA256700}" dt="2024-09-21T11:17:35.456" v="727"/>
      <pc:docMkLst>
        <pc:docMk/>
      </pc:docMkLst>
      <pc:sldChg chg="modNotes">
        <pc:chgData name="Andreas Koksrud" userId="9d9beba6-c052-407a-8599-c781a677a996" providerId="ADAL" clId="{00BA2FB9-5762-4652-871C-5839CA256700}" dt="2024-09-21T11:17:35.456" v="727"/>
        <pc:sldMkLst>
          <pc:docMk/>
          <pc:sldMk cId="697137886" sldId="679"/>
        </pc:sldMkLst>
      </pc:sldChg>
      <pc:sldChg chg="modNotes">
        <pc:chgData name="Andreas Koksrud" userId="9d9beba6-c052-407a-8599-c781a677a996" providerId="ADAL" clId="{00BA2FB9-5762-4652-871C-5839CA256700}" dt="2024-09-21T11:17:35.456" v="727"/>
        <pc:sldMkLst>
          <pc:docMk/>
          <pc:sldMk cId="2087783305" sldId="730"/>
        </pc:sldMkLst>
      </pc:sldChg>
      <pc:sldChg chg="modNotes">
        <pc:chgData name="Andreas Koksrud" userId="9d9beba6-c052-407a-8599-c781a677a996" providerId="ADAL" clId="{00BA2FB9-5762-4652-871C-5839CA256700}" dt="2024-09-21T11:17:35.456" v="727"/>
        <pc:sldMkLst>
          <pc:docMk/>
          <pc:sldMk cId="2075912972" sldId="800"/>
        </pc:sldMkLst>
      </pc:sldChg>
      <pc:sldChg chg="modNotes">
        <pc:chgData name="Andreas Koksrud" userId="9d9beba6-c052-407a-8599-c781a677a996" providerId="ADAL" clId="{00BA2FB9-5762-4652-871C-5839CA256700}" dt="2024-09-21T11:17:35.456" v="727"/>
        <pc:sldMkLst>
          <pc:docMk/>
          <pc:sldMk cId="3385289181" sldId="854"/>
        </pc:sldMkLst>
      </pc:sldChg>
      <pc:sldChg chg="modSp modNotes">
        <pc:chgData name="Andreas Koksrud" userId="9d9beba6-c052-407a-8599-c781a677a996" providerId="ADAL" clId="{00BA2FB9-5762-4652-871C-5839CA256700}" dt="2024-09-21T11:17:35.456" v="727"/>
        <pc:sldMkLst>
          <pc:docMk/>
          <pc:sldMk cId="3146980650" sldId="891"/>
        </pc:sldMkLst>
        <pc:graphicFrameChg chg="mod">
          <ac:chgData name="Andreas Koksrud" userId="9d9beba6-c052-407a-8599-c781a677a996" providerId="ADAL" clId="{00BA2FB9-5762-4652-871C-5839CA256700}" dt="2024-09-14T07:22:05.498" v="14" actId="20577"/>
          <ac:graphicFrameMkLst>
            <pc:docMk/>
            <pc:sldMk cId="3146980650" sldId="891"/>
            <ac:graphicFrameMk id="182" creationId="{31C961BD-9981-8CD8-539D-AB011F3808BE}"/>
          </ac:graphicFrameMkLst>
        </pc:graphicFrameChg>
      </pc:sldChg>
      <pc:sldChg chg="modNotes">
        <pc:chgData name="Andreas Koksrud" userId="9d9beba6-c052-407a-8599-c781a677a996" providerId="ADAL" clId="{00BA2FB9-5762-4652-871C-5839CA256700}" dt="2024-09-21T11:17:35.456" v="727"/>
        <pc:sldMkLst>
          <pc:docMk/>
          <pc:sldMk cId="3243061228" sldId="892"/>
        </pc:sldMkLst>
      </pc:sldChg>
      <pc:sldChg chg="modNotes">
        <pc:chgData name="Andreas Koksrud" userId="9d9beba6-c052-407a-8599-c781a677a996" providerId="ADAL" clId="{00BA2FB9-5762-4652-871C-5839CA256700}" dt="2024-09-21T11:17:35.456" v="727"/>
        <pc:sldMkLst>
          <pc:docMk/>
          <pc:sldMk cId="2673461105" sldId="893"/>
        </pc:sldMkLst>
      </pc:sldChg>
      <pc:sldChg chg="modNotes">
        <pc:chgData name="Andreas Koksrud" userId="9d9beba6-c052-407a-8599-c781a677a996" providerId="ADAL" clId="{00BA2FB9-5762-4652-871C-5839CA256700}" dt="2024-09-21T11:17:35.456" v="727"/>
        <pc:sldMkLst>
          <pc:docMk/>
          <pc:sldMk cId="1864432717" sldId="901"/>
        </pc:sldMkLst>
      </pc:sldChg>
      <pc:sldChg chg="modNotes">
        <pc:chgData name="Andreas Koksrud" userId="9d9beba6-c052-407a-8599-c781a677a996" providerId="ADAL" clId="{00BA2FB9-5762-4652-871C-5839CA256700}" dt="2024-09-21T11:17:35.456" v="727"/>
        <pc:sldMkLst>
          <pc:docMk/>
          <pc:sldMk cId="1288900963" sldId="973"/>
        </pc:sldMkLst>
      </pc:sldChg>
      <pc:sldChg chg="addSp delSp modSp mod modNotes">
        <pc:chgData name="Andreas Koksrud" userId="9d9beba6-c052-407a-8599-c781a677a996" providerId="ADAL" clId="{00BA2FB9-5762-4652-871C-5839CA256700}" dt="2024-09-21T11:17:35.456" v="727"/>
        <pc:sldMkLst>
          <pc:docMk/>
          <pc:sldMk cId="2011127005" sldId="974"/>
        </pc:sldMkLst>
        <pc:spChg chg="del">
          <ac:chgData name="Andreas Koksrud" userId="9d9beba6-c052-407a-8599-c781a677a996" providerId="ADAL" clId="{00BA2FB9-5762-4652-871C-5839CA256700}" dt="2024-09-20T10:43:28.073" v="665" actId="478"/>
          <ac:spMkLst>
            <pc:docMk/>
            <pc:sldMk cId="2011127005" sldId="974"/>
            <ac:spMk id="5" creationId="{06C331F7-EF3E-5E7F-9901-C355F1A9896B}"/>
          </ac:spMkLst>
        </pc:spChg>
        <pc:spChg chg="add mod">
          <ac:chgData name="Andreas Koksrud" userId="9d9beba6-c052-407a-8599-c781a677a996" providerId="ADAL" clId="{00BA2FB9-5762-4652-871C-5839CA256700}" dt="2024-09-20T10:43:48.652" v="702" actId="13926"/>
          <ac:spMkLst>
            <pc:docMk/>
            <pc:sldMk cId="2011127005" sldId="974"/>
            <ac:spMk id="7" creationId="{77A4E8EF-7150-0558-D127-0ADCDE214C5B}"/>
          </ac:spMkLst>
        </pc:spChg>
      </pc:sldChg>
      <pc:sldChg chg="del">
        <pc:chgData name="Andreas Koksrud" userId="9d9beba6-c052-407a-8599-c781a677a996" providerId="ADAL" clId="{00BA2FB9-5762-4652-871C-5839CA256700}" dt="2024-09-20T10:43:56.965" v="703" actId="2696"/>
        <pc:sldMkLst>
          <pc:docMk/>
          <pc:sldMk cId="2436801190" sldId="975"/>
        </pc:sldMkLst>
      </pc:sldChg>
      <pc:sldChg chg="modSp mod modNotes">
        <pc:chgData name="Andreas Koksrud" userId="9d9beba6-c052-407a-8599-c781a677a996" providerId="ADAL" clId="{00BA2FB9-5762-4652-871C-5839CA256700}" dt="2024-09-21T11:17:35.456" v="727"/>
        <pc:sldMkLst>
          <pc:docMk/>
          <pc:sldMk cId="69240320" sldId="1000"/>
        </pc:sldMkLst>
        <pc:spChg chg="mod">
          <ac:chgData name="Andreas Koksrud" userId="9d9beba6-c052-407a-8599-c781a677a996" providerId="ADAL" clId="{00BA2FB9-5762-4652-871C-5839CA256700}" dt="2024-09-14T07:23:25.656" v="32" actId="14100"/>
          <ac:spMkLst>
            <pc:docMk/>
            <pc:sldMk cId="69240320" sldId="1000"/>
            <ac:spMk id="180" creationId="{00000000-0000-0000-0000-000000000000}"/>
          </ac:spMkLst>
        </pc:spChg>
      </pc:sldChg>
      <pc:sldChg chg="addSp modSp mod modNotes">
        <pc:chgData name="Andreas Koksrud" userId="9d9beba6-c052-407a-8599-c781a677a996" providerId="ADAL" clId="{00BA2FB9-5762-4652-871C-5839CA256700}" dt="2024-09-21T11:17:35.456" v="727"/>
        <pc:sldMkLst>
          <pc:docMk/>
          <pc:sldMk cId="3662907216" sldId="1001"/>
        </pc:sldMkLst>
        <pc:spChg chg="mod">
          <ac:chgData name="Andreas Koksrud" userId="9d9beba6-c052-407a-8599-c781a677a996" providerId="ADAL" clId="{00BA2FB9-5762-4652-871C-5839CA256700}" dt="2024-09-14T07:41:30.929" v="580" actId="1076"/>
          <ac:spMkLst>
            <pc:docMk/>
            <pc:sldMk cId="3662907216" sldId="1001"/>
            <ac:spMk id="9" creationId="{51983C6D-632C-2588-1485-B85E5134A5FC}"/>
          </ac:spMkLst>
        </pc:spChg>
        <pc:picChg chg="add mod">
          <ac:chgData name="Andreas Koksrud" userId="9d9beba6-c052-407a-8599-c781a677a996" providerId="ADAL" clId="{00BA2FB9-5762-4652-871C-5839CA256700}" dt="2024-09-14T07:41:27.010" v="579" actId="1076"/>
          <ac:picMkLst>
            <pc:docMk/>
            <pc:sldMk cId="3662907216" sldId="1001"/>
            <ac:picMk id="5" creationId="{9BF54B70-3515-DA9B-554D-AB4C29AA3C3E}"/>
          </ac:picMkLst>
        </pc:picChg>
      </pc:sldChg>
      <pc:sldChg chg="addSp modSp mod modNotes">
        <pc:chgData name="Andreas Koksrud" userId="9d9beba6-c052-407a-8599-c781a677a996" providerId="ADAL" clId="{00BA2FB9-5762-4652-871C-5839CA256700}" dt="2024-09-21T11:17:35.456" v="727"/>
        <pc:sldMkLst>
          <pc:docMk/>
          <pc:sldMk cId="3232936423" sldId="1002"/>
        </pc:sldMkLst>
        <pc:spChg chg="mod">
          <ac:chgData name="Andreas Koksrud" userId="9d9beba6-c052-407a-8599-c781a677a996" providerId="ADAL" clId="{00BA2FB9-5762-4652-871C-5839CA256700}" dt="2024-09-20T10:46:21.365" v="726" actId="20577"/>
          <ac:spMkLst>
            <pc:docMk/>
            <pc:sldMk cId="3232936423" sldId="1002"/>
            <ac:spMk id="9" creationId="{51983C6D-632C-2588-1485-B85E5134A5FC}"/>
          </ac:spMkLst>
        </pc:spChg>
        <pc:picChg chg="add mod">
          <ac:chgData name="Andreas Koksrud" userId="9d9beba6-c052-407a-8599-c781a677a996" providerId="ADAL" clId="{00BA2FB9-5762-4652-871C-5839CA256700}" dt="2024-09-14T07:39:46.398" v="573" actId="1076"/>
          <ac:picMkLst>
            <pc:docMk/>
            <pc:sldMk cId="3232936423" sldId="1002"/>
            <ac:picMk id="5" creationId="{BD6519B1-0AE7-7540-4CEF-A9B8220147EA}"/>
          </ac:picMkLst>
        </pc:picChg>
      </pc:sldChg>
      <pc:sldChg chg="modNotes">
        <pc:chgData name="Andreas Koksrud" userId="9d9beba6-c052-407a-8599-c781a677a996" providerId="ADAL" clId="{00BA2FB9-5762-4652-871C-5839CA256700}" dt="2024-09-21T11:17:35.456" v="727"/>
        <pc:sldMkLst>
          <pc:docMk/>
          <pc:sldMk cId="3526688720" sldId="1003"/>
        </pc:sldMkLst>
      </pc:sldChg>
      <pc:sldChg chg="addSp modSp mod modNotes">
        <pc:chgData name="Andreas Koksrud" userId="9d9beba6-c052-407a-8599-c781a677a996" providerId="ADAL" clId="{00BA2FB9-5762-4652-871C-5839CA256700}" dt="2024-09-21T11:17:35.456" v="727"/>
        <pc:sldMkLst>
          <pc:docMk/>
          <pc:sldMk cId="409760540" sldId="1004"/>
        </pc:sldMkLst>
        <pc:spChg chg="mod">
          <ac:chgData name="Andreas Koksrud" userId="9d9beba6-c052-407a-8599-c781a677a996" providerId="ADAL" clId="{00BA2FB9-5762-4652-871C-5839CA256700}" dt="2024-09-14T07:31:39.640" v="415" actId="20577"/>
          <ac:spMkLst>
            <pc:docMk/>
            <pc:sldMk cId="409760540" sldId="1004"/>
            <ac:spMk id="9" creationId="{51983C6D-632C-2588-1485-B85E5134A5FC}"/>
          </ac:spMkLst>
        </pc:spChg>
        <pc:picChg chg="add mod">
          <ac:chgData name="Andreas Koksrud" userId="9d9beba6-c052-407a-8599-c781a677a996" providerId="ADAL" clId="{00BA2FB9-5762-4652-871C-5839CA256700}" dt="2024-09-14T07:30:47.147" v="288" actId="14826"/>
          <ac:picMkLst>
            <pc:docMk/>
            <pc:sldMk cId="409760540" sldId="1004"/>
            <ac:picMk id="5" creationId="{824078E7-896D-0BCE-8170-7F43FBF2A74F}"/>
          </ac:picMkLst>
        </pc:picChg>
      </pc:sldChg>
      <pc:sldChg chg="addSp modSp mod modNotes">
        <pc:chgData name="Andreas Koksrud" userId="9d9beba6-c052-407a-8599-c781a677a996" providerId="ADAL" clId="{00BA2FB9-5762-4652-871C-5839CA256700}" dt="2024-09-21T11:17:35.456" v="727"/>
        <pc:sldMkLst>
          <pc:docMk/>
          <pc:sldMk cId="1429003844" sldId="1005"/>
        </pc:sldMkLst>
        <pc:spChg chg="mod">
          <ac:chgData name="Andreas Koksrud" userId="9d9beba6-c052-407a-8599-c781a677a996" providerId="ADAL" clId="{00BA2FB9-5762-4652-871C-5839CA256700}" dt="2024-09-14T07:32:10.505" v="420" actId="20577"/>
          <ac:spMkLst>
            <pc:docMk/>
            <pc:sldMk cId="1429003844" sldId="1005"/>
            <ac:spMk id="9" creationId="{51983C6D-632C-2588-1485-B85E5134A5FC}"/>
          </ac:spMkLst>
        </pc:spChg>
        <pc:picChg chg="add mod">
          <ac:chgData name="Andreas Koksrud" userId="9d9beba6-c052-407a-8599-c781a677a996" providerId="ADAL" clId="{00BA2FB9-5762-4652-871C-5839CA256700}" dt="2024-09-14T07:35:58.535" v="423" actId="1076"/>
          <ac:picMkLst>
            <pc:docMk/>
            <pc:sldMk cId="1429003844" sldId="1005"/>
            <ac:picMk id="5" creationId="{A9FD8E2C-3336-2A5D-6D75-D8B3D73C567B}"/>
          </ac:picMkLst>
        </pc:picChg>
      </pc:sldChg>
      <pc:sldChg chg="modSp mod modNotes">
        <pc:chgData name="Andreas Koksrud" userId="9d9beba6-c052-407a-8599-c781a677a996" providerId="ADAL" clId="{00BA2FB9-5762-4652-871C-5839CA256700}" dt="2024-09-21T11:17:35.456" v="727"/>
        <pc:sldMkLst>
          <pc:docMk/>
          <pc:sldMk cId="4011544621" sldId="1006"/>
        </pc:sldMkLst>
        <pc:spChg chg="mod">
          <ac:chgData name="Andreas Koksrud" userId="9d9beba6-c052-407a-8599-c781a677a996" providerId="ADAL" clId="{00BA2FB9-5762-4652-871C-5839CA256700}" dt="2024-09-14T07:37:16.683" v="570" actId="20577"/>
          <ac:spMkLst>
            <pc:docMk/>
            <pc:sldMk cId="4011544621" sldId="1006"/>
            <ac:spMk id="9" creationId="{51983C6D-632C-2588-1485-B85E5134A5FC}"/>
          </ac:spMkLst>
        </pc:spChg>
      </pc:sldChg>
      <pc:sldChg chg="modNotes">
        <pc:chgData name="Andreas Koksrud" userId="9d9beba6-c052-407a-8599-c781a677a996" providerId="ADAL" clId="{00BA2FB9-5762-4652-871C-5839CA256700}" dt="2024-09-21T11:17:35.456" v="727"/>
        <pc:sldMkLst>
          <pc:docMk/>
          <pc:sldMk cId="2455441855" sldId="1007"/>
        </pc:sldMkLst>
      </pc:sldChg>
      <pc:sldChg chg="modNotes">
        <pc:chgData name="Andreas Koksrud" userId="9d9beba6-c052-407a-8599-c781a677a996" providerId="ADAL" clId="{00BA2FB9-5762-4652-871C-5839CA256700}" dt="2024-09-21T11:17:35.456" v="727"/>
        <pc:sldMkLst>
          <pc:docMk/>
          <pc:sldMk cId="27567207" sldId="1008"/>
        </pc:sldMkLst>
      </pc:sldChg>
      <pc:sldChg chg="modNotes">
        <pc:chgData name="Andreas Koksrud" userId="9d9beba6-c052-407a-8599-c781a677a996" providerId="ADAL" clId="{00BA2FB9-5762-4652-871C-5839CA256700}" dt="2024-09-21T11:17:35.456" v="727"/>
        <pc:sldMkLst>
          <pc:docMk/>
          <pc:sldMk cId="1101909220" sldId="1009"/>
        </pc:sldMkLst>
      </pc:sldChg>
      <pc:sldChg chg="modNotes">
        <pc:chgData name="Andreas Koksrud" userId="9d9beba6-c052-407a-8599-c781a677a996" providerId="ADAL" clId="{00BA2FB9-5762-4652-871C-5839CA256700}" dt="2024-09-21T11:17:35.456" v="727"/>
        <pc:sldMkLst>
          <pc:docMk/>
          <pc:sldMk cId="1214755120" sldId="1010"/>
        </pc:sldMkLst>
      </pc:sldChg>
      <pc:sldChg chg="modSp add mod modNotes">
        <pc:chgData name="Andreas Koksrud" userId="9d9beba6-c052-407a-8599-c781a677a996" providerId="ADAL" clId="{00BA2FB9-5762-4652-871C-5839CA256700}" dt="2024-09-21T11:17:35.456" v="727"/>
        <pc:sldMkLst>
          <pc:docMk/>
          <pc:sldMk cId="2448949193" sldId="1011"/>
        </pc:sldMkLst>
        <pc:spChg chg="mod">
          <ac:chgData name="Andreas Koksrud" userId="9d9beba6-c052-407a-8599-c781a677a996" providerId="ADAL" clId="{00BA2FB9-5762-4652-871C-5839CA256700}" dt="2024-09-16T19:39:19.752" v="607" actId="20577"/>
          <ac:spMkLst>
            <pc:docMk/>
            <pc:sldMk cId="2448949193" sldId="1011"/>
            <ac:spMk id="180" creationId="{00000000-0000-0000-0000-000000000000}"/>
          </ac:spMkLst>
        </pc:spChg>
        <pc:spChg chg="mod">
          <ac:chgData name="Andreas Koksrud" userId="9d9beba6-c052-407a-8599-c781a677a996" providerId="ADAL" clId="{00BA2FB9-5762-4652-871C-5839CA256700}" dt="2024-09-16T19:39:35.413" v="664" actId="5793"/>
          <ac:spMkLst>
            <pc:docMk/>
            <pc:sldMk cId="2448949193" sldId="1011"/>
            <ac:spMk id="181" creationId="{00000000-0000-0000-0000-000000000000}"/>
          </ac:spMkLst>
        </pc:spChg>
      </pc:sldChg>
    </pc:docChg>
  </pc:docChgLst>
  <pc:docChgLst>
    <pc:chgData name="Koksrud Andreas" userId="9d9beba6-c052-407a-8599-c781a677a996" providerId="ADAL" clId="{4C89AD2D-B60A-479F-9F95-9D423A06FAEA}"/>
    <pc:docChg chg="undo custSel modSld">
      <pc:chgData name="Koksrud Andreas" userId="9d9beba6-c052-407a-8599-c781a677a996" providerId="ADAL" clId="{4C89AD2D-B60A-479F-9F95-9D423A06FAEA}" dt="2024-07-13T21:48:53.843" v="10" actId="1076"/>
      <pc:docMkLst>
        <pc:docMk/>
      </pc:docMkLst>
      <pc:sldChg chg="addSp modSp mod">
        <pc:chgData name="Koksrud Andreas" userId="9d9beba6-c052-407a-8599-c781a677a996" providerId="ADAL" clId="{4C89AD2D-B60A-479F-9F95-9D423A06FAEA}" dt="2024-07-13T21:48:53.843" v="10" actId="1076"/>
        <pc:sldMkLst>
          <pc:docMk/>
          <pc:sldMk cId="3094626849" sldId="986"/>
        </pc:sldMkLst>
        <pc:spChg chg="mod">
          <ac:chgData name="Koksrud Andreas" userId="9d9beba6-c052-407a-8599-c781a677a996" providerId="ADAL" clId="{4C89AD2D-B60A-479F-9F95-9D423A06FAEA}" dt="2024-07-13T21:48:45.835" v="8" actId="14100"/>
          <ac:spMkLst>
            <pc:docMk/>
            <pc:sldMk cId="3094626849" sldId="986"/>
            <ac:spMk id="181" creationId="{00000000-0000-0000-0000-000000000000}"/>
          </ac:spMkLst>
        </pc:spChg>
        <pc:picChg chg="add mod">
          <ac:chgData name="Koksrud Andreas" userId="9d9beba6-c052-407a-8599-c781a677a996" providerId="ADAL" clId="{4C89AD2D-B60A-479F-9F95-9D423A06FAEA}" dt="2024-07-13T21:48:53.843" v="10" actId="1076"/>
          <ac:picMkLst>
            <pc:docMk/>
            <pc:sldMk cId="3094626849" sldId="986"/>
            <ac:picMk id="9" creationId="{BD346BB7-E46A-4DB8-B19A-C2B7F990ABC7}"/>
          </ac:picMkLst>
        </pc:picChg>
      </pc:sldChg>
    </pc:docChg>
  </pc:docChgLst>
  <pc:docChgLst>
    <pc:chgData name="Andreas" userId="9d9beba6-c052-407a-8599-c781a677a996" providerId="ADAL" clId="{1B7CF67B-5515-4C9F-825D-072B1C4F5900}"/>
    <pc:docChg chg="undo custSel addSld delSld modSld modMainMaster delSection modSection">
      <pc:chgData name="Andreas" userId="9d9beba6-c052-407a-8599-c781a677a996" providerId="ADAL" clId="{1B7CF67B-5515-4C9F-825D-072B1C4F5900}" dt="2021-11-18T09:03:01.550" v="871" actId="14100"/>
      <pc:docMkLst>
        <pc:docMk/>
      </pc:docMkLst>
      <pc:sldChg chg="addSp modSp add mod modTransition modClrScheme chgLayout">
        <pc:chgData name="Andreas" userId="9d9beba6-c052-407a-8599-c781a677a996" providerId="ADAL" clId="{1B7CF67B-5515-4C9F-825D-072B1C4F5900}" dt="2021-11-18T08:56:24.045" v="817" actId="26606"/>
        <pc:sldMkLst>
          <pc:docMk/>
          <pc:sldMk cId="0" sldId="269"/>
        </pc:sldMkLst>
        <pc:spChg chg="add mod">
          <ac:chgData name="Andreas" userId="9d9beba6-c052-407a-8599-c781a677a996" providerId="ADAL" clId="{1B7CF67B-5515-4C9F-825D-072B1C4F5900}" dt="2021-11-18T08:56:24.045" v="817" actId="26606"/>
          <ac:spMkLst>
            <pc:docMk/>
            <pc:sldMk cId="0" sldId="269"/>
            <ac:spMk id="107" creationId="{CC3A3BAC-B7F7-48CD-ADC9-D0EA5526CFAB}"/>
          </ac:spMkLst>
        </pc:spChg>
        <pc:spChg chg="add mod">
          <ac:chgData name="Andreas" userId="9d9beba6-c052-407a-8599-c781a677a996" providerId="ADAL" clId="{1B7CF67B-5515-4C9F-825D-072B1C4F5900}" dt="2021-11-18T08:56:24.045" v="817" actId="26606"/>
          <ac:spMkLst>
            <pc:docMk/>
            <pc:sldMk cId="0" sldId="269"/>
            <ac:spMk id="109" creationId="{3174B999-8A09-4A03-94BB-C790E5DA4ED1}"/>
          </ac:spMkLst>
        </pc:spChg>
        <pc:spChg chg="add mod">
          <ac:chgData name="Andreas" userId="9d9beba6-c052-407a-8599-c781a677a996" providerId="ADAL" clId="{1B7CF67B-5515-4C9F-825D-072B1C4F5900}" dt="2021-11-18T08:56:24.045" v="817" actId="26606"/>
          <ac:spMkLst>
            <pc:docMk/>
            <pc:sldMk cId="0" sldId="269"/>
            <ac:spMk id="111" creationId="{AB36D0B0-DE7A-4321-9831-C15D075CDD40}"/>
          </ac:spMkLst>
        </pc:spChg>
        <pc:spChg chg="mod">
          <ac:chgData name="Andreas" userId="9d9beba6-c052-407a-8599-c781a677a996" providerId="ADAL" clId="{1B7CF67B-5515-4C9F-825D-072B1C4F5900}" dt="2021-11-18T08:56:24.045" v="817" actId="26606"/>
          <ac:spMkLst>
            <pc:docMk/>
            <pc:sldMk cId="0" sldId="269"/>
            <ac:spMk id="230" creationId="{00000000-0000-0000-0000-000000000000}"/>
          </ac:spMkLst>
        </pc:spChg>
      </pc:sldChg>
      <pc:sldChg chg="addSp delSp modSp add del mod modTransition setBg modClrScheme setClrOvrMap chgLayout">
        <pc:chgData name="Andreas" userId="9d9beba6-c052-407a-8599-c781a677a996" providerId="ADAL" clId="{1B7CF67B-5515-4C9F-825D-072B1C4F5900}" dt="2021-11-18T08:25:44.757" v="310" actId="20577"/>
        <pc:sldMkLst>
          <pc:docMk/>
          <pc:sldMk cId="3737422792" sldId="276"/>
        </pc:sldMkLst>
        <pc:spChg chg="add del mod">
          <ac:chgData name="Andreas" userId="9d9beba6-c052-407a-8599-c781a677a996" providerId="ADAL" clId="{1B7CF67B-5515-4C9F-825D-072B1C4F5900}" dt="2021-11-18T08:21:47.187" v="291" actId="6264"/>
          <ac:spMkLst>
            <pc:docMk/>
            <pc:sldMk cId="3737422792" sldId="276"/>
            <ac:spMk id="2" creationId="{E8B6FD00-5D34-4B3F-948D-6ABA0FFDF702}"/>
          </ac:spMkLst>
        </pc:spChg>
        <pc:spChg chg="add del mod">
          <ac:chgData name="Andreas" userId="9d9beba6-c052-407a-8599-c781a677a996" providerId="ADAL" clId="{1B7CF67B-5515-4C9F-825D-072B1C4F5900}" dt="2021-11-18T08:21:47.187" v="291" actId="6264"/>
          <ac:spMkLst>
            <pc:docMk/>
            <pc:sldMk cId="3737422792" sldId="276"/>
            <ac:spMk id="3" creationId="{3E39B068-DF6B-4683-8D04-19F7F72DFDBC}"/>
          </ac:spMkLst>
        </pc:spChg>
        <pc:spChg chg="add del mod ord">
          <ac:chgData name="Andreas" userId="9d9beba6-c052-407a-8599-c781a677a996" providerId="ADAL" clId="{1B7CF67B-5515-4C9F-825D-072B1C4F5900}" dt="2021-11-18T08:22:05.585" v="293" actId="700"/>
          <ac:spMkLst>
            <pc:docMk/>
            <pc:sldMk cId="3737422792" sldId="276"/>
            <ac:spMk id="4" creationId="{E41F8D6F-820F-4B61-9B67-A8A99C657E20}"/>
          </ac:spMkLst>
        </pc:spChg>
        <pc:spChg chg="add del mod">
          <ac:chgData name="Andreas" userId="9d9beba6-c052-407a-8599-c781a677a996" providerId="ADAL" clId="{1B7CF67B-5515-4C9F-825D-072B1C4F5900}" dt="2021-11-18T08:22:46.031" v="295" actId="26606"/>
          <ac:spMkLst>
            <pc:docMk/>
            <pc:sldMk cId="3737422792" sldId="276"/>
            <ac:spMk id="108" creationId="{5DB91C34-B2ED-47CE-B432-AAC6553E4972}"/>
          </ac:spMkLst>
        </pc:spChg>
        <pc:spChg chg="add del mod">
          <ac:chgData name="Andreas" userId="9d9beba6-c052-407a-8599-c781a677a996" providerId="ADAL" clId="{1B7CF67B-5515-4C9F-825D-072B1C4F5900}" dt="2021-11-18T08:22:46.031" v="295" actId="26606"/>
          <ac:spMkLst>
            <pc:docMk/>
            <pc:sldMk cId="3737422792" sldId="276"/>
            <ac:spMk id="110" creationId="{B63D8C7C-40C1-4C51-872B-E995B515AB5F}"/>
          </ac:spMkLst>
        </pc:spChg>
        <pc:spChg chg="add del mod">
          <ac:chgData name="Andreas" userId="9d9beba6-c052-407a-8599-c781a677a996" providerId="ADAL" clId="{1B7CF67B-5515-4C9F-825D-072B1C4F5900}" dt="2021-11-18T08:22:46.031" v="295" actId="26606"/>
          <ac:spMkLst>
            <pc:docMk/>
            <pc:sldMk cId="3737422792" sldId="276"/>
            <ac:spMk id="112" creationId="{51B489ED-16D0-43A0-ABDE-4352D312221D}"/>
          </ac:spMkLst>
        </pc:spChg>
        <pc:spChg chg="mod ord">
          <ac:chgData name="Andreas" userId="9d9beba6-c052-407a-8599-c781a677a996" providerId="ADAL" clId="{1B7CF67B-5515-4C9F-825D-072B1C4F5900}" dt="2021-11-18T08:24:59.983" v="296" actId="26606"/>
          <ac:spMkLst>
            <pc:docMk/>
            <pc:sldMk cId="3737422792" sldId="276"/>
            <ac:spMk id="165" creationId="{00000000-0000-0000-0000-000000000000}"/>
          </ac:spMkLst>
        </pc:spChg>
        <pc:spChg chg="add del mod ord">
          <ac:chgData name="Andreas" userId="9d9beba6-c052-407a-8599-c781a677a996" providerId="ADAL" clId="{1B7CF67B-5515-4C9F-825D-072B1C4F5900}" dt="2021-11-18T08:24:59.983" v="296" actId="26606"/>
          <ac:spMkLst>
            <pc:docMk/>
            <pc:sldMk cId="3737422792" sldId="276"/>
            <ac:spMk id="166" creationId="{00000000-0000-0000-0000-000000000000}"/>
          </ac:spMkLst>
        </pc:spChg>
        <pc:spChg chg="add mod">
          <ac:chgData name="Andreas" userId="9d9beba6-c052-407a-8599-c781a677a996" providerId="ADAL" clId="{1B7CF67B-5515-4C9F-825D-072B1C4F5900}" dt="2021-11-18T08:24:59.983" v="296" actId="26606"/>
          <ac:spMkLst>
            <pc:docMk/>
            <pc:sldMk cId="3737422792" sldId="276"/>
            <ac:spMk id="169" creationId="{FCD9E641-BDBD-4471-8B10-66B173D6D76F}"/>
          </ac:spMkLst>
        </pc:spChg>
        <pc:spChg chg="add mod">
          <ac:chgData name="Andreas" userId="9d9beba6-c052-407a-8599-c781a677a996" providerId="ADAL" clId="{1B7CF67B-5515-4C9F-825D-072B1C4F5900}" dt="2021-11-18T08:24:59.983" v="296" actId="26606"/>
          <ac:spMkLst>
            <pc:docMk/>
            <pc:sldMk cId="3737422792" sldId="276"/>
            <ac:spMk id="170" creationId="{A9265E83-A198-4EF6-B643-CF734811EC4E}"/>
          </ac:spMkLst>
        </pc:spChg>
        <pc:spChg chg="add del mod">
          <ac:chgData name="Andreas" userId="9d9beba6-c052-407a-8599-c781a677a996" providerId="ADAL" clId="{1B7CF67B-5515-4C9F-825D-072B1C4F5900}" dt="2021-11-18T08:25:04.517" v="297" actId="478"/>
          <ac:spMkLst>
            <pc:docMk/>
            <pc:sldMk cId="3737422792" sldId="276"/>
            <ac:spMk id="171" creationId="{6EE05730-144D-47E3-A1A2-49699684E5BD}"/>
          </ac:spMkLst>
        </pc:spChg>
        <pc:graphicFrameChg chg="add del mod">
          <ac:chgData name="Andreas" userId="9d9beba6-c052-407a-8599-c781a677a996" providerId="ADAL" clId="{1B7CF67B-5515-4C9F-825D-072B1C4F5900}" dt="2021-11-18T08:22:46.031" v="295" actId="26606"/>
          <ac:graphicFrameMkLst>
            <pc:docMk/>
            <pc:sldMk cId="3737422792" sldId="276"/>
            <ac:graphicFrameMk id="168" creationId="{0D6BDFE0-C86E-42FE-B472-D041276B0667}"/>
          </ac:graphicFrameMkLst>
        </pc:graphicFrameChg>
        <pc:graphicFrameChg chg="add mod">
          <ac:chgData name="Andreas" userId="9d9beba6-c052-407a-8599-c781a677a996" providerId="ADAL" clId="{1B7CF67B-5515-4C9F-825D-072B1C4F5900}" dt="2021-11-18T08:25:44.757" v="310" actId="20577"/>
          <ac:graphicFrameMkLst>
            <pc:docMk/>
            <pc:sldMk cId="3737422792" sldId="276"/>
            <ac:graphicFrameMk id="172" creationId="{848AB4C9-36A6-4A0C-9CEF-9EFC72D94CAE}"/>
          </ac:graphicFrameMkLst>
        </pc:graphicFrameChg>
      </pc:sldChg>
      <pc:sldChg chg="addSp modSp add mod modTransition modClrScheme chgLayout">
        <pc:chgData name="Andreas" userId="9d9beba6-c052-407a-8599-c781a677a996" providerId="ADAL" clId="{1B7CF67B-5515-4C9F-825D-072B1C4F5900}" dt="2021-11-18T08:25:53.591" v="311" actId="26606"/>
        <pc:sldMkLst>
          <pc:docMk/>
          <pc:sldMk cId="129742149" sldId="277"/>
        </pc:sldMkLst>
        <pc:spChg chg="add mod">
          <ac:chgData name="Andreas" userId="9d9beba6-c052-407a-8599-c781a677a996" providerId="ADAL" clId="{1B7CF67B-5515-4C9F-825D-072B1C4F5900}" dt="2021-11-18T08:25:53.591" v="311" actId="26606"/>
          <ac:spMkLst>
            <pc:docMk/>
            <pc:sldMk cId="129742149" sldId="277"/>
            <ac:spMk id="107" creationId="{41270C2F-D8CA-40C7-BBF0-C98B705838F6}"/>
          </ac:spMkLst>
        </pc:spChg>
        <pc:spChg chg="add mod">
          <ac:chgData name="Andreas" userId="9d9beba6-c052-407a-8599-c781a677a996" providerId="ADAL" clId="{1B7CF67B-5515-4C9F-825D-072B1C4F5900}" dt="2021-11-18T08:25:53.591" v="311" actId="26606"/>
          <ac:spMkLst>
            <pc:docMk/>
            <pc:sldMk cId="129742149" sldId="277"/>
            <ac:spMk id="109" creationId="{C005E2CF-FBB8-4455-8DBB-0E61E2B646D3}"/>
          </ac:spMkLst>
        </pc:spChg>
        <pc:spChg chg="add mod">
          <ac:chgData name="Andreas" userId="9d9beba6-c052-407a-8599-c781a677a996" providerId="ADAL" clId="{1B7CF67B-5515-4C9F-825D-072B1C4F5900}" dt="2021-11-18T08:25:53.591" v="311" actId="26606"/>
          <ac:spMkLst>
            <pc:docMk/>
            <pc:sldMk cId="129742149" sldId="277"/>
            <ac:spMk id="111" creationId="{22305A95-B8EA-4033-92D4-603DD01EA09F}"/>
          </ac:spMkLst>
        </pc:spChg>
        <pc:spChg chg="mod ord">
          <ac:chgData name="Andreas" userId="9d9beba6-c052-407a-8599-c781a677a996" providerId="ADAL" clId="{1B7CF67B-5515-4C9F-825D-072B1C4F5900}" dt="2021-11-18T08:25:53.591" v="311" actId="26606"/>
          <ac:spMkLst>
            <pc:docMk/>
            <pc:sldMk cId="129742149" sldId="277"/>
            <ac:spMk id="165" creationId="{00000000-0000-0000-0000-000000000000}"/>
          </ac:spMkLst>
        </pc:spChg>
        <pc:spChg chg="mod">
          <ac:chgData name="Andreas" userId="9d9beba6-c052-407a-8599-c781a677a996" providerId="ADAL" clId="{1B7CF67B-5515-4C9F-825D-072B1C4F5900}" dt="2021-11-18T08:25:53.591" v="311" actId="26606"/>
          <ac:spMkLst>
            <pc:docMk/>
            <pc:sldMk cId="129742149" sldId="277"/>
            <ac:spMk id="166" creationId="{00000000-0000-0000-0000-000000000000}"/>
          </ac:spMkLst>
        </pc:spChg>
      </pc:sldChg>
      <pc:sldChg chg="addSp modSp add mod modTransition modClrScheme chgLayout">
        <pc:chgData name="Andreas" userId="9d9beba6-c052-407a-8599-c781a677a996" providerId="ADAL" clId="{1B7CF67B-5515-4C9F-825D-072B1C4F5900}" dt="2021-11-18T08:27:00.356" v="330" actId="20577"/>
        <pc:sldMkLst>
          <pc:docMk/>
          <pc:sldMk cId="3062551098" sldId="278"/>
        </pc:sldMkLst>
        <pc:spChg chg="add mod">
          <ac:chgData name="Andreas" userId="9d9beba6-c052-407a-8599-c781a677a996" providerId="ADAL" clId="{1B7CF67B-5515-4C9F-825D-072B1C4F5900}" dt="2021-11-18T08:26:04.185" v="312" actId="26606"/>
          <ac:spMkLst>
            <pc:docMk/>
            <pc:sldMk cId="3062551098" sldId="278"/>
            <ac:spMk id="106" creationId="{72097BCE-4295-4A85-9AA3-1226424A4DB7}"/>
          </ac:spMkLst>
        </pc:spChg>
        <pc:spChg chg="add mod">
          <ac:chgData name="Andreas" userId="9d9beba6-c052-407a-8599-c781a677a996" providerId="ADAL" clId="{1B7CF67B-5515-4C9F-825D-072B1C4F5900}" dt="2021-11-18T08:26:04.185" v="312" actId="26606"/>
          <ac:spMkLst>
            <pc:docMk/>
            <pc:sldMk cId="3062551098" sldId="278"/>
            <ac:spMk id="108" creationId="{50E006F3-2805-4D79-BC15-E19203E52053}"/>
          </ac:spMkLst>
        </pc:spChg>
        <pc:spChg chg="add mod">
          <ac:chgData name="Andreas" userId="9d9beba6-c052-407a-8599-c781a677a996" providerId="ADAL" clId="{1B7CF67B-5515-4C9F-825D-072B1C4F5900}" dt="2021-11-18T08:26:04.185" v="312" actId="26606"/>
          <ac:spMkLst>
            <pc:docMk/>
            <pc:sldMk cId="3062551098" sldId="278"/>
            <ac:spMk id="110" creationId="{EB8FAF6E-CB9E-4456-93EE-4F6B6579FD2A}"/>
          </ac:spMkLst>
        </pc:spChg>
        <pc:spChg chg="mod">
          <ac:chgData name="Andreas" userId="9d9beba6-c052-407a-8599-c781a677a996" providerId="ADAL" clId="{1B7CF67B-5515-4C9F-825D-072B1C4F5900}" dt="2021-11-18T08:27:00.356" v="330" actId="20577"/>
          <ac:spMkLst>
            <pc:docMk/>
            <pc:sldMk cId="3062551098" sldId="278"/>
            <ac:spMk id="165" creationId="{00000000-0000-0000-0000-000000000000}"/>
          </ac:spMkLst>
        </pc:spChg>
        <pc:picChg chg="mod">
          <ac:chgData name="Andreas" userId="9d9beba6-c052-407a-8599-c781a677a996" providerId="ADAL" clId="{1B7CF67B-5515-4C9F-825D-072B1C4F5900}" dt="2021-11-18T08:26:04.185" v="312" actId="26606"/>
          <ac:picMkLst>
            <pc:docMk/>
            <pc:sldMk cId="3062551098" sldId="278"/>
            <ac:picMk id="6" creationId="{4D677013-A4B2-4837-8BAC-1213E9BD830A}"/>
          </ac:picMkLst>
        </pc:picChg>
      </pc:sldChg>
      <pc:sldChg chg="addSp delSp modSp add mod modTransition modClrScheme chgLayout">
        <pc:chgData name="Andreas" userId="9d9beba6-c052-407a-8599-c781a677a996" providerId="ADAL" clId="{1B7CF67B-5515-4C9F-825D-072B1C4F5900}" dt="2021-11-18T08:26:55.433" v="327" actId="20577"/>
        <pc:sldMkLst>
          <pc:docMk/>
          <pc:sldMk cId="595294778" sldId="279"/>
        </pc:sldMkLst>
        <pc:spChg chg="add del mod">
          <ac:chgData name="Andreas" userId="9d9beba6-c052-407a-8599-c781a677a996" providerId="ADAL" clId="{1B7CF67B-5515-4C9F-825D-072B1C4F5900}" dt="2021-11-18T08:26:13.683" v="314" actId="26606"/>
          <ac:spMkLst>
            <pc:docMk/>
            <pc:sldMk cId="595294778" sldId="279"/>
            <ac:spMk id="106" creationId="{A3AA610C-7335-431C-9A03-7CC551F12140}"/>
          </ac:spMkLst>
        </pc:spChg>
        <pc:spChg chg="add del mod">
          <ac:chgData name="Andreas" userId="9d9beba6-c052-407a-8599-c781a677a996" providerId="ADAL" clId="{1B7CF67B-5515-4C9F-825D-072B1C4F5900}" dt="2021-11-18T08:26:13.683" v="314" actId="26606"/>
          <ac:spMkLst>
            <pc:docMk/>
            <pc:sldMk cId="595294778" sldId="279"/>
            <ac:spMk id="108" creationId="{C5A4DD74-B093-41BC-8EB6-7BEC8B3FA9B7}"/>
          </ac:spMkLst>
        </pc:spChg>
        <pc:spChg chg="add del mod">
          <ac:chgData name="Andreas" userId="9d9beba6-c052-407a-8599-c781a677a996" providerId="ADAL" clId="{1B7CF67B-5515-4C9F-825D-072B1C4F5900}" dt="2021-11-18T08:26:13.683" v="314" actId="26606"/>
          <ac:spMkLst>
            <pc:docMk/>
            <pc:sldMk cId="595294778" sldId="279"/>
            <ac:spMk id="110" creationId="{487314D2-805B-41B3-AA7C-5F67D917AAB5}"/>
          </ac:spMkLst>
        </pc:spChg>
        <pc:spChg chg="mod">
          <ac:chgData name="Andreas" userId="9d9beba6-c052-407a-8599-c781a677a996" providerId="ADAL" clId="{1B7CF67B-5515-4C9F-825D-072B1C4F5900}" dt="2021-11-18T08:26:55.433" v="327" actId="20577"/>
          <ac:spMkLst>
            <pc:docMk/>
            <pc:sldMk cId="595294778" sldId="279"/>
            <ac:spMk id="165" creationId="{00000000-0000-0000-0000-000000000000}"/>
          </ac:spMkLst>
        </pc:spChg>
        <pc:spChg chg="add del mod">
          <ac:chgData name="Andreas" userId="9d9beba6-c052-407a-8599-c781a677a996" providerId="ADAL" clId="{1B7CF67B-5515-4C9F-825D-072B1C4F5900}" dt="2021-11-18T08:26:15.703" v="316" actId="26606"/>
          <ac:spMkLst>
            <pc:docMk/>
            <pc:sldMk cId="595294778" sldId="279"/>
            <ac:spMk id="167" creationId="{A3AA610C-7335-431C-9A03-7CC551F12140}"/>
          </ac:spMkLst>
        </pc:spChg>
        <pc:spChg chg="add del mod">
          <ac:chgData name="Andreas" userId="9d9beba6-c052-407a-8599-c781a677a996" providerId="ADAL" clId="{1B7CF67B-5515-4C9F-825D-072B1C4F5900}" dt="2021-11-18T08:26:15.703" v="316" actId="26606"/>
          <ac:spMkLst>
            <pc:docMk/>
            <pc:sldMk cId="595294778" sldId="279"/>
            <ac:spMk id="168" creationId="{C5A4DD74-B093-41BC-8EB6-7BEC8B3FA9B7}"/>
          </ac:spMkLst>
        </pc:spChg>
        <pc:spChg chg="add del mod">
          <ac:chgData name="Andreas" userId="9d9beba6-c052-407a-8599-c781a677a996" providerId="ADAL" clId="{1B7CF67B-5515-4C9F-825D-072B1C4F5900}" dt="2021-11-18T08:26:15.703" v="316" actId="26606"/>
          <ac:spMkLst>
            <pc:docMk/>
            <pc:sldMk cId="595294778" sldId="279"/>
            <ac:spMk id="169" creationId="{487314D2-805B-41B3-AA7C-5F67D917AAB5}"/>
          </ac:spMkLst>
        </pc:spChg>
        <pc:spChg chg="add del mod">
          <ac:chgData name="Andreas" userId="9d9beba6-c052-407a-8599-c781a677a996" providerId="ADAL" clId="{1B7CF67B-5515-4C9F-825D-072B1C4F5900}" dt="2021-11-18T08:26:28.128" v="320" actId="26606"/>
          <ac:spMkLst>
            <pc:docMk/>
            <pc:sldMk cId="595294778" sldId="279"/>
            <ac:spMk id="170" creationId="{5A6202EB-6C84-424B-A9E4-A08DF860A6A6}"/>
          </ac:spMkLst>
        </pc:spChg>
        <pc:spChg chg="add mod">
          <ac:chgData name="Andreas" userId="9d9beba6-c052-407a-8599-c781a677a996" providerId="ADAL" clId="{1B7CF67B-5515-4C9F-825D-072B1C4F5900}" dt="2021-11-18T08:26:28.210" v="321" actId="26606"/>
          <ac:spMkLst>
            <pc:docMk/>
            <pc:sldMk cId="595294778" sldId="279"/>
            <ac:spMk id="172" creationId="{A3AA610C-7335-431C-9A03-7CC551F12140}"/>
          </ac:spMkLst>
        </pc:spChg>
        <pc:spChg chg="add mod">
          <ac:chgData name="Andreas" userId="9d9beba6-c052-407a-8599-c781a677a996" providerId="ADAL" clId="{1B7CF67B-5515-4C9F-825D-072B1C4F5900}" dt="2021-11-18T08:26:28.210" v="321" actId="26606"/>
          <ac:spMkLst>
            <pc:docMk/>
            <pc:sldMk cId="595294778" sldId="279"/>
            <ac:spMk id="173" creationId="{C5A4DD74-B093-41BC-8EB6-7BEC8B3FA9B7}"/>
          </ac:spMkLst>
        </pc:spChg>
        <pc:spChg chg="add mod">
          <ac:chgData name="Andreas" userId="9d9beba6-c052-407a-8599-c781a677a996" providerId="ADAL" clId="{1B7CF67B-5515-4C9F-825D-072B1C4F5900}" dt="2021-11-18T08:26:28.210" v="321" actId="26606"/>
          <ac:spMkLst>
            <pc:docMk/>
            <pc:sldMk cId="595294778" sldId="279"/>
            <ac:spMk id="174" creationId="{487314D2-805B-41B3-AA7C-5F67D917AAB5}"/>
          </ac:spMkLst>
        </pc:spChg>
        <pc:graphicFrameChg chg="add mod modGraphic">
          <ac:chgData name="Andreas" userId="9d9beba6-c052-407a-8599-c781a677a996" providerId="ADAL" clId="{1B7CF67B-5515-4C9F-825D-072B1C4F5900}" dt="2021-11-18T08:26:43.921" v="324" actId="404"/>
          <ac:graphicFrameMkLst>
            <pc:docMk/>
            <pc:sldMk cId="595294778" sldId="279"/>
            <ac:graphicFrameMk id="2" creationId="{907D814A-8CAC-4003-BF9B-B5BFF2A83070}"/>
          </ac:graphicFrameMkLst>
        </pc:graphicFrameChg>
      </pc:sldChg>
      <pc:sldChg chg="addSp delSp modSp add mod modTransition modClrScheme chgLayout">
        <pc:chgData name="Andreas" userId="9d9beba6-c052-407a-8599-c781a677a996" providerId="ADAL" clId="{1B7CF67B-5515-4C9F-825D-072B1C4F5900}" dt="2021-11-18T08:30:50.038" v="362" actId="20577"/>
        <pc:sldMkLst>
          <pc:docMk/>
          <pc:sldMk cId="3494317797" sldId="280"/>
        </pc:sldMkLst>
        <pc:spChg chg="add mod">
          <ac:chgData name="Andreas" userId="9d9beba6-c052-407a-8599-c781a677a996" providerId="ADAL" clId="{1B7CF67B-5515-4C9F-825D-072B1C4F5900}" dt="2021-11-18T08:27:36.518" v="331" actId="26606"/>
          <ac:spMkLst>
            <pc:docMk/>
            <pc:sldMk cId="3494317797" sldId="280"/>
            <ac:spMk id="108" creationId="{38D37FE2-1B7D-48D3-95FB-C32D70635375}"/>
          </ac:spMkLst>
        </pc:spChg>
        <pc:spChg chg="add mod">
          <ac:chgData name="Andreas" userId="9d9beba6-c052-407a-8599-c781a677a996" providerId="ADAL" clId="{1B7CF67B-5515-4C9F-825D-072B1C4F5900}" dt="2021-11-18T08:27:36.518" v="331" actId="26606"/>
          <ac:spMkLst>
            <pc:docMk/>
            <pc:sldMk cId="3494317797" sldId="280"/>
            <ac:spMk id="110" creationId="{C3AC8E14-67B3-4BB6-9816-C661A8EB6180}"/>
          </ac:spMkLst>
        </pc:spChg>
        <pc:spChg chg="add mod">
          <ac:chgData name="Andreas" userId="9d9beba6-c052-407a-8599-c781a677a996" providerId="ADAL" clId="{1B7CF67B-5515-4C9F-825D-072B1C4F5900}" dt="2021-11-18T08:27:36.518" v="331" actId="26606"/>
          <ac:spMkLst>
            <pc:docMk/>
            <pc:sldMk cId="3494317797" sldId="280"/>
            <ac:spMk id="112" creationId="{44222881-ECF6-486E-BF6C-061E03628FEC}"/>
          </ac:spMkLst>
        </pc:spChg>
        <pc:spChg chg="mod">
          <ac:chgData name="Andreas" userId="9d9beba6-c052-407a-8599-c781a677a996" providerId="ADAL" clId="{1B7CF67B-5515-4C9F-825D-072B1C4F5900}" dt="2021-11-18T08:27:36.518" v="331" actId="26606"/>
          <ac:spMkLst>
            <pc:docMk/>
            <pc:sldMk cId="3494317797" sldId="280"/>
            <ac:spMk id="165" creationId="{00000000-0000-0000-0000-000000000000}"/>
          </ac:spMkLst>
        </pc:spChg>
        <pc:spChg chg="del">
          <ac:chgData name="Andreas" userId="9d9beba6-c052-407a-8599-c781a677a996" providerId="ADAL" clId="{1B7CF67B-5515-4C9F-825D-072B1C4F5900}" dt="2021-11-18T08:27:36.518" v="331" actId="26606"/>
          <ac:spMkLst>
            <pc:docMk/>
            <pc:sldMk cId="3494317797" sldId="280"/>
            <ac:spMk id="166" creationId="{00000000-0000-0000-0000-000000000000}"/>
          </ac:spMkLst>
        </pc:spChg>
        <pc:graphicFrameChg chg="add mod">
          <ac:chgData name="Andreas" userId="9d9beba6-c052-407a-8599-c781a677a996" providerId="ADAL" clId="{1B7CF67B-5515-4C9F-825D-072B1C4F5900}" dt="2021-11-18T08:30:50.038" v="362" actId="20577"/>
          <ac:graphicFrameMkLst>
            <pc:docMk/>
            <pc:sldMk cId="3494317797" sldId="280"/>
            <ac:graphicFrameMk id="168" creationId="{714074E8-7E65-4C8B-B79C-AEF7E52AA35E}"/>
          </ac:graphicFrameMkLst>
        </pc:graphicFrameChg>
        <pc:picChg chg="add del mod">
          <ac:chgData name="Andreas" userId="9d9beba6-c052-407a-8599-c781a677a996" providerId="ADAL" clId="{1B7CF67B-5515-4C9F-825D-072B1C4F5900}" dt="2021-11-18T08:30:11.809" v="347" actId="21"/>
          <ac:picMkLst>
            <pc:docMk/>
            <pc:sldMk cId="3494317797" sldId="280"/>
            <ac:picMk id="3" creationId="{216798DF-7A12-4CEC-A6BC-C7E8AC156B1B}"/>
          </ac:picMkLst>
        </pc:picChg>
        <pc:picChg chg="add del mod">
          <ac:chgData name="Andreas" userId="9d9beba6-c052-407a-8599-c781a677a996" providerId="ADAL" clId="{1B7CF67B-5515-4C9F-825D-072B1C4F5900}" dt="2021-11-18T08:30:45.169" v="354" actId="21"/>
          <ac:picMkLst>
            <pc:docMk/>
            <pc:sldMk cId="3494317797" sldId="280"/>
            <ac:picMk id="5" creationId="{0F3593DD-7655-4ABD-B0BA-A370524B2D2B}"/>
          </ac:picMkLst>
        </pc:picChg>
      </pc:sldChg>
      <pc:sldChg chg="addSp modSp add mod modTransition modClrScheme chgLayout">
        <pc:chgData name="Andreas" userId="9d9beba6-c052-407a-8599-c781a677a996" providerId="ADAL" clId="{1B7CF67B-5515-4C9F-825D-072B1C4F5900}" dt="2021-11-18T08:31:10.429" v="365" actId="26606"/>
        <pc:sldMkLst>
          <pc:docMk/>
          <pc:sldMk cId="1895067963" sldId="281"/>
        </pc:sldMkLst>
        <pc:spChg chg="add mod">
          <ac:chgData name="Andreas" userId="9d9beba6-c052-407a-8599-c781a677a996" providerId="ADAL" clId="{1B7CF67B-5515-4C9F-825D-072B1C4F5900}" dt="2021-11-18T08:31:10.429" v="365" actId="26606"/>
          <ac:spMkLst>
            <pc:docMk/>
            <pc:sldMk cId="1895067963" sldId="281"/>
            <ac:spMk id="106" creationId="{3383245B-6244-4704-8E88-B448384A2AEC}"/>
          </ac:spMkLst>
        </pc:spChg>
        <pc:spChg chg="add mod">
          <ac:chgData name="Andreas" userId="9d9beba6-c052-407a-8599-c781a677a996" providerId="ADAL" clId="{1B7CF67B-5515-4C9F-825D-072B1C4F5900}" dt="2021-11-18T08:31:10.429" v="365" actId="26606"/>
          <ac:spMkLst>
            <pc:docMk/>
            <pc:sldMk cId="1895067963" sldId="281"/>
            <ac:spMk id="108" creationId="{A32B1623-3E93-40BF-81B1-95EC539B8755}"/>
          </ac:spMkLst>
        </pc:spChg>
        <pc:spChg chg="add mod">
          <ac:chgData name="Andreas" userId="9d9beba6-c052-407a-8599-c781a677a996" providerId="ADAL" clId="{1B7CF67B-5515-4C9F-825D-072B1C4F5900}" dt="2021-11-18T08:31:10.429" v="365" actId="26606"/>
          <ac:spMkLst>
            <pc:docMk/>
            <pc:sldMk cId="1895067963" sldId="281"/>
            <ac:spMk id="110" creationId="{8D5F214F-8BFE-4221-8AB4-780656D860CB}"/>
          </ac:spMkLst>
        </pc:spChg>
        <pc:spChg chg="mod ord">
          <ac:chgData name="Andreas" userId="9d9beba6-c052-407a-8599-c781a677a996" providerId="ADAL" clId="{1B7CF67B-5515-4C9F-825D-072B1C4F5900}" dt="2021-11-18T08:31:10.429" v="365" actId="26606"/>
          <ac:spMkLst>
            <pc:docMk/>
            <pc:sldMk cId="1895067963" sldId="281"/>
            <ac:spMk id="165" creationId="{00000000-0000-0000-0000-000000000000}"/>
          </ac:spMkLst>
        </pc:spChg>
        <pc:picChg chg="mod">
          <ac:chgData name="Andreas" userId="9d9beba6-c052-407a-8599-c781a677a996" providerId="ADAL" clId="{1B7CF67B-5515-4C9F-825D-072B1C4F5900}" dt="2021-11-18T08:31:10.429" v="365" actId="26606"/>
          <ac:picMkLst>
            <pc:docMk/>
            <pc:sldMk cId="1895067963" sldId="281"/>
            <ac:picMk id="5" creationId="{CA88655F-0FB7-47AB-A632-67B960CE25E9}"/>
          </ac:picMkLst>
        </pc:picChg>
      </pc:sldChg>
      <pc:sldChg chg="addSp delSp modSp add mod modTransition modClrScheme chgLayout">
        <pc:chgData name="Andreas" userId="9d9beba6-c052-407a-8599-c781a677a996" providerId="ADAL" clId="{1B7CF67B-5515-4C9F-825D-072B1C4F5900}" dt="2021-11-18T08:31:23.035" v="368" actId="26606"/>
        <pc:sldMkLst>
          <pc:docMk/>
          <pc:sldMk cId="3454780860" sldId="282"/>
        </pc:sldMkLst>
        <pc:spChg chg="add del mod">
          <ac:chgData name="Andreas" userId="9d9beba6-c052-407a-8599-c781a677a996" providerId="ADAL" clId="{1B7CF67B-5515-4C9F-825D-072B1C4F5900}" dt="2021-11-18T08:31:23.031" v="367" actId="26606"/>
          <ac:spMkLst>
            <pc:docMk/>
            <pc:sldMk cId="3454780860" sldId="282"/>
            <ac:spMk id="106" creationId="{F936BDA3-A020-45E3-A204-89F8D0649827}"/>
          </ac:spMkLst>
        </pc:spChg>
        <pc:spChg chg="add del mod">
          <ac:chgData name="Andreas" userId="9d9beba6-c052-407a-8599-c781a677a996" providerId="ADAL" clId="{1B7CF67B-5515-4C9F-825D-072B1C4F5900}" dt="2021-11-18T08:31:23.031" v="367" actId="26606"/>
          <ac:spMkLst>
            <pc:docMk/>
            <pc:sldMk cId="3454780860" sldId="282"/>
            <ac:spMk id="108" creationId="{B2B88D68-1357-43D8-9189-06F5A38C715E}"/>
          </ac:spMkLst>
        </pc:spChg>
        <pc:spChg chg="add del mod">
          <ac:chgData name="Andreas" userId="9d9beba6-c052-407a-8599-c781a677a996" providerId="ADAL" clId="{1B7CF67B-5515-4C9F-825D-072B1C4F5900}" dt="2021-11-18T08:31:23.031" v="367" actId="26606"/>
          <ac:spMkLst>
            <pc:docMk/>
            <pc:sldMk cId="3454780860" sldId="282"/>
            <ac:spMk id="110" creationId="{B2791A5D-F31C-4EB6-9EBC-75677E3587F5}"/>
          </ac:spMkLst>
        </pc:spChg>
        <pc:spChg chg="mod ord">
          <ac:chgData name="Andreas" userId="9d9beba6-c052-407a-8599-c781a677a996" providerId="ADAL" clId="{1B7CF67B-5515-4C9F-825D-072B1C4F5900}" dt="2021-11-18T08:31:23.035" v="368" actId="26606"/>
          <ac:spMkLst>
            <pc:docMk/>
            <pc:sldMk cId="3454780860" sldId="282"/>
            <ac:spMk id="165" creationId="{00000000-0000-0000-0000-000000000000}"/>
          </ac:spMkLst>
        </pc:spChg>
        <pc:spChg chg="add mod">
          <ac:chgData name="Andreas" userId="9d9beba6-c052-407a-8599-c781a677a996" providerId="ADAL" clId="{1B7CF67B-5515-4C9F-825D-072B1C4F5900}" dt="2021-11-18T08:31:23.035" v="368" actId="26606"/>
          <ac:spMkLst>
            <pc:docMk/>
            <pc:sldMk cId="3454780860" sldId="282"/>
            <ac:spMk id="167" creationId="{5E50C650-BA47-48DA-90D1-9B4F6C4C1446}"/>
          </ac:spMkLst>
        </pc:spChg>
        <pc:spChg chg="add mod">
          <ac:chgData name="Andreas" userId="9d9beba6-c052-407a-8599-c781a677a996" providerId="ADAL" clId="{1B7CF67B-5515-4C9F-825D-072B1C4F5900}" dt="2021-11-18T08:31:23.035" v="368" actId="26606"/>
          <ac:spMkLst>
            <pc:docMk/>
            <pc:sldMk cId="3454780860" sldId="282"/>
            <ac:spMk id="168" creationId="{1F337A98-97F1-4013-9B75-DE9480C76A69}"/>
          </ac:spMkLst>
        </pc:spChg>
        <pc:spChg chg="add mod">
          <ac:chgData name="Andreas" userId="9d9beba6-c052-407a-8599-c781a677a996" providerId="ADAL" clId="{1B7CF67B-5515-4C9F-825D-072B1C4F5900}" dt="2021-11-18T08:31:23.035" v="368" actId="26606"/>
          <ac:spMkLst>
            <pc:docMk/>
            <pc:sldMk cId="3454780860" sldId="282"/>
            <ac:spMk id="169" creationId="{63A15C0C-A0F3-4053-BFBA-5D7CB5D0DA04}"/>
          </ac:spMkLst>
        </pc:spChg>
        <pc:picChg chg="mod">
          <ac:chgData name="Andreas" userId="9d9beba6-c052-407a-8599-c781a677a996" providerId="ADAL" clId="{1B7CF67B-5515-4C9F-825D-072B1C4F5900}" dt="2021-11-18T08:31:23.035" v="368" actId="26606"/>
          <ac:picMkLst>
            <pc:docMk/>
            <pc:sldMk cId="3454780860" sldId="282"/>
            <ac:picMk id="5" creationId="{CA88655F-0FB7-47AB-A632-67B960CE25E9}"/>
          </ac:picMkLst>
        </pc:picChg>
      </pc:sldChg>
      <pc:sldChg chg="addSp modSp add mod modTransition modClrScheme chgLayout">
        <pc:chgData name="Andreas" userId="9d9beba6-c052-407a-8599-c781a677a996" providerId="ADAL" clId="{1B7CF67B-5515-4C9F-825D-072B1C4F5900}" dt="2021-11-18T08:31:33.609" v="369" actId="26606"/>
        <pc:sldMkLst>
          <pc:docMk/>
          <pc:sldMk cId="1108960129" sldId="283"/>
        </pc:sldMkLst>
        <pc:spChg chg="add mod">
          <ac:chgData name="Andreas" userId="9d9beba6-c052-407a-8599-c781a677a996" providerId="ADAL" clId="{1B7CF67B-5515-4C9F-825D-072B1C4F5900}" dt="2021-11-18T08:31:33.609" v="369" actId="26606"/>
          <ac:spMkLst>
            <pc:docMk/>
            <pc:sldMk cId="1108960129" sldId="283"/>
            <ac:spMk id="106" creationId="{349AD540-7AC8-4675-BA66-501916D98FD9}"/>
          </ac:spMkLst>
        </pc:spChg>
        <pc:spChg chg="add mod">
          <ac:chgData name="Andreas" userId="9d9beba6-c052-407a-8599-c781a677a996" providerId="ADAL" clId="{1B7CF67B-5515-4C9F-825D-072B1C4F5900}" dt="2021-11-18T08:31:33.609" v="369" actId="26606"/>
          <ac:spMkLst>
            <pc:docMk/>
            <pc:sldMk cId="1108960129" sldId="283"/>
            <ac:spMk id="108" creationId="{58E64FF7-3208-4ADF-AE71-8961C20482CD}"/>
          </ac:spMkLst>
        </pc:spChg>
        <pc:spChg chg="add mod">
          <ac:chgData name="Andreas" userId="9d9beba6-c052-407a-8599-c781a677a996" providerId="ADAL" clId="{1B7CF67B-5515-4C9F-825D-072B1C4F5900}" dt="2021-11-18T08:31:33.609" v="369" actId="26606"/>
          <ac:spMkLst>
            <pc:docMk/>
            <pc:sldMk cId="1108960129" sldId="283"/>
            <ac:spMk id="110" creationId="{06A7A0C7-564F-4B0D-B3F4-2A5F8D707FB7}"/>
          </ac:spMkLst>
        </pc:spChg>
        <pc:spChg chg="mod ord">
          <ac:chgData name="Andreas" userId="9d9beba6-c052-407a-8599-c781a677a996" providerId="ADAL" clId="{1B7CF67B-5515-4C9F-825D-072B1C4F5900}" dt="2021-11-18T08:31:33.609" v="369" actId="26606"/>
          <ac:spMkLst>
            <pc:docMk/>
            <pc:sldMk cId="1108960129" sldId="283"/>
            <ac:spMk id="165" creationId="{00000000-0000-0000-0000-000000000000}"/>
          </ac:spMkLst>
        </pc:spChg>
        <pc:picChg chg="mod">
          <ac:chgData name="Andreas" userId="9d9beba6-c052-407a-8599-c781a677a996" providerId="ADAL" clId="{1B7CF67B-5515-4C9F-825D-072B1C4F5900}" dt="2021-11-18T08:31:33.609" v="369" actId="26606"/>
          <ac:picMkLst>
            <pc:docMk/>
            <pc:sldMk cId="1108960129" sldId="283"/>
            <ac:picMk id="5" creationId="{CA88655F-0FB7-47AB-A632-67B960CE25E9}"/>
          </ac:picMkLst>
        </pc:picChg>
      </pc:sldChg>
      <pc:sldChg chg="addSp modSp add del mod modTransition modClrScheme chgLayout">
        <pc:chgData name="Andreas" userId="9d9beba6-c052-407a-8599-c781a677a996" providerId="ADAL" clId="{1B7CF67B-5515-4C9F-825D-072B1C4F5900}" dt="2021-11-18T08:58:07.551" v="818" actId="47"/>
        <pc:sldMkLst>
          <pc:docMk/>
          <pc:sldMk cId="896433632" sldId="284"/>
        </pc:sldMkLst>
        <pc:spChg chg="add mod">
          <ac:chgData name="Andreas" userId="9d9beba6-c052-407a-8599-c781a677a996" providerId="ADAL" clId="{1B7CF67B-5515-4C9F-825D-072B1C4F5900}" dt="2021-11-18T08:31:36.775" v="370" actId="26606"/>
          <ac:spMkLst>
            <pc:docMk/>
            <pc:sldMk cId="896433632" sldId="284"/>
            <ac:spMk id="106" creationId="{C420C165-6159-4729-9B8D-94BB168D6863}"/>
          </ac:spMkLst>
        </pc:spChg>
        <pc:spChg chg="add mod">
          <ac:chgData name="Andreas" userId="9d9beba6-c052-407a-8599-c781a677a996" providerId="ADAL" clId="{1B7CF67B-5515-4C9F-825D-072B1C4F5900}" dt="2021-11-18T08:31:36.775" v="370" actId="26606"/>
          <ac:spMkLst>
            <pc:docMk/>
            <pc:sldMk cId="896433632" sldId="284"/>
            <ac:spMk id="108" creationId="{155C1921-39F4-4AC0-AEB8-55551DDA1A93}"/>
          </ac:spMkLst>
        </pc:spChg>
        <pc:spChg chg="add mod">
          <ac:chgData name="Andreas" userId="9d9beba6-c052-407a-8599-c781a677a996" providerId="ADAL" clId="{1B7CF67B-5515-4C9F-825D-072B1C4F5900}" dt="2021-11-18T08:31:36.775" v="370" actId="26606"/>
          <ac:spMkLst>
            <pc:docMk/>
            <pc:sldMk cId="896433632" sldId="284"/>
            <ac:spMk id="110" creationId="{C88AAC40-C6A2-4E1B-AD36-A0137E6ABF84}"/>
          </ac:spMkLst>
        </pc:spChg>
        <pc:spChg chg="mod ord">
          <ac:chgData name="Andreas" userId="9d9beba6-c052-407a-8599-c781a677a996" providerId="ADAL" clId="{1B7CF67B-5515-4C9F-825D-072B1C4F5900}" dt="2021-11-18T08:31:36.775" v="370" actId="26606"/>
          <ac:spMkLst>
            <pc:docMk/>
            <pc:sldMk cId="896433632" sldId="284"/>
            <ac:spMk id="165" creationId="{00000000-0000-0000-0000-000000000000}"/>
          </ac:spMkLst>
        </pc:spChg>
        <pc:picChg chg="mod">
          <ac:chgData name="Andreas" userId="9d9beba6-c052-407a-8599-c781a677a996" providerId="ADAL" clId="{1B7CF67B-5515-4C9F-825D-072B1C4F5900}" dt="2021-11-18T08:31:36.775" v="370" actId="26606"/>
          <ac:picMkLst>
            <pc:docMk/>
            <pc:sldMk cId="896433632" sldId="284"/>
            <ac:picMk id="5" creationId="{CA88655F-0FB7-47AB-A632-67B960CE25E9}"/>
          </ac:picMkLst>
        </pc:picChg>
      </pc:sldChg>
      <pc:sldChg chg="addSp modSp add mod modTransition modClrScheme chgLayout">
        <pc:chgData name="Andreas" userId="9d9beba6-c052-407a-8599-c781a677a996" providerId="ADAL" clId="{1B7CF67B-5515-4C9F-825D-072B1C4F5900}" dt="2021-11-18T08:31:40.542" v="371" actId="26606"/>
        <pc:sldMkLst>
          <pc:docMk/>
          <pc:sldMk cId="1607459823" sldId="285"/>
        </pc:sldMkLst>
        <pc:spChg chg="add mod">
          <ac:chgData name="Andreas" userId="9d9beba6-c052-407a-8599-c781a677a996" providerId="ADAL" clId="{1B7CF67B-5515-4C9F-825D-072B1C4F5900}" dt="2021-11-18T08:31:40.542" v="371" actId="26606"/>
          <ac:spMkLst>
            <pc:docMk/>
            <pc:sldMk cId="1607459823" sldId="285"/>
            <ac:spMk id="106" creationId="{DEF1E210-F870-4F91-A701-5A600304748E}"/>
          </ac:spMkLst>
        </pc:spChg>
        <pc:spChg chg="add mod">
          <ac:chgData name="Andreas" userId="9d9beba6-c052-407a-8599-c781a677a996" providerId="ADAL" clId="{1B7CF67B-5515-4C9F-825D-072B1C4F5900}" dt="2021-11-18T08:31:40.542" v="371" actId="26606"/>
          <ac:spMkLst>
            <pc:docMk/>
            <pc:sldMk cId="1607459823" sldId="285"/>
            <ac:spMk id="108" creationId="{3BDA7D6B-5807-4BC3-AE00-E308D7B7690B}"/>
          </ac:spMkLst>
        </pc:spChg>
        <pc:spChg chg="add mod">
          <ac:chgData name="Andreas" userId="9d9beba6-c052-407a-8599-c781a677a996" providerId="ADAL" clId="{1B7CF67B-5515-4C9F-825D-072B1C4F5900}" dt="2021-11-18T08:31:40.542" v="371" actId="26606"/>
          <ac:spMkLst>
            <pc:docMk/>
            <pc:sldMk cId="1607459823" sldId="285"/>
            <ac:spMk id="110" creationId="{2268EDD2-280A-4E6D-84D1-DE712E4314D6}"/>
          </ac:spMkLst>
        </pc:spChg>
        <pc:spChg chg="mod ord">
          <ac:chgData name="Andreas" userId="9d9beba6-c052-407a-8599-c781a677a996" providerId="ADAL" clId="{1B7CF67B-5515-4C9F-825D-072B1C4F5900}" dt="2021-11-18T08:31:40.542" v="371" actId="26606"/>
          <ac:spMkLst>
            <pc:docMk/>
            <pc:sldMk cId="1607459823" sldId="285"/>
            <ac:spMk id="165" creationId="{00000000-0000-0000-0000-000000000000}"/>
          </ac:spMkLst>
        </pc:spChg>
        <pc:picChg chg="mod">
          <ac:chgData name="Andreas" userId="9d9beba6-c052-407a-8599-c781a677a996" providerId="ADAL" clId="{1B7CF67B-5515-4C9F-825D-072B1C4F5900}" dt="2021-11-18T08:31:40.542" v="371" actId="26606"/>
          <ac:picMkLst>
            <pc:docMk/>
            <pc:sldMk cId="1607459823" sldId="285"/>
            <ac:picMk id="7" creationId="{9FB72563-26B4-410D-9B6F-E72C62AE2F35}"/>
          </ac:picMkLst>
        </pc:picChg>
      </pc:sldChg>
      <pc:sldChg chg="addSp modSp add mod modTransition modClrScheme chgLayout">
        <pc:chgData name="Andreas" userId="9d9beba6-c052-407a-8599-c781a677a996" providerId="ADAL" clId="{1B7CF67B-5515-4C9F-825D-072B1C4F5900}" dt="2021-11-18T08:31:47.011" v="372" actId="26606"/>
        <pc:sldMkLst>
          <pc:docMk/>
          <pc:sldMk cId="1459155293" sldId="286"/>
        </pc:sldMkLst>
        <pc:spChg chg="add mod">
          <ac:chgData name="Andreas" userId="9d9beba6-c052-407a-8599-c781a677a996" providerId="ADAL" clId="{1B7CF67B-5515-4C9F-825D-072B1C4F5900}" dt="2021-11-18T08:31:47.011" v="372" actId="26606"/>
          <ac:spMkLst>
            <pc:docMk/>
            <pc:sldMk cId="1459155293" sldId="286"/>
            <ac:spMk id="106" creationId="{3FAAFB75-0FCA-465F-8BDA-98E2B90CE716}"/>
          </ac:spMkLst>
        </pc:spChg>
        <pc:spChg chg="add mod">
          <ac:chgData name="Andreas" userId="9d9beba6-c052-407a-8599-c781a677a996" providerId="ADAL" clId="{1B7CF67B-5515-4C9F-825D-072B1C4F5900}" dt="2021-11-18T08:31:47.011" v="372" actId="26606"/>
          <ac:spMkLst>
            <pc:docMk/>
            <pc:sldMk cId="1459155293" sldId="286"/>
            <ac:spMk id="108" creationId="{794C7D41-C168-4B77-8548-CCAD9CAC0870}"/>
          </ac:spMkLst>
        </pc:spChg>
        <pc:spChg chg="add mod">
          <ac:chgData name="Andreas" userId="9d9beba6-c052-407a-8599-c781a677a996" providerId="ADAL" clId="{1B7CF67B-5515-4C9F-825D-072B1C4F5900}" dt="2021-11-18T08:31:47.011" v="372" actId="26606"/>
          <ac:spMkLst>
            <pc:docMk/>
            <pc:sldMk cId="1459155293" sldId="286"/>
            <ac:spMk id="110" creationId="{FBFF720C-D455-45F3-92DF-89F6F22AC55F}"/>
          </ac:spMkLst>
        </pc:spChg>
        <pc:spChg chg="mod ord">
          <ac:chgData name="Andreas" userId="9d9beba6-c052-407a-8599-c781a677a996" providerId="ADAL" clId="{1B7CF67B-5515-4C9F-825D-072B1C4F5900}" dt="2021-11-18T08:31:47.011" v="372" actId="26606"/>
          <ac:spMkLst>
            <pc:docMk/>
            <pc:sldMk cId="1459155293" sldId="286"/>
            <ac:spMk id="165" creationId="{00000000-0000-0000-0000-000000000000}"/>
          </ac:spMkLst>
        </pc:spChg>
        <pc:picChg chg="mod">
          <ac:chgData name="Andreas" userId="9d9beba6-c052-407a-8599-c781a677a996" providerId="ADAL" clId="{1B7CF67B-5515-4C9F-825D-072B1C4F5900}" dt="2021-11-18T08:31:47.011" v="372" actId="26606"/>
          <ac:picMkLst>
            <pc:docMk/>
            <pc:sldMk cId="1459155293" sldId="286"/>
            <ac:picMk id="6" creationId="{66DB7394-62F0-4BDC-BB81-193BFDF2BBB1}"/>
          </ac:picMkLst>
        </pc:picChg>
      </pc:sldChg>
      <pc:sldChg chg="addSp modSp add mod modTransition modClrScheme chgLayout">
        <pc:chgData name="Andreas" userId="9d9beba6-c052-407a-8599-c781a677a996" providerId="ADAL" clId="{1B7CF67B-5515-4C9F-825D-072B1C4F5900}" dt="2021-11-18T08:31:56.601" v="373" actId="26606"/>
        <pc:sldMkLst>
          <pc:docMk/>
          <pc:sldMk cId="1405705192" sldId="287"/>
        </pc:sldMkLst>
        <pc:spChg chg="add mod">
          <ac:chgData name="Andreas" userId="9d9beba6-c052-407a-8599-c781a677a996" providerId="ADAL" clId="{1B7CF67B-5515-4C9F-825D-072B1C4F5900}" dt="2021-11-18T08:31:56.601" v="373" actId="26606"/>
          <ac:spMkLst>
            <pc:docMk/>
            <pc:sldMk cId="1405705192" sldId="287"/>
            <ac:spMk id="106" creationId="{7955B587-8AE0-4A27-8011-76FC5F8213FA}"/>
          </ac:spMkLst>
        </pc:spChg>
        <pc:spChg chg="add mod">
          <ac:chgData name="Andreas" userId="9d9beba6-c052-407a-8599-c781a677a996" providerId="ADAL" clId="{1B7CF67B-5515-4C9F-825D-072B1C4F5900}" dt="2021-11-18T08:31:56.601" v="373" actId="26606"/>
          <ac:spMkLst>
            <pc:docMk/>
            <pc:sldMk cId="1405705192" sldId="287"/>
            <ac:spMk id="108" creationId="{5662D70A-2DEE-426E-9A67-35C07DA6D55A}"/>
          </ac:spMkLst>
        </pc:spChg>
        <pc:spChg chg="add mod">
          <ac:chgData name="Andreas" userId="9d9beba6-c052-407a-8599-c781a677a996" providerId="ADAL" clId="{1B7CF67B-5515-4C9F-825D-072B1C4F5900}" dt="2021-11-18T08:31:56.601" v="373" actId="26606"/>
          <ac:spMkLst>
            <pc:docMk/>
            <pc:sldMk cId="1405705192" sldId="287"/>
            <ac:spMk id="110" creationId="{D97086E6-E7DC-4072-BFB3-BC102925F370}"/>
          </ac:spMkLst>
        </pc:spChg>
        <pc:spChg chg="mod ord">
          <ac:chgData name="Andreas" userId="9d9beba6-c052-407a-8599-c781a677a996" providerId="ADAL" clId="{1B7CF67B-5515-4C9F-825D-072B1C4F5900}" dt="2021-11-18T08:31:56.601" v="373" actId="26606"/>
          <ac:spMkLst>
            <pc:docMk/>
            <pc:sldMk cId="1405705192" sldId="287"/>
            <ac:spMk id="165" creationId="{00000000-0000-0000-0000-000000000000}"/>
          </ac:spMkLst>
        </pc:spChg>
        <pc:picChg chg="mod">
          <ac:chgData name="Andreas" userId="9d9beba6-c052-407a-8599-c781a677a996" providerId="ADAL" clId="{1B7CF67B-5515-4C9F-825D-072B1C4F5900}" dt="2021-11-18T08:31:56.601" v="373" actId="26606"/>
          <ac:picMkLst>
            <pc:docMk/>
            <pc:sldMk cId="1405705192" sldId="287"/>
            <ac:picMk id="4" creationId="{E7B8E4C1-A665-4522-9F80-531A7896C7B1}"/>
          </ac:picMkLst>
        </pc:picChg>
      </pc:sldChg>
      <pc:sldChg chg="addSp modSp add mod modTransition modClrScheme chgLayout">
        <pc:chgData name="Andreas" userId="9d9beba6-c052-407a-8599-c781a677a996" providerId="ADAL" clId="{1B7CF67B-5515-4C9F-825D-072B1C4F5900}" dt="2021-11-18T08:32:01.419" v="374" actId="26606"/>
        <pc:sldMkLst>
          <pc:docMk/>
          <pc:sldMk cId="2770564330" sldId="288"/>
        </pc:sldMkLst>
        <pc:spChg chg="add mod">
          <ac:chgData name="Andreas" userId="9d9beba6-c052-407a-8599-c781a677a996" providerId="ADAL" clId="{1B7CF67B-5515-4C9F-825D-072B1C4F5900}" dt="2021-11-18T08:32:01.419" v="374" actId="26606"/>
          <ac:spMkLst>
            <pc:docMk/>
            <pc:sldMk cId="2770564330" sldId="288"/>
            <ac:spMk id="106" creationId="{AB6529FE-3A89-4712-BF09-AD6AFC4AD10C}"/>
          </ac:spMkLst>
        </pc:spChg>
        <pc:spChg chg="add mod">
          <ac:chgData name="Andreas" userId="9d9beba6-c052-407a-8599-c781a677a996" providerId="ADAL" clId="{1B7CF67B-5515-4C9F-825D-072B1C4F5900}" dt="2021-11-18T08:32:01.419" v="374" actId="26606"/>
          <ac:spMkLst>
            <pc:docMk/>
            <pc:sldMk cId="2770564330" sldId="288"/>
            <ac:spMk id="108" creationId="{C20A0742-C986-4767-82FD-3DD29AFC61FF}"/>
          </ac:spMkLst>
        </pc:spChg>
        <pc:spChg chg="add mod">
          <ac:chgData name="Andreas" userId="9d9beba6-c052-407a-8599-c781a677a996" providerId="ADAL" clId="{1B7CF67B-5515-4C9F-825D-072B1C4F5900}" dt="2021-11-18T08:32:01.419" v="374" actId="26606"/>
          <ac:spMkLst>
            <pc:docMk/>
            <pc:sldMk cId="2770564330" sldId="288"/>
            <ac:spMk id="110" creationId="{3D25C987-47AA-4E38-B8C4-93FBD10DC0D6}"/>
          </ac:spMkLst>
        </pc:spChg>
        <pc:spChg chg="mod ord">
          <ac:chgData name="Andreas" userId="9d9beba6-c052-407a-8599-c781a677a996" providerId="ADAL" clId="{1B7CF67B-5515-4C9F-825D-072B1C4F5900}" dt="2021-11-18T08:32:01.419" v="374" actId="26606"/>
          <ac:spMkLst>
            <pc:docMk/>
            <pc:sldMk cId="2770564330" sldId="288"/>
            <ac:spMk id="165" creationId="{00000000-0000-0000-0000-000000000000}"/>
          </ac:spMkLst>
        </pc:spChg>
        <pc:picChg chg="mod">
          <ac:chgData name="Andreas" userId="9d9beba6-c052-407a-8599-c781a677a996" providerId="ADAL" clId="{1B7CF67B-5515-4C9F-825D-072B1C4F5900}" dt="2021-11-18T08:32:01.419" v="374" actId="26606"/>
          <ac:picMkLst>
            <pc:docMk/>
            <pc:sldMk cId="2770564330" sldId="288"/>
            <ac:picMk id="5" creationId="{68EB1A5F-DD1D-4BB3-A186-EDDD6F5D82C3}"/>
          </ac:picMkLst>
        </pc:picChg>
      </pc:sldChg>
      <pc:sldChg chg="addSp modSp add mod modTransition modClrScheme chgLayout">
        <pc:chgData name="Andreas" userId="9d9beba6-c052-407a-8599-c781a677a996" providerId="ADAL" clId="{1B7CF67B-5515-4C9F-825D-072B1C4F5900}" dt="2021-11-18T08:32:06.789" v="375" actId="26606"/>
        <pc:sldMkLst>
          <pc:docMk/>
          <pc:sldMk cId="708408685" sldId="289"/>
        </pc:sldMkLst>
        <pc:spChg chg="add mod">
          <ac:chgData name="Andreas" userId="9d9beba6-c052-407a-8599-c781a677a996" providerId="ADAL" clId="{1B7CF67B-5515-4C9F-825D-072B1C4F5900}" dt="2021-11-18T08:32:06.789" v="375" actId="26606"/>
          <ac:spMkLst>
            <pc:docMk/>
            <pc:sldMk cId="708408685" sldId="289"/>
            <ac:spMk id="106" creationId="{77CB8F6A-461C-4575-8619-1B2A4028921F}"/>
          </ac:spMkLst>
        </pc:spChg>
        <pc:spChg chg="add mod">
          <ac:chgData name="Andreas" userId="9d9beba6-c052-407a-8599-c781a677a996" providerId="ADAL" clId="{1B7CF67B-5515-4C9F-825D-072B1C4F5900}" dt="2021-11-18T08:32:06.789" v="375" actId="26606"/>
          <ac:spMkLst>
            <pc:docMk/>
            <pc:sldMk cId="708408685" sldId="289"/>
            <ac:spMk id="108" creationId="{08885697-BE4B-4EB9-85D6-A9DCECCD4CBA}"/>
          </ac:spMkLst>
        </pc:spChg>
        <pc:spChg chg="add mod">
          <ac:chgData name="Andreas" userId="9d9beba6-c052-407a-8599-c781a677a996" providerId="ADAL" clId="{1B7CF67B-5515-4C9F-825D-072B1C4F5900}" dt="2021-11-18T08:32:06.789" v="375" actId="26606"/>
          <ac:spMkLst>
            <pc:docMk/>
            <pc:sldMk cId="708408685" sldId="289"/>
            <ac:spMk id="110" creationId="{2C9314E9-5EEA-4EF4-ADA2-7EE23C2BA48B}"/>
          </ac:spMkLst>
        </pc:spChg>
        <pc:spChg chg="mod ord">
          <ac:chgData name="Andreas" userId="9d9beba6-c052-407a-8599-c781a677a996" providerId="ADAL" clId="{1B7CF67B-5515-4C9F-825D-072B1C4F5900}" dt="2021-11-18T08:32:06.789" v="375" actId="26606"/>
          <ac:spMkLst>
            <pc:docMk/>
            <pc:sldMk cId="708408685" sldId="289"/>
            <ac:spMk id="165" creationId="{00000000-0000-0000-0000-000000000000}"/>
          </ac:spMkLst>
        </pc:spChg>
        <pc:picChg chg="mod">
          <ac:chgData name="Andreas" userId="9d9beba6-c052-407a-8599-c781a677a996" providerId="ADAL" clId="{1B7CF67B-5515-4C9F-825D-072B1C4F5900}" dt="2021-11-18T08:32:06.789" v="375" actId="26606"/>
          <ac:picMkLst>
            <pc:docMk/>
            <pc:sldMk cId="708408685" sldId="289"/>
            <ac:picMk id="4" creationId="{611F4CFF-9E83-42BB-94CC-CEC856D566FC}"/>
          </ac:picMkLst>
        </pc:picChg>
      </pc:sldChg>
      <pc:sldChg chg="addSp modSp add mod modTransition modClrScheme chgLayout">
        <pc:chgData name="Andreas" userId="9d9beba6-c052-407a-8599-c781a677a996" providerId="ADAL" clId="{1B7CF67B-5515-4C9F-825D-072B1C4F5900}" dt="2021-11-18T08:32:10.345" v="376" actId="26606"/>
        <pc:sldMkLst>
          <pc:docMk/>
          <pc:sldMk cId="2509195288" sldId="290"/>
        </pc:sldMkLst>
        <pc:spChg chg="add mod">
          <ac:chgData name="Andreas" userId="9d9beba6-c052-407a-8599-c781a677a996" providerId="ADAL" clId="{1B7CF67B-5515-4C9F-825D-072B1C4F5900}" dt="2021-11-18T08:32:10.345" v="376" actId="26606"/>
          <ac:spMkLst>
            <pc:docMk/>
            <pc:sldMk cId="2509195288" sldId="290"/>
            <ac:spMk id="106" creationId="{D27B6BD9-0ADE-466A-9244-F828F5165E94}"/>
          </ac:spMkLst>
        </pc:spChg>
        <pc:spChg chg="add mod">
          <ac:chgData name="Andreas" userId="9d9beba6-c052-407a-8599-c781a677a996" providerId="ADAL" clId="{1B7CF67B-5515-4C9F-825D-072B1C4F5900}" dt="2021-11-18T08:32:10.345" v="376" actId="26606"/>
          <ac:spMkLst>
            <pc:docMk/>
            <pc:sldMk cId="2509195288" sldId="290"/>
            <ac:spMk id="108" creationId="{19C6E535-6128-45C2-B813-30069E4FB6EC}"/>
          </ac:spMkLst>
        </pc:spChg>
        <pc:spChg chg="add mod">
          <ac:chgData name="Andreas" userId="9d9beba6-c052-407a-8599-c781a677a996" providerId="ADAL" clId="{1B7CF67B-5515-4C9F-825D-072B1C4F5900}" dt="2021-11-18T08:32:10.345" v="376" actId="26606"/>
          <ac:spMkLst>
            <pc:docMk/>
            <pc:sldMk cId="2509195288" sldId="290"/>
            <ac:spMk id="110" creationId="{7C682849-5A21-4A7F-806F-48746A215786}"/>
          </ac:spMkLst>
        </pc:spChg>
        <pc:spChg chg="mod ord">
          <ac:chgData name="Andreas" userId="9d9beba6-c052-407a-8599-c781a677a996" providerId="ADAL" clId="{1B7CF67B-5515-4C9F-825D-072B1C4F5900}" dt="2021-11-18T08:32:10.345" v="376" actId="26606"/>
          <ac:spMkLst>
            <pc:docMk/>
            <pc:sldMk cId="2509195288" sldId="290"/>
            <ac:spMk id="165" creationId="{00000000-0000-0000-0000-000000000000}"/>
          </ac:spMkLst>
        </pc:spChg>
        <pc:picChg chg="mod">
          <ac:chgData name="Andreas" userId="9d9beba6-c052-407a-8599-c781a677a996" providerId="ADAL" clId="{1B7CF67B-5515-4C9F-825D-072B1C4F5900}" dt="2021-11-18T08:32:10.345" v="376" actId="26606"/>
          <ac:picMkLst>
            <pc:docMk/>
            <pc:sldMk cId="2509195288" sldId="290"/>
            <ac:picMk id="5" creationId="{93A150F0-6265-42DA-BF21-B1A744D05AF6}"/>
          </ac:picMkLst>
        </pc:picChg>
      </pc:sldChg>
      <pc:sldChg chg="addSp delSp modSp add mod modTransition modClrScheme chgLayout">
        <pc:chgData name="Andreas" userId="9d9beba6-c052-407a-8599-c781a677a996" providerId="ADAL" clId="{1B7CF67B-5515-4C9F-825D-072B1C4F5900}" dt="2021-11-18T08:59:14.851" v="828" actId="1076"/>
        <pc:sldMkLst>
          <pc:docMk/>
          <pc:sldMk cId="1911017754" sldId="291"/>
        </pc:sldMkLst>
        <pc:spChg chg="add del mod">
          <ac:chgData name="Andreas" userId="9d9beba6-c052-407a-8599-c781a677a996" providerId="ADAL" clId="{1B7CF67B-5515-4C9F-825D-072B1C4F5900}" dt="2021-11-18T08:34:55.747" v="479" actId="26606"/>
          <ac:spMkLst>
            <pc:docMk/>
            <pc:sldMk cId="1911017754" sldId="291"/>
            <ac:spMk id="106" creationId="{B100CE4E-F50C-404E-9635-CFF7F5CD1629}"/>
          </ac:spMkLst>
        </pc:spChg>
        <pc:spChg chg="add del mod">
          <ac:chgData name="Andreas" userId="9d9beba6-c052-407a-8599-c781a677a996" providerId="ADAL" clId="{1B7CF67B-5515-4C9F-825D-072B1C4F5900}" dt="2021-11-18T08:34:55.747" v="479" actId="26606"/>
          <ac:spMkLst>
            <pc:docMk/>
            <pc:sldMk cId="1911017754" sldId="291"/>
            <ac:spMk id="108" creationId="{D1BA1E79-8FAE-40A7-B87D-AD667318F740}"/>
          </ac:spMkLst>
        </pc:spChg>
        <pc:spChg chg="add del mod">
          <ac:chgData name="Andreas" userId="9d9beba6-c052-407a-8599-c781a677a996" providerId="ADAL" clId="{1B7CF67B-5515-4C9F-825D-072B1C4F5900}" dt="2021-11-18T08:34:55.747" v="479" actId="26606"/>
          <ac:spMkLst>
            <pc:docMk/>
            <pc:sldMk cId="1911017754" sldId="291"/>
            <ac:spMk id="110" creationId="{D1272256-33AC-4B7F-9087-ADC291D637D4}"/>
          </ac:spMkLst>
        </pc:spChg>
        <pc:spChg chg="add del mod">
          <ac:chgData name="Andreas" userId="9d9beba6-c052-407a-8599-c781a677a996" providerId="ADAL" clId="{1B7CF67B-5515-4C9F-825D-072B1C4F5900}" dt="2021-11-18T08:58:59.156" v="820" actId="26606"/>
          <ac:spMkLst>
            <pc:docMk/>
            <pc:sldMk cId="1911017754" sldId="291"/>
            <ac:spMk id="114" creationId="{AE1562A0-AB99-4525-8285-E45E8B769A54}"/>
          </ac:spMkLst>
        </pc:spChg>
        <pc:spChg chg="mod ord">
          <ac:chgData name="Andreas" userId="9d9beba6-c052-407a-8599-c781a677a996" providerId="ADAL" clId="{1B7CF67B-5515-4C9F-825D-072B1C4F5900}" dt="2021-11-18T08:59:06.262" v="825" actId="14100"/>
          <ac:spMkLst>
            <pc:docMk/>
            <pc:sldMk cId="1911017754" sldId="291"/>
            <ac:spMk id="165" creationId="{00000000-0000-0000-0000-000000000000}"/>
          </ac:spMkLst>
        </pc:spChg>
        <pc:spChg chg="add del mod">
          <ac:chgData name="Andreas" userId="9d9beba6-c052-407a-8599-c781a677a996" providerId="ADAL" clId="{1B7CF67B-5515-4C9F-825D-072B1C4F5900}" dt="2021-11-18T08:35:19.472" v="481" actId="26606"/>
          <ac:spMkLst>
            <pc:docMk/>
            <pc:sldMk cId="1911017754" sldId="291"/>
            <ac:spMk id="167" creationId="{826444C7-7CE9-422B-8F71-B57DEAA30296}"/>
          </ac:spMkLst>
        </pc:spChg>
        <pc:spChg chg="add del mod">
          <ac:chgData name="Andreas" userId="9d9beba6-c052-407a-8599-c781a677a996" providerId="ADAL" clId="{1B7CF67B-5515-4C9F-825D-072B1C4F5900}" dt="2021-11-18T08:35:19.472" v="481" actId="26606"/>
          <ac:spMkLst>
            <pc:docMk/>
            <pc:sldMk cId="1911017754" sldId="291"/>
            <ac:spMk id="168" creationId="{908A3A20-812A-4ECF-8CC9-ADC2AFCAFA00}"/>
          </ac:spMkLst>
        </pc:spChg>
        <pc:spChg chg="add del mod">
          <ac:chgData name="Andreas" userId="9d9beba6-c052-407a-8599-c781a677a996" providerId="ADAL" clId="{1B7CF67B-5515-4C9F-825D-072B1C4F5900}" dt="2021-11-18T08:35:19.472" v="481" actId="26606"/>
          <ac:spMkLst>
            <pc:docMk/>
            <pc:sldMk cId="1911017754" sldId="291"/>
            <ac:spMk id="169" creationId="{96FD526C-8A5C-4B87-914A-77C1ABB05917}"/>
          </ac:spMkLst>
        </pc:spChg>
        <pc:spChg chg="add del mod">
          <ac:chgData name="Andreas" userId="9d9beba6-c052-407a-8599-c781a677a996" providerId="ADAL" clId="{1B7CF67B-5515-4C9F-825D-072B1C4F5900}" dt="2021-11-18T08:36:04.793" v="491" actId="478"/>
          <ac:spMkLst>
            <pc:docMk/>
            <pc:sldMk cId="1911017754" sldId="291"/>
            <ac:spMk id="170" creationId="{5E706C7E-0FF2-4B6B-87EE-F1B28528C940}"/>
          </ac:spMkLst>
        </pc:spChg>
        <pc:spChg chg="add del mod">
          <ac:chgData name="Andreas" userId="9d9beba6-c052-407a-8599-c781a677a996" providerId="ADAL" clId="{1B7CF67B-5515-4C9F-825D-072B1C4F5900}" dt="2021-11-18T08:35:22.980" v="483" actId="478"/>
          <ac:spMkLst>
            <pc:docMk/>
            <pc:sldMk cId="1911017754" sldId="291"/>
            <ac:spMk id="171" creationId="{E1125E04-33C8-4FC1-8FA1-DE98E774AD50}"/>
          </ac:spMkLst>
        </pc:spChg>
        <pc:spChg chg="add mod">
          <ac:chgData name="Andreas" userId="9d9beba6-c052-407a-8599-c781a677a996" providerId="ADAL" clId="{1B7CF67B-5515-4C9F-825D-072B1C4F5900}" dt="2021-11-18T08:59:01.159" v="823" actId="26606"/>
          <ac:spMkLst>
            <pc:docMk/>
            <pc:sldMk cId="1911017754" sldId="291"/>
            <ac:spMk id="172" creationId="{97B207BF-17F4-43B4-B315-27DF0FF0A752}"/>
          </ac:spMkLst>
        </pc:spChg>
        <pc:spChg chg="add mod">
          <ac:chgData name="Andreas" userId="9d9beba6-c052-407a-8599-c781a677a996" providerId="ADAL" clId="{1B7CF67B-5515-4C9F-825D-072B1C4F5900}" dt="2021-11-18T08:59:01.159" v="823" actId="26606"/>
          <ac:spMkLst>
            <pc:docMk/>
            <pc:sldMk cId="1911017754" sldId="291"/>
            <ac:spMk id="173" creationId="{B481E49B-3DE4-49DB-874C-30B99A34DBF5}"/>
          </ac:spMkLst>
        </pc:spChg>
        <pc:spChg chg="add del mod">
          <ac:chgData name="Andreas" userId="9d9beba6-c052-407a-8599-c781a677a996" providerId="ADAL" clId="{1B7CF67B-5515-4C9F-825D-072B1C4F5900}" dt="2021-11-18T08:59:01.156" v="822" actId="26606"/>
          <ac:spMkLst>
            <pc:docMk/>
            <pc:sldMk cId="1911017754" sldId="291"/>
            <ac:spMk id="175" creationId="{1F098EB8-D202-48B2-86CA-1D3FE493650D}"/>
          </ac:spMkLst>
        </pc:spChg>
        <pc:spChg chg="add del mod">
          <ac:chgData name="Andreas" userId="9d9beba6-c052-407a-8599-c781a677a996" providerId="ADAL" clId="{1B7CF67B-5515-4C9F-825D-072B1C4F5900}" dt="2021-11-18T08:59:08.338" v="826" actId="478"/>
          <ac:spMkLst>
            <pc:docMk/>
            <pc:sldMk cId="1911017754" sldId="291"/>
            <ac:spMk id="177" creationId="{AE1562A0-AB99-4525-8285-E45E8B769A54}"/>
          </ac:spMkLst>
        </pc:spChg>
        <pc:picChg chg="mod ord">
          <ac:chgData name="Andreas" userId="9d9beba6-c052-407a-8599-c781a677a996" providerId="ADAL" clId="{1B7CF67B-5515-4C9F-825D-072B1C4F5900}" dt="2021-11-18T08:59:14.851" v="828" actId="1076"/>
          <ac:picMkLst>
            <pc:docMk/>
            <pc:sldMk cId="1911017754" sldId="291"/>
            <ac:picMk id="4" creationId="{2C66C096-2CBC-41F2-ADCB-EEE41444E70F}"/>
          </ac:picMkLst>
        </pc:picChg>
      </pc:sldChg>
      <pc:sldChg chg="addSp delSp modSp add mod modTransition modClrScheme chgLayout">
        <pc:chgData name="Andreas" userId="9d9beba6-c052-407a-8599-c781a677a996" providerId="ADAL" clId="{1B7CF67B-5515-4C9F-825D-072B1C4F5900}" dt="2021-11-18T08:35:45.558" v="489" actId="26606"/>
        <pc:sldMkLst>
          <pc:docMk/>
          <pc:sldMk cId="905136967" sldId="292"/>
        </pc:sldMkLst>
        <pc:spChg chg="add del mod">
          <ac:chgData name="Andreas" userId="9d9beba6-c052-407a-8599-c781a677a996" providerId="ADAL" clId="{1B7CF67B-5515-4C9F-825D-072B1C4F5900}" dt="2021-11-18T08:35:45.558" v="489" actId="26606"/>
          <ac:spMkLst>
            <pc:docMk/>
            <pc:sldMk cId="905136967" sldId="292"/>
            <ac:spMk id="5" creationId="{A43D9CEC-C14D-4EF7-9CB6-03B835202AD7}"/>
          </ac:spMkLst>
        </pc:spChg>
        <pc:spChg chg="add del mod">
          <ac:chgData name="Andreas" userId="9d9beba6-c052-407a-8599-c781a677a996" providerId="ADAL" clId="{1B7CF67B-5515-4C9F-825D-072B1C4F5900}" dt="2021-11-18T08:32:50.492" v="379" actId="26606"/>
          <ac:spMkLst>
            <pc:docMk/>
            <pc:sldMk cId="905136967" sldId="292"/>
            <ac:spMk id="106" creationId="{8E070634-4EEE-4BAF-B600-5A8F3620333A}"/>
          </ac:spMkLst>
        </pc:spChg>
        <pc:spChg chg="add del mod">
          <ac:chgData name="Andreas" userId="9d9beba6-c052-407a-8599-c781a677a996" providerId="ADAL" clId="{1B7CF67B-5515-4C9F-825D-072B1C4F5900}" dt="2021-11-18T08:32:57.479" v="381" actId="26606"/>
          <ac:spMkLst>
            <pc:docMk/>
            <pc:sldMk cId="905136967" sldId="292"/>
            <ac:spMk id="107" creationId="{6A4F24C6-BAE2-4288-803F-25888FD7F982}"/>
          </ac:spMkLst>
        </pc:spChg>
        <pc:spChg chg="add del mod">
          <ac:chgData name="Andreas" userId="9d9beba6-c052-407a-8599-c781a677a996" providerId="ADAL" clId="{1B7CF67B-5515-4C9F-825D-072B1C4F5900}" dt="2021-11-18T08:32:50.492" v="379" actId="26606"/>
          <ac:spMkLst>
            <pc:docMk/>
            <pc:sldMk cId="905136967" sldId="292"/>
            <ac:spMk id="108" creationId="{781E2672-BFAD-4B63-AA49-D282A8B6DCD0}"/>
          </ac:spMkLst>
        </pc:spChg>
        <pc:spChg chg="add del mod">
          <ac:chgData name="Andreas" userId="9d9beba6-c052-407a-8599-c781a677a996" providerId="ADAL" clId="{1B7CF67B-5515-4C9F-825D-072B1C4F5900}" dt="2021-11-18T08:32:57.479" v="381" actId="26606"/>
          <ac:spMkLst>
            <pc:docMk/>
            <pc:sldMk cId="905136967" sldId="292"/>
            <ac:spMk id="109" creationId="{AF896F86-7EFB-4569-B02C-653C60BA99EF}"/>
          </ac:spMkLst>
        </pc:spChg>
        <pc:spChg chg="add del mod">
          <ac:chgData name="Andreas" userId="9d9beba6-c052-407a-8599-c781a677a996" providerId="ADAL" clId="{1B7CF67B-5515-4C9F-825D-072B1C4F5900}" dt="2021-11-18T08:32:50.492" v="379" actId="26606"/>
          <ac:spMkLst>
            <pc:docMk/>
            <pc:sldMk cId="905136967" sldId="292"/>
            <ac:spMk id="110" creationId="{5450D74E-E80A-4F7B-AC4C-9B98A916D6E9}"/>
          </ac:spMkLst>
        </pc:spChg>
        <pc:spChg chg="add del mod">
          <ac:chgData name="Andreas" userId="9d9beba6-c052-407a-8599-c781a677a996" providerId="ADAL" clId="{1B7CF67B-5515-4C9F-825D-072B1C4F5900}" dt="2021-11-18T08:32:57.479" v="381" actId="26606"/>
          <ac:spMkLst>
            <pc:docMk/>
            <pc:sldMk cId="905136967" sldId="292"/>
            <ac:spMk id="111" creationId="{15E57F40-8CEC-486E-B530-241D865F3404}"/>
          </ac:spMkLst>
        </pc:spChg>
        <pc:spChg chg="mod ord">
          <ac:chgData name="Andreas" userId="9d9beba6-c052-407a-8599-c781a677a996" providerId="ADAL" clId="{1B7CF67B-5515-4C9F-825D-072B1C4F5900}" dt="2021-11-18T08:35:45.558" v="489" actId="26606"/>
          <ac:spMkLst>
            <pc:docMk/>
            <pc:sldMk cId="905136967" sldId="292"/>
            <ac:spMk id="165" creationId="{00000000-0000-0000-0000-000000000000}"/>
          </ac:spMkLst>
        </pc:spChg>
        <pc:spChg chg="add mod">
          <ac:chgData name="Andreas" userId="9d9beba6-c052-407a-8599-c781a677a996" providerId="ADAL" clId="{1B7CF67B-5515-4C9F-825D-072B1C4F5900}" dt="2021-11-18T08:35:45.558" v="489" actId="26606"/>
          <ac:spMkLst>
            <pc:docMk/>
            <pc:sldMk cId="905136967" sldId="292"/>
            <ac:spMk id="168" creationId="{E0467924-BAD1-4752-BBFD-79A697EE1779}"/>
          </ac:spMkLst>
        </pc:spChg>
        <pc:spChg chg="add mod">
          <ac:chgData name="Andreas" userId="9d9beba6-c052-407a-8599-c781a677a996" providerId="ADAL" clId="{1B7CF67B-5515-4C9F-825D-072B1C4F5900}" dt="2021-11-18T08:35:45.558" v="489" actId="26606"/>
          <ac:spMkLst>
            <pc:docMk/>
            <pc:sldMk cId="905136967" sldId="292"/>
            <ac:spMk id="170" creationId="{8FBDA13C-D1C5-4BD6-B695-0A275D4A2F9E}"/>
          </ac:spMkLst>
        </pc:spChg>
        <pc:spChg chg="add mod">
          <ac:chgData name="Andreas" userId="9d9beba6-c052-407a-8599-c781a677a996" providerId="ADAL" clId="{1B7CF67B-5515-4C9F-825D-072B1C4F5900}" dt="2021-11-18T08:35:45.558" v="489" actId="26606"/>
          <ac:spMkLst>
            <pc:docMk/>
            <pc:sldMk cId="905136967" sldId="292"/>
            <ac:spMk id="172" creationId="{191CCFB4-E42E-4C19-AC19-DF44DE507EF6}"/>
          </ac:spMkLst>
        </pc:spChg>
        <pc:spChg chg="add del mod">
          <ac:chgData name="Andreas" userId="9d9beba6-c052-407a-8599-c781a677a996" providerId="ADAL" clId="{1B7CF67B-5515-4C9F-825D-072B1C4F5900}" dt="2021-11-18T08:33:14.575" v="387" actId="26606"/>
          <ac:spMkLst>
            <pc:docMk/>
            <pc:sldMk cId="905136967" sldId="292"/>
            <ac:spMk id="173" creationId="{A0478CBC-8074-4CEC-AE8B-DCA5CE8A6480}"/>
          </ac:spMkLst>
        </pc:spChg>
        <pc:spChg chg="add del mod">
          <ac:chgData name="Andreas" userId="9d9beba6-c052-407a-8599-c781a677a996" providerId="ADAL" clId="{1B7CF67B-5515-4C9F-825D-072B1C4F5900}" dt="2021-11-18T08:33:14.575" v="387" actId="26606"/>
          <ac:spMkLst>
            <pc:docMk/>
            <pc:sldMk cId="905136967" sldId="292"/>
            <ac:spMk id="174" creationId="{DCC06A51-8CB1-4DA2-AAE3-3D435102EF7E}"/>
          </ac:spMkLst>
        </pc:spChg>
        <pc:spChg chg="add del mod">
          <ac:chgData name="Andreas" userId="9d9beba6-c052-407a-8599-c781a677a996" providerId="ADAL" clId="{1B7CF67B-5515-4C9F-825D-072B1C4F5900}" dt="2021-11-18T08:33:14.575" v="387" actId="26606"/>
          <ac:spMkLst>
            <pc:docMk/>
            <pc:sldMk cId="905136967" sldId="292"/>
            <ac:spMk id="175" creationId="{A9F8B84D-8D01-498A-96BC-188C91767DA8}"/>
          </ac:spMkLst>
        </pc:spChg>
        <pc:spChg chg="add del mod">
          <ac:chgData name="Andreas" userId="9d9beba6-c052-407a-8599-c781a677a996" providerId="ADAL" clId="{1B7CF67B-5515-4C9F-825D-072B1C4F5900}" dt="2021-11-18T08:33:17.304" v="389" actId="26606"/>
          <ac:spMkLst>
            <pc:docMk/>
            <pc:sldMk cId="905136967" sldId="292"/>
            <ac:spMk id="178" creationId="{6A4F24C6-BAE2-4288-803F-25888FD7F982}"/>
          </ac:spMkLst>
        </pc:spChg>
        <pc:spChg chg="add del mod">
          <ac:chgData name="Andreas" userId="9d9beba6-c052-407a-8599-c781a677a996" providerId="ADAL" clId="{1B7CF67B-5515-4C9F-825D-072B1C4F5900}" dt="2021-11-18T08:33:17.304" v="389" actId="26606"/>
          <ac:spMkLst>
            <pc:docMk/>
            <pc:sldMk cId="905136967" sldId="292"/>
            <ac:spMk id="179" creationId="{AF896F86-7EFB-4569-B02C-653C60BA99EF}"/>
          </ac:spMkLst>
        </pc:spChg>
        <pc:spChg chg="add del mod">
          <ac:chgData name="Andreas" userId="9d9beba6-c052-407a-8599-c781a677a996" providerId="ADAL" clId="{1B7CF67B-5515-4C9F-825D-072B1C4F5900}" dt="2021-11-18T08:33:17.304" v="389" actId="26606"/>
          <ac:spMkLst>
            <pc:docMk/>
            <pc:sldMk cId="905136967" sldId="292"/>
            <ac:spMk id="180" creationId="{15E57F40-8CEC-486E-B530-241D865F3404}"/>
          </ac:spMkLst>
        </pc:spChg>
        <pc:spChg chg="add del mod">
          <ac:chgData name="Andreas" userId="9d9beba6-c052-407a-8599-c781a677a996" providerId="ADAL" clId="{1B7CF67B-5515-4C9F-825D-072B1C4F5900}" dt="2021-11-18T08:34:53.102" v="478" actId="26606"/>
          <ac:spMkLst>
            <pc:docMk/>
            <pc:sldMk cId="905136967" sldId="292"/>
            <ac:spMk id="183" creationId="{A43D9CEC-C14D-4EF7-9CB6-03B835202AD7}"/>
          </ac:spMkLst>
        </pc:spChg>
        <pc:spChg chg="add del mod">
          <ac:chgData name="Andreas" userId="9d9beba6-c052-407a-8599-c781a677a996" providerId="ADAL" clId="{1B7CF67B-5515-4C9F-825D-072B1C4F5900}" dt="2021-11-18T08:34:53.102" v="478" actId="26606"/>
          <ac:spMkLst>
            <pc:docMk/>
            <pc:sldMk cId="905136967" sldId="292"/>
            <ac:spMk id="184" creationId="{8E070634-4EEE-4BAF-B600-5A8F3620333A}"/>
          </ac:spMkLst>
        </pc:spChg>
        <pc:spChg chg="add del mod">
          <ac:chgData name="Andreas" userId="9d9beba6-c052-407a-8599-c781a677a996" providerId="ADAL" clId="{1B7CF67B-5515-4C9F-825D-072B1C4F5900}" dt="2021-11-18T08:34:53.102" v="478" actId="26606"/>
          <ac:spMkLst>
            <pc:docMk/>
            <pc:sldMk cId="905136967" sldId="292"/>
            <ac:spMk id="185" creationId="{781E2672-BFAD-4B63-AA49-D282A8B6DCD0}"/>
          </ac:spMkLst>
        </pc:spChg>
        <pc:spChg chg="add del mod">
          <ac:chgData name="Andreas" userId="9d9beba6-c052-407a-8599-c781a677a996" providerId="ADAL" clId="{1B7CF67B-5515-4C9F-825D-072B1C4F5900}" dt="2021-11-18T08:34:53.102" v="478" actId="26606"/>
          <ac:spMkLst>
            <pc:docMk/>
            <pc:sldMk cId="905136967" sldId="292"/>
            <ac:spMk id="186" creationId="{5450D74E-E80A-4F7B-AC4C-9B98A916D6E9}"/>
          </ac:spMkLst>
        </pc:spChg>
        <pc:graphicFrameChg chg="add del mod">
          <ac:chgData name="Andreas" userId="9d9beba6-c052-407a-8599-c781a677a996" providerId="ADAL" clId="{1B7CF67B-5515-4C9F-825D-072B1C4F5900}" dt="2021-11-18T08:32:57.479" v="381" actId="26606"/>
          <ac:graphicFrameMkLst>
            <pc:docMk/>
            <pc:sldMk cId="905136967" sldId="292"/>
            <ac:graphicFrameMk id="167" creationId="{B3AE239B-C6C1-40B1-8478-4674E1DE26D5}"/>
          </ac:graphicFrameMkLst>
        </pc:graphicFrameChg>
        <pc:graphicFrameChg chg="add del">
          <ac:chgData name="Andreas" userId="9d9beba6-c052-407a-8599-c781a677a996" providerId="ADAL" clId="{1B7CF67B-5515-4C9F-825D-072B1C4F5900}" dt="2021-11-18T08:33:01.796" v="383" actId="26606"/>
          <ac:graphicFrameMkLst>
            <pc:docMk/>
            <pc:sldMk cId="905136967" sldId="292"/>
            <ac:graphicFrameMk id="169" creationId="{15AEBC35-0CB8-480F-A98C-7B292F527E41}"/>
          </ac:graphicFrameMkLst>
        </pc:graphicFrameChg>
        <pc:graphicFrameChg chg="add del">
          <ac:chgData name="Andreas" userId="9d9beba6-c052-407a-8599-c781a677a996" providerId="ADAL" clId="{1B7CF67B-5515-4C9F-825D-072B1C4F5900}" dt="2021-11-18T08:33:04.566" v="385" actId="26606"/>
          <ac:graphicFrameMkLst>
            <pc:docMk/>
            <pc:sldMk cId="905136967" sldId="292"/>
            <ac:graphicFrameMk id="171" creationId="{60915549-52E7-4A74-862F-19129A8F83A0}"/>
          </ac:graphicFrameMkLst>
        </pc:graphicFrameChg>
        <pc:graphicFrameChg chg="add del mod">
          <ac:chgData name="Andreas" userId="9d9beba6-c052-407a-8599-c781a677a996" providerId="ADAL" clId="{1B7CF67B-5515-4C9F-825D-072B1C4F5900}" dt="2021-11-18T08:33:14.575" v="387" actId="26606"/>
          <ac:graphicFrameMkLst>
            <pc:docMk/>
            <pc:sldMk cId="905136967" sldId="292"/>
            <ac:graphicFrameMk id="176" creationId="{DA779C08-5EE1-405C-86FB-444E37E0B3D2}"/>
          </ac:graphicFrameMkLst>
        </pc:graphicFrameChg>
        <pc:graphicFrameChg chg="add del mod">
          <ac:chgData name="Andreas" userId="9d9beba6-c052-407a-8599-c781a677a996" providerId="ADAL" clId="{1B7CF67B-5515-4C9F-825D-072B1C4F5900}" dt="2021-11-18T08:33:17.304" v="389" actId="26606"/>
          <ac:graphicFrameMkLst>
            <pc:docMk/>
            <pc:sldMk cId="905136967" sldId="292"/>
            <ac:graphicFrameMk id="181" creationId="{B3AE239B-C6C1-40B1-8478-4674E1DE26D5}"/>
          </ac:graphicFrameMkLst>
        </pc:graphicFrameChg>
      </pc:sldChg>
      <pc:sldChg chg="addSp delSp modSp add mod modTransition modClrScheme chgLayout">
        <pc:chgData name="Andreas" userId="9d9beba6-c052-407a-8599-c781a677a996" providerId="ADAL" clId="{1B7CF67B-5515-4C9F-825D-072B1C4F5900}" dt="2021-11-18T08:37:31.525" v="506" actId="14100"/>
        <pc:sldMkLst>
          <pc:docMk/>
          <pc:sldMk cId="2719012752" sldId="293"/>
        </pc:sldMkLst>
        <pc:spChg chg="add del mod">
          <ac:chgData name="Andreas" userId="9d9beba6-c052-407a-8599-c781a677a996" providerId="ADAL" clId="{1B7CF67B-5515-4C9F-825D-072B1C4F5900}" dt="2021-11-18T08:34:16.699" v="468" actId="26606"/>
          <ac:spMkLst>
            <pc:docMk/>
            <pc:sldMk cId="2719012752" sldId="293"/>
            <ac:spMk id="106" creationId="{9E186379-F3B1-462E-B88F-EB9196947BDF}"/>
          </ac:spMkLst>
        </pc:spChg>
        <pc:spChg chg="add del mod">
          <ac:chgData name="Andreas" userId="9d9beba6-c052-407a-8599-c781a677a996" providerId="ADAL" clId="{1B7CF67B-5515-4C9F-825D-072B1C4F5900}" dt="2021-11-18T08:34:16.699" v="468" actId="26606"/>
          <ac:spMkLst>
            <pc:docMk/>
            <pc:sldMk cId="2719012752" sldId="293"/>
            <ac:spMk id="108" creationId="{620632E1-BF6E-4F71-8D32-CCCC5906C289}"/>
          </ac:spMkLst>
        </pc:spChg>
        <pc:spChg chg="add del mod">
          <ac:chgData name="Andreas" userId="9d9beba6-c052-407a-8599-c781a677a996" providerId="ADAL" clId="{1B7CF67B-5515-4C9F-825D-072B1C4F5900}" dt="2021-11-18T08:34:16.699" v="468" actId="26606"/>
          <ac:spMkLst>
            <pc:docMk/>
            <pc:sldMk cId="2719012752" sldId="293"/>
            <ac:spMk id="110" creationId="{348939AE-1A7C-4FFF-9D9E-C2DCED73A7EC}"/>
          </ac:spMkLst>
        </pc:spChg>
        <pc:spChg chg="mod ord">
          <ac:chgData name="Andreas" userId="9d9beba6-c052-407a-8599-c781a677a996" providerId="ADAL" clId="{1B7CF67B-5515-4C9F-825D-072B1C4F5900}" dt="2021-11-18T08:37:16.602" v="501" actId="14100"/>
          <ac:spMkLst>
            <pc:docMk/>
            <pc:sldMk cId="2719012752" sldId="293"/>
            <ac:spMk id="165" creationId="{00000000-0000-0000-0000-000000000000}"/>
          </ac:spMkLst>
        </pc:spChg>
        <pc:spChg chg="add del mod">
          <ac:chgData name="Andreas" userId="9d9beba6-c052-407a-8599-c781a677a996" providerId="ADAL" clId="{1B7CF67B-5515-4C9F-825D-072B1C4F5900}" dt="2021-11-18T08:37:19.212" v="502" actId="478"/>
          <ac:spMkLst>
            <pc:docMk/>
            <pc:sldMk cId="2719012752" sldId="293"/>
            <ac:spMk id="167" creationId="{0BEE1DF3-F311-4B2E-B0D5-FE729D742A94}"/>
          </ac:spMkLst>
        </pc:spChg>
        <pc:spChg chg="add mod">
          <ac:chgData name="Andreas" userId="9d9beba6-c052-407a-8599-c781a677a996" providerId="ADAL" clId="{1B7CF67B-5515-4C9F-825D-072B1C4F5900}" dt="2021-11-18T08:37:09.954" v="499" actId="26606"/>
          <ac:spMkLst>
            <pc:docMk/>
            <pc:sldMk cId="2719012752" sldId="293"/>
            <ac:spMk id="168" creationId="{F6E8AC54-E3D7-4B35-8A5A-204B9D5C32D8}"/>
          </ac:spMkLst>
        </pc:spChg>
        <pc:spChg chg="add mod">
          <ac:chgData name="Andreas" userId="9d9beba6-c052-407a-8599-c781a677a996" providerId="ADAL" clId="{1B7CF67B-5515-4C9F-825D-072B1C4F5900}" dt="2021-11-18T08:37:09.954" v="499" actId="26606"/>
          <ac:spMkLst>
            <pc:docMk/>
            <pc:sldMk cId="2719012752" sldId="293"/>
            <ac:spMk id="169" creationId="{81938866-F5E2-4C24-A5AC-F8CA748F0B71}"/>
          </ac:spMkLst>
        </pc:spChg>
        <pc:picChg chg="mod">
          <ac:chgData name="Andreas" userId="9d9beba6-c052-407a-8599-c781a677a996" providerId="ADAL" clId="{1B7CF67B-5515-4C9F-825D-072B1C4F5900}" dt="2021-11-18T08:37:31.525" v="506" actId="14100"/>
          <ac:picMkLst>
            <pc:docMk/>
            <pc:sldMk cId="2719012752" sldId="293"/>
            <ac:picMk id="5" creationId="{9D13362C-B3B3-4DA5-8A13-8F95EAE69A62}"/>
          </ac:picMkLst>
        </pc:picChg>
      </pc:sldChg>
      <pc:sldChg chg="addSp delSp modSp add mod modTransition chgLayout">
        <pc:chgData name="Andreas" userId="9d9beba6-c052-407a-8599-c781a677a996" providerId="ADAL" clId="{1B7CF67B-5515-4C9F-825D-072B1C4F5900}" dt="2021-11-18T08:59:40.129" v="833" actId="1076"/>
        <pc:sldMkLst>
          <pc:docMk/>
          <pc:sldMk cId="105445765" sldId="294"/>
        </pc:sldMkLst>
        <pc:spChg chg="add del mod">
          <ac:chgData name="Andreas" userId="9d9beba6-c052-407a-8599-c781a677a996" providerId="ADAL" clId="{1B7CF67B-5515-4C9F-825D-072B1C4F5900}" dt="2021-11-18T08:37:52.705" v="510" actId="478"/>
          <ac:spMkLst>
            <pc:docMk/>
            <pc:sldMk cId="105445765" sldId="294"/>
            <ac:spMk id="106" creationId="{A022BA05-562B-417E-94FB-829251F367AB}"/>
          </ac:spMkLst>
        </pc:spChg>
        <pc:spChg chg="add mod">
          <ac:chgData name="Andreas" userId="9d9beba6-c052-407a-8599-c781a677a996" providerId="ADAL" clId="{1B7CF67B-5515-4C9F-825D-072B1C4F5900}" dt="2021-11-18T08:59:24.848" v="829" actId="26606"/>
          <ac:spMkLst>
            <pc:docMk/>
            <pc:sldMk cId="105445765" sldId="294"/>
            <ac:spMk id="108" creationId="{44B446FC-53BC-44FD-AB0F-3CBEE2FB6F1D}"/>
          </ac:spMkLst>
        </pc:spChg>
        <pc:spChg chg="add mod">
          <ac:chgData name="Andreas" userId="9d9beba6-c052-407a-8599-c781a677a996" providerId="ADAL" clId="{1B7CF67B-5515-4C9F-825D-072B1C4F5900}" dt="2021-11-18T08:59:24.848" v="829" actId="26606"/>
          <ac:spMkLst>
            <pc:docMk/>
            <pc:sldMk cId="105445765" sldId="294"/>
            <ac:spMk id="110" creationId="{E7206ED1-C698-42B9-89DA-16977811CE03}"/>
          </ac:spMkLst>
        </pc:spChg>
        <pc:spChg chg="mod ord">
          <ac:chgData name="Andreas" userId="9d9beba6-c052-407a-8599-c781a677a996" providerId="ADAL" clId="{1B7CF67B-5515-4C9F-825D-072B1C4F5900}" dt="2021-11-18T08:59:24.848" v="829" actId="26606"/>
          <ac:spMkLst>
            <pc:docMk/>
            <pc:sldMk cId="105445765" sldId="294"/>
            <ac:spMk id="165" creationId="{00000000-0000-0000-0000-000000000000}"/>
          </ac:spMkLst>
        </pc:spChg>
        <pc:spChg chg="add del mod">
          <ac:chgData name="Andreas" userId="9d9beba6-c052-407a-8599-c781a677a996" providerId="ADAL" clId="{1B7CF67B-5515-4C9F-825D-072B1C4F5900}" dt="2021-11-18T08:59:27.801" v="830" actId="478"/>
          <ac:spMkLst>
            <pc:docMk/>
            <pc:sldMk cId="105445765" sldId="294"/>
            <ac:spMk id="170" creationId="{AF58C9FE-5AA5-48B3-B284-5F06B7EB6725}"/>
          </ac:spMkLst>
        </pc:spChg>
        <pc:picChg chg="mod">
          <ac:chgData name="Andreas" userId="9d9beba6-c052-407a-8599-c781a677a996" providerId="ADAL" clId="{1B7CF67B-5515-4C9F-825D-072B1C4F5900}" dt="2021-11-18T08:59:40.129" v="833" actId="1076"/>
          <ac:picMkLst>
            <pc:docMk/>
            <pc:sldMk cId="105445765" sldId="294"/>
            <ac:picMk id="4" creationId="{3669D0E2-383D-4DE4-A2B5-A0D935EF39EE}"/>
          </ac:picMkLst>
        </pc:picChg>
      </pc:sldChg>
      <pc:sldChg chg="addSp delSp modSp add mod modTransition modClrScheme chgLayout">
        <pc:chgData name="Andreas" userId="9d9beba6-c052-407a-8599-c781a677a996" providerId="ADAL" clId="{1B7CF67B-5515-4C9F-825D-072B1C4F5900}" dt="2021-11-18T08:38:35.248" v="519" actId="1076"/>
        <pc:sldMkLst>
          <pc:docMk/>
          <pc:sldMk cId="2698391475" sldId="295"/>
        </pc:sldMkLst>
        <pc:spChg chg="add del mod">
          <ac:chgData name="Andreas" userId="9d9beba6-c052-407a-8599-c781a677a996" providerId="ADAL" clId="{1B7CF67B-5515-4C9F-825D-072B1C4F5900}" dt="2021-11-18T08:38:24.897" v="517" actId="478"/>
          <ac:spMkLst>
            <pc:docMk/>
            <pc:sldMk cId="2698391475" sldId="295"/>
            <ac:spMk id="106" creationId="{0D7B86E8-7F09-44AE-8A6B-446C614DA495}"/>
          </ac:spMkLst>
        </pc:spChg>
        <pc:spChg chg="add mod">
          <ac:chgData name="Andreas" userId="9d9beba6-c052-407a-8599-c781a677a996" providerId="ADAL" clId="{1B7CF67B-5515-4C9F-825D-072B1C4F5900}" dt="2021-11-18T08:38:18.700" v="514" actId="26606"/>
          <ac:spMkLst>
            <pc:docMk/>
            <pc:sldMk cId="2698391475" sldId="295"/>
            <ac:spMk id="108" creationId="{AF6F1C6B-F27A-4CD1-B940-A10273B1D319}"/>
          </ac:spMkLst>
        </pc:spChg>
        <pc:spChg chg="add mod">
          <ac:chgData name="Andreas" userId="9d9beba6-c052-407a-8599-c781a677a996" providerId="ADAL" clId="{1B7CF67B-5515-4C9F-825D-072B1C4F5900}" dt="2021-11-18T08:38:18.700" v="514" actId="26606"/>
          <ac:spMkLst>
            <pc:docMk/>
            <pc:sldMk cId="2698391475" sldId="295"/>
            <ac:spMk id="110" creationId="{6909033B-67DD-41AB-88CE-1306098EC68D}"/>
          </ac:spMkLst>
        </pc:spChg>
        <pc:spChg chg="mod">
          <ac:chgData name="Andreas" userId="9d9beba6-c052-407a-8599-c781a677a996" providerId="ADAL" clId="{1B7CF67B-5515-4C9F-825D-072B1C4F5900}" dt="2021-11-18T08:38:23.718" v="516" actId="14100"/>
          <ac:spMkLst>
            <pc:docMk/>
            <pc:sldMk cId="2698391475" sldId="295"/>
            <ac:spMk id="165" creationId="{00000000-0000-0000-0000-000000000000}"/>
          </ac:spMkLst>
        </pc:spChg>
        <pc:picChg chg="mod">
          <ac:chgData name="Andreas" userId="9d9beba6-c052-407a-8599-c781a677a996" providerId="ADAL" clId="{1B7CF67B-5515-4C9F-825D-072B1C4F5900}" dt="2021-11-18T08:38:35.248" v="519" actId="1076"/>
          <ac:picMkLst>
            <pc:docMk/>
            <pc:sldMk cId="2698391475" sldId="295"/>
            <ac:picMk id="5" creationId="{0DA7143A-B512-4896-B252-D694D4B5985F}"/>
          </ac:picMkLst>
        </pc:picChg>
      </pc:sldChg>
      <pc:sldChg chg="addSp delSp modSp add mod modTransition modClrScheme chgLayout">
        <pc:chgData name="Andreas" userId="9d9beba6-c052-407a-8599-c781a677a996" providerId="ADAL" clId="{1B7CF67B-5515-4C9F-825D-072B1C4F5900}" dt="2021-11-18T08:38:59.203" v="525" actId="1076"/>
        <pc:sldMkLst>
          <pc:docMk/>
          <pc:sldMk cId="558428443" sldId="296"/>
        </pc:sldMkLst>
        <pc:spChg chg="add del mod">
          <ac:chgData name="Andreas" userId="9d9beba6-c052-407a-8599-c781a677a996" providerId="ADAL" clId="{1B7CF67B-5515-4C9F-825D-072B1C4F5900}" dt="2021-11-18T08:38:48.532" v="523" actId="478"/>
          <ac:spMkLst>
            <pc:docMk/>
            <pc:sldMk cId="558428443" sldId="296"/>
            <ac:spMk id="106" creationId="{DB09F2F1-F292-4D70-A23A-E211A3E62F91}"/>
          </ac:spMkLst>
        </pc:spChg>
        <pc:spChg chg="add mod">
          <ac:chgData name="Andreas" userId="9d9beba6-c052-407a-8599-c781a677a996" providerId="ADAL" clId="{1B7CF67B-5515-4C9F-825D-072B1C4F5900}" dt="2021-11-18T08:38:40.511" v="520" actId="26606"/>
          <ac:spMkLst>
            <pc:docMk/>
            <pc:sldMk cId="558428443" sldId="296"/>
            <ac:spMk id="108" creationId="{42A747BA-8C64-4CC6-929F-1BEA72C8D06B}"/>
          </ac:spMkLst>
        </pc:spChg>
        <pc:spChg chg="add mod">
          <ac:chgData name="Andreas" userId="9d9beba6-c052-407a-8599-c781a677a996" providerId="ADAL" clId="{1B7CF67B-5515-4C9F-825D-072B1C4F5900}" dt="2021-11-18T08:38:40.511" v="520" actId="26606"/>
          <ac:spMkLst>
            <pc:docMk/>
            <pc:sldMk cId="558428443" sldId="296"/>
            <ac:spMk id="110" creationId="{128A59A0-321C-42B5-B836-42A1DEAFA06D}"/>
          </ac:spMkLst>
        </pc:spChg>
        <pc:spChg chg="mod">
          <ac:chgData name="Andreas" userId="9d9beba6-c052-407a-8599-c781a677a996" providerId="ADAL" clId="{1B7CF67B-5515-4C9F-825D-072B1C4F5900}" dt="2021-11-18T08:38:45.994" v="522" actId="14100"/>
          <ac:spMkLst>
            <pc:docMk/>
            <pc:sldMk cId="558428443" sldId="296"/>
            <ac:spMk id="165" creationId="{00000000-0000-0000-0000-000000000000}"/>
          </ac:spMkLst>
        </pc:spChg>
        <pc:picChg chg="mod">
          <ac:chgData name="Andreas" userId="9d9beba6-c052-407a-8599-c781a677a996" providerId="ADAL" clId="{1B7CF67B-5515-4C9F-825D-072B1C4F5900}" dt="2021-11-18T08:38:59.203" v="525" actId="1076"/>
          <ac:picMkLst>
            <pc:docMk/>
            <pc:sldMk cId="558428443" sldId="296"/>
            <ac:picMk id="5" creationId="{A2AF053D-A6F4-494E-BDDC-36FD3B804627}"/>
          </ac:picMkLst>
        </pc:picChg>
      </pc:sldChg>
      <pc:sldChg chg="addSp delSp modSp add mod modTransition modClrScheme chgLayout">
        <pc:chgData name="Andreas" userId="9d9beba6-c052-407a-8599-c781a677a996" providerId="ADAL" clId="{1B7CF67B-5515-4C9F-825D-072B1C4F5900}" dt="2021-11-18T08:39:24.943" v="530" actId="1076"/>
        <pc:sldMkLst>
          <pc:docMk/>
          <pc:sldMk cId="76177616" sldId="297"/>
        </pc:sldMkLst>
        <pc:spChg chg="mod">
          <ac:chgData name="Andreas" userId="9d9beba6-c052-407a-8599-c781a677a996" providerId="ADAL" clId="{1B7CF67B-5515-4C9F-825D-072B1C4F5900}" dt="2021-11-18T08:39:13.970" v="528" actId="26606"/>
          <ac:spMkLst>
            <pc:docMk/>
            <pc:sldMk cId="76177616" sldId="297"/>
            <ac:spMk id="2" creationId="{464F4D2C-0CC4-4337-BB75-E08140A62DDC}"/>
          </ac:spMkLst>
        </pc:spChg>
        <pc:spChg chg="add del mod">
          <ac:chgData name="Andreas" userId="9d9beba6-c052-407a-8599-c781a677a996" providerId="ADAL" clId="{1B7CF67B-5515-4C9F-825D-072B1C4F5900}" dt="2021-11-18T08:39:13.964" v="527" actId="26606"/>
          <ac:spMkLst>
            <pc:docMk/>
            <pc:sldMk cId="76177616" sldId="297"/>
            <ac:spMk id="106" creationId="{FCDE3E1F-17CA-4EFF-A60C-FDAB5FCAC811}"/>
          </ac:spMkLst>
        </pc:spChg>
        <pc:spChg chg="add del mod">
          <ac:chgData name="Andreas" userId="9d9beba6-c052-407a-8599-c781a677a996" providerId="ADAL" clId="{1B7CF67B-5515-4C9F-825D-072B1C4F5900}" dt="2021-11-18T08:39:13.964" v="527" actId="26606"/>
          <ac:spMkLst>
            <pc:docMk/>
            <pc:sldMk cId="76177616" sldId="297"/>
            <ac:spMk id="108" creationId="{C5E5C6C5-A8F5-4258-9968-D66F4140FA17}"/>
          </ac:spMkLst>
        </pc:spChg>
        <pc:spChg chg="add del mod">
          <ac:chgData name="Andreas" userId="9d9beba6-c052-407a-8599-c781a677a996" providerId="ADAL" clId="{1B7CF67B-5515-4C9F-825D-072B1C4F5900}" dt="2021-11-18T08:39:13.964" v="527" actId="26606"/>
          <ac:spMkLst>
            <pc:docMk/>
            <pc:sldMk cId="76177616" sldId="297"/>
            <ac:spMk id="110" creationId="{92BBFE0A-AB75-4992-917B-168ED8388A48}"/>
          </ac:spMkLst>
        </pc:spChg>
        <pc:spChg chg="mod">
          <ac:chgData name="Andreas" userId="9d9beba6-c052-407a-8599-c781a677a996" providerId="ADAL" clId="{1B7CF67B-5515-4C9F-825D-072B1C4F5900}" dt="2021-11-18T08:39:24.943" v="530" actId="1076"/>
          <ac:spMkLst>
            <pc:docMk/>
            <pc:sldMk cId="76177616" sldId="297"/>
            <ac:spMk id="165" creationId="{00000000-0000-0000-0000-000000000000}"/>
          </ac:spMkLst>
        </pc:spChg>
        <pc:spChg chg="add mod">
          <ac:chgData name="Andreas" userId="9d9beba6-c052-407a-8599-c781a677a996" providerId="ADAL" clId="{1B7CF67B-5515-4C9F-825D-072B1C4F5900}" dt="2021-11-18T08:39:13.970" v="528" actId="26606"/>
          <ac:spMkLst>
            <pc:docMk/>
            <pc:sldMk cId="76177616" sldId="297"/>
            <ac:spMk id="167" creationId="{016014A3-7775-44D3-9029-F63AC0BDA62C}"/>
          </ac:spMkLst>
        </pc:spChg>
        <pc:spChg chg="add mod">
          <ac:chgData name="Andreas" userId="9d9beba6-c052-407a-8599-c781a677a996" providerId="ADAL" clId="{1B7CF67B-5515-4C9F-825D-072B1C4F5900}" dt="2021-11-18T08:39:13.970" v="528" actId="26606"/>
          <ac:spMkLst>
            <pc:docMk/>
            <pc:sldMk cId="76177616" sldId="297"/>
            <ac:spMk id="168" creationId="{5E22C851-487F-44B8-B88B-01FADD370D56}"/>
          </ac:spMkLst>
        </pc:spChg>
      </pc:sldChg>
      <pc:sldChg chg="addSp modSp add mod modTransition modClrScheme chgLayout">
        <pc:chgData name="Andreas" userId="9d9beba6-c052-407a-8599-c781a677a996" providerId="ADAL" clId="{1B7CF67B-5515-4C9F-825D-072B1C4F5900}" dt="2021-11-18T08:39:37.480" v="531" actId="26606"/>
        <pc:sldMkLst>
          <pc:docMk/>
          <pc:sldMk cId="312594172" sldId="298"/>
        </pc:sldMkLst>
        <pc:spChg chg="add mod">
          <ac:chgData name="Andreas" userId="9d9beba6-c052-407a-8599-c781a677a996" providerId="ADAL" clId="{1B7CF67B-5515-4C9F-825D-072B1C4F5900}" dt="2021-11-18T08:39:37.480" v="531" actId="26606"/>
          <ac:spMkLst>
            <pc:docMk/>
            <pc:sldMk cId="312594172" sldId="298"/>
            <ac:spMk id="106" creationId="{A52A6686-F3B6-43A8-8A83-C9DB6FDD692A}"/>
          </ac:spMkLst>
        </pc:spChg>
        <pc:spChg chg="add mod">
          <ac:chgData name="Andreas" userId="9d9beba6-c052-407a-8599-c781a677a996" providerId="ADAL" clId="{1B7CF67B-5515-4C9F-825D-072B1C4F5900}" dt="2021-11-18T08:39:37.480" v="531" actId="26606"/>
          <ac:spMkLst>
            <pc:docMk/>
            <pc:sldMk cId="312594172" sldId="298"/>
            <ac:spMk id="108" creationId="{9B72D1A6-E9B6-4149-B7BB-F2E0C70D036B}"/>
          </ac:spMkLst>
        </pc:spChg>
        <pc:spChg chg="add mod">
          <ac:chgData name="Andreas" userId="9d9beba6-c052-407a-8599-c781a677a996" providerId="ADAL" clId="{1B7CF67B-5515-4C9F-825D-072B1C4F5900}" dt="2021-11-18T08:39:37.480" v="531" actId="26606"/>
          <ac:spMkLst>
            <pc:docMk/>
            <pc:sldMk cId="312594172" sldId="298"/>
            <ac:spMk id="110" creationId="{BB1FC1CC-4E80-42D4-B761-F0A1F3C8516D}"/>
          </ac:spMkLst>
        </pc:spChg>
        <pc:spChg chg="mod ord">
          <ac:chgData name="Andreas" userId="9d9beba6-c052-407a-8599-c781a677a996" providerId="ADAL" clId="{1B7CF67B-5515-4C9F-825D-072B1C4F5900}" dt="2021-11-18T08:39:37.480" v="531" actId="26606"/>
          <ac:spMkLst>
            <pc:docMk/>
            <pc:sldMk cId="312594172" sldId="298"/>
            <ac:spMk id="165" creationId="{00000000-0000-0000-0000-000000000000}"/>
          </ac:spMkLst>
        </pc:spChg>
        <pc:picChg chg="mod">
          <ac:chgData name="Andreas" userId="9d9beba6-c052-407a-8599-c781a677a996" providerId="ADAL" clId="{1B7CF67B-5515-4C9F-825D-072B1C4F5900}" dt="2021-11-18T08:39:37.480" v="531" actId="26606"/>
          <ac:picMkLst>
            <pc:docMk/>
            <pc:sldMk cId="312594172" sldId="298"/>
            <ac:picMk id="4" creationId="{532BD7C3-96D2-46C2-8C19-56B67C9FB73C}"/>
          </ac:picMkLst>
        </pc:picChg>
      </pc:sldChg>
      <pc:sldChg chg="addSp delSp modSp add mod modTransition modClrScheme chgLayout">
        <pc:chgData name="Andreas" userId="9d9beba6-c052-407a-8599-c781a677a996" providerId="ADAL" clId="{1B7CF67B-5515-4C9F-825D-072B1C4F5900}" dt="2021-11-18T08:44:38.951" v="626" actId="20577"/>
        <pc:sldMkLst>
          <pc:docMk/>
          <pc:sldMk cId="2755240579" sldId="299"/>
        </pc:sldMkLst>
        <pc:spChg chg="add mod">
          <ac:chgData name="Andreas" userId="9d9beba6-c052-407a-8599-c781a677a996" providerId="ADAL" clId="{1B7CF67B-5515-4C9F-825D-072B1C4F5900}" dt="2021-11-18T08:40:37.177" v="532" actId="26606"/>
          <ac:spMkLst>
            <pc:docMk/>
            <pc:sldMk cId="2755240579" sldId="299"/>
            <ac:spMk id="108" creationId="{2FF30981-716C-4563-B802-1A812DB72CD7}"/>
          </ac:spMkLst>
        </pc:spChg>
        <pc:spChg chg="add mod">
          <ac:chgData name="Andreas" userId="9d9beba6-c052-407a-8599-c781a677a996" providerId="ADAL" clId="{1B7CF67B-5515-4C9F-825D-072B1C4F5900}" dt="2021-11-18T08:40:37.177" v="532" actId="26606"/>
          <ac:spMkLst>
            <pc:docMk/>
            <pc:sldMk cId="2755240579" sldId="299"/>
            <ac:spMk id="110" creationId="{06E01F99-F124-4D92-A774-EC2E88327BA1}"/>
          </ac:spMkLst>
        </pc:spChg>
        <pc:spChg chg="add mod">
          <ac:chgData name="Andreas" userId="9d9beba6-c052-407a-8599-c781a677a996" providerId="ADAL" clId="{1B7CF67B-5515-4C9F-825D-072B1C4F5900}" dt="2021-11-18T08:40:37.177" v="532" actId="26606"/>
          <ac:spMkLst>
            <pc:docMk/>
            <pc:sldMk cId="2755240579" sldId="299"/>
            <ac:spMk id="112" creationId="{397B6495-7242-4B4D-B45F-30E87E60EEF0}"/>
          </ac:spMkLst>
        </pc:spChg>
        <pc:spChg chg="mod">
          <ac:chgData name="Andreas" userId="9d9beba6-c052-407a-8599-c781a677a996" providerId="ADAL" clId="{1B7CF67B-5515-4C9F-825D-072B1C4F5900}" dt="2021-11-18T08:40:37.177" v="532" actId="26606"/>
          <ac:spMkLst>
            <pc:docMk/>
            <pc:sldMk cId="2755240579" sldId="299"/>
            <ac:spMk id="165" creationId="{00000000-0000-0000-0000-000000000000}"/>
          </ac:spMkLst>
        </pc:spChg>
        <pc:spChg chg="del">
          <ac:chgData name="Andreas" userId="9d9beba6-c052-407a-8599-c781a677a996" providerId="ADAL" clId="{1B7CF67B-5515-4C9F-825D-072B1C4F5900}" dt="2021-11-18T08:40:37.177" v="532" actId="26606"/>
          <ac:spMkLst>
            <pc:docMk/>
            <pc:sldMk cId="2755240579" sldId="299"/>
            <ac:spMk id="166" creationId="{00000000-0000-0000-0000-000000000000}"/>
          </ac:spMkLst>
        </pc:spChg>
        <pc:graphicFrameChg chg="add mod">
          <ac:chgData name="Andreas" userId="9d9beba6-c052-407a-8599-c781a677a996" providerId="ADAL" clId="{1B7CF67B-5515-4C9F-825D-072B1C4F5900}" dt="2021-11-18T08:44:38.951" v="626" actId="20577"/>
          <ac:graphicFrameMkLst>
            <pc:docMk/>
            <pc:sldMk cId="2755240579" sldId="299"/>
            <ac:graphicFrameMk id="168" creationId="{B18678BA-0CD1-4C20-84BB-558584C47129}"/>
          </ac:graphicFrameMkLst>
        </pc:graphicFrameChg>
      </pc:sldChg>
      <pc:sldChg chg="addSp modSp add mod modTransition chgLayout">
        <pc:chgData name="Andreas" userId="9d9beba6-c052-407a-8599-c781a677a996" providerId="ADAL" clId="{1B7CF67B-5515-4C9F-825D-072B1C4F5900}" dt="2021-11-18T08:59:52.242" v="835" actId="14100"/>
        <pc:sldMkLst>
          <pc:docMk/>
          <pc:sldMk cId="3134029436" sldId="300"/>
        </pc:sldMkLst>
        <pc:spChg chg="mod">
          <ac:chgData name="Andreas" userId="9d9beba6-c052-407a-8599-c781a677a996" providerId="ADAL" clId="{1B7CF67B-5515-4C9F-825D-072B1C4F5900}" dt="2021-11-18T08:59:52.242" v="835" actId="14100"/>
          <ac:spMkLst>
            <pc:docMk/>
            <pc:sldMk cId="3134029436" sldId="300"/>
            <ac:spMk id="185" creationId="{00000000-0000-0000-0000-000000000000}"/>
          </ac:spMkLst>
        </pc:spChg>
        <pc:spChg chg="mod">
          <ac:chgData name="Andreas" userId="9d9beba6-c052-407a-8599-c781a677a996" providerId="ADAL" clId="{1B7CF67B-5515-4C9F-825D-072B1C4F5900}" dt="2021-11-18T08:59:47.624" v="834" actId="26606"/>
          <ac:spMkLst>
            <pc:docMk/>
            <pc:sldMk cId="3134029436" sldId="300"/>
            <ac:spMk id="186" creationId="{00000000-0000-0000-0000-000000000000}"/>
          </ac:spMkLst>
        </pc:spChg>
        <pc:spChg chg="add mod">
          <ac:chgData name="Andreas" userId="9d9beba6-c052-407a-8599-c781a677a996" providerId="ADAL" clId="{1B7CF67B-5515-4C9F-825D-072B1C4F5900}" dt="2021-11-18T08:59:47.624" v="834" actId="26606"/>
          <ac:spMkLst>
            <pc:docMk/>
            <pc:sldMk cId="3134029436" sldId="300"/>
            <ac:spMk id="193" creationId="{DE063324-224A-4A92-A2B7-3101AB826E37}"/>
          </ac:spMkLst>
        </pc:spChg>
        <pc:spChg chg="add mod">
          <ac:chgData name="Andreas" userId="9d9beba6-c052-407a-8599-c781a677a996" providerId="ADAL" clId="{1B7CF67B-5515-4C9F-825D-072B1C4F5900}" dt="2021-11-18T08:59:47.624" v="834" actId="26606"/>
          <ac:spMkLst>
            <pc:docMk/>
            <pc:sldMk cId="3134029436" sldId="300"/>
            <ac:spMk id="195" creationId="{8F203D3E-3FF9-4760-8DBF-95570396CD78}"/>
          </ac:spMkLst>
        </pc:spChg>
        <pc:picChg chg="mod ord">
          <ac:chgData name="Andreas" userId="9d9beba6-c052-407a-8599-c781a677a996" providerId="ADAL" clId="{1B7CF67B-5515-4C9F-825D-072B1C4F5900}" dt="2021-11-18T08:59:47.624" v="834" actId="26606"/>
          <ac:picMkLst>
            <pc:docMk/>
            <pc:sldMk cId="3134029436" sldId="300"/>
            <ac:picMk id="188" creationId="{00000000-0000-0000-0000-000000000000}"/>
          </ac:picMkLst>
        </pc:picChg>
      </pc:sldChg>
      <pc:sldChg chg="addSp modSp add del mod modTransition chgLayout">
        <pc:chgData name="Andreas" userId="9d9beba6-c052-407a-8599-c781a677a996" providerId="ADAL" clId="{1B7CF67B-5515-4C9F-825D-072B1C4F5900}" dt="2021-11-18T09:00:34.070" v="841" actId="47"/>
        <pc:sldMkLst>
          <pc:docMk/>
          <pc:sldMk cId="2830768665" sldId="301"/>
        </pc:sldMkLst>
        <pc:spChg chg="mod">
          <ac:chgData name="Andreas" userId="9d9beba6-c052-407a-8599-c781a677a996" providerId="ADAL" clId="{1B7CF67B-5515-4C9F-825D-072B1C4F5900}" dt="2021-11-18T08:48:46.208" v="735" actId="26606"/>
          <ac:spMkLst>
            <pc:docMk/>
            <pc:sldMk cId="2830768665" sldId="301"/>
            <ac:spMk id="185" creationId="{00000000-0000-0000-0000-000000000000}"/>
          </ac:spMkLst>
        </pc:spChg>
        <pc:spChg chg="mod">
          <ac:chgData name="Andreas" userId="9d9beba6-c052-407a-8599-c781a677a996" providerId="ADAL" clId="{1B7CF67B-5515-4C9F-825D-072B1C4F5900}" dt="2021-11-18T08:48:46.208" v="735" actId="26606"/>
          <ac:spMkLst>
            <pc:docMk/>
            <pc:sldMk cId="2830768665" sldId="301"/>
            <ac:spMk id="186" creationId="{00000000-0000-0000-0000-000000000000}"/>
          </ac:spMkLst>
        </pc:spChg>
        <pc:spChg chg="add mod">
          <ac:chgData name="Andreas" userId="9d9beba6-c052-407a-8599-c781a677a996" providerId="ADAL" clId="{1B7CF67B-5515-4C9F-825D-072B1C4F5900}" dt="2021-11-18T08:48:46.208" v="735" actId="26606"/>
          <ac:spMkLst>
            <pc:docMk/>
            <pc:sldMk cId="2830768665" sldId="301"/>
            <ac:spMk id="193" creationId="{27F30182-FE07-46A0-B975-AA83D637BA8C}"/>
          </ac:spMkLst>
        </pc:spChg>
        <pc:spChg chg="add mod">
          <ac:chgData name="Andreas" userId="9d9beba6-c052-407a-8599-c781a677a996" providerId="ADAL" clId="{1B7CF67B-5515-4C9F-825D-072B1C4F5900}" dt="2021-11-18T08:48:46.208" v="735" actId="26606"/>
          <ac:spMkLst>
            <pc:docMk/>
            <pc:sldMk cId="2830768665" sldId="301"/>
            <ac:spMk id="195" creationId="{83E3FD17-39DE-4946-8B62-4A4A06906652}"/>
          </ac:spMkLst>
        </pc:spChg>
        <pc:picChg chg="mod ord">
          <ac:chgData name="Andreas" userId="9d9beba6-c052-407a-8599-c781a677a996" providerId="ADAL" clId="{1B7CF67B-5515-4C9F-825D-072B1C4F5900}" dt="2021-11-18T08:48:46.208" v="735" actId="26606"/>
          <ac:picMkLst>
            <pc:docMk/>
            <pc:sldMk cId="2830768665" sldId="301"/>
            <ac:picMk id="188" creationId="{00000000-0000-0000-0000-000000000000}"/>
          </ac:picMkLst>
        </pc:picChg>
      </pc:sldChg>
      <pc:sldChg chg="addSp modSp add mod modTransition chgLayout">
        <pc:chgData name="Andreas" userId="9d9beba6-c052-407a-8599-c781a677a996" providerId="ADAL" clId="{1B7CF67B-5515-4C9F-825D-072B1C4F5900}" dt="2021-11-18T08:48:35.446" v="734" actId="26606"/>
        <pc:sldMkLst>
          <pc:docMk/>
          <pc:sldMk cId="1764870061" sldId="302"/>
        </pc:sldMkLst>
        <pc:spChg chg="mod">
          <ac:chgData name="Andreas" userId="9d9beba6-c052-407a-8599-c781a677a996" providerId="ADAL" clId="{1B7CF67B-5515-4C9F-825D-072B1C4F5900}" dt="2021-11-18T08:48:35.446" v="734" actId="26606"/>
          <ac:spMkLst>
            <pc:docMk/>
            <pc:sldMk cId="1764870061" sldId="302"/>
            <ac:spMk id="185" creationId="{00000000-0000-0000-0000-000000000000}"/>
          </ac:spMkLst>
        </pc:spChg>
        <pc:spChg chg="mod">
          <ac:chgData name="Andreas" userId="9d9beba6-c052-407a-8599-c781a677a996" providerId="ADAL" clId="{1B7CF67B-5515-4C9F-825D-072B1C4F5900}" dt="2021-11-18T08:48:35.446" v="734" actId="26606"/>
          <ac:spMkLst>
            <pc:docMk/>
            <pc:sldMk cId="1764870061" sldId="302"/>
            <ac:spMk id="186" creationId="{00000000-0000-0000-0000-000000000000}"/>
          </ac:spMkLst>
        </pc:spChg>
        <pc:spChg chg="add mod">
          <ac:chgData name="Andreas" userId="9d9beba6-c052-407a-8599-c781a677a996" providerId="ADAL" clId="{1B7CF67B-5515-4C9F-825D-072B1C4F5900}" dt="2021-11-18T08:48:35.446" v="734" actId="26606"/>
          <ac:spMkLst>
            <pc:docMk/>
            <pc:sldMk cId="1764870061" sldId="302"/>
            <ac:spMk id="193" creationId="{989A130E-1AC6-451F-9083-96A2C4618E5A}"/>
          </ac:spMkLst>
        </pc:spChg>
        <pc:spChg chg="add mod">
          <ac:chgData name="Andreas" userId="9d9beba6-c052-407a-8599-c781a677a996" providerId="ADAL" clId="{1B7CF67B-5515-4C9F-825D-072B1C4F5900}" dt="2021-11-18T08:48:35.446" v="734" actId="26606"/>
          <ac:spMkLst>
            <pc:docMk/>
            <pc:sldMk cId="1764870061" sldId="302"/>
            <ac:spMk id="195" creationId="{0E0C588F-17B2-4EE8-9D4D-012AD40A8831}"/>
          </ac:spMkLst>
        </pc:spChg>
        <pc:picChg chg="mod ord">
          <ac:chgData name="Andreas" userId="9d9beba6-c052-407a-8599-c781a677a996" providerId="ADAL" clId="{1B7CF67B-5515-4C9F-825D-072B1C4F5900}" dt="2021-11-18T08:48:35.446" v="734" actId="26606"/>
          <ac:picMkLst>
            <pc:docMk/>
            <pc:sldMk cId="1764870061" sldId="302"/>
            <ac:picMk id="188" creationId="{00000000-0000-0000-0000-000000000000}"/>
          </ac:picMkLst>
        </pc:picChg>
      </pc:sldChg>
      <pc:sldChg chg="addSp modSp add mod modTransition chgLayout">
        <pc:chgData name="Andreas" userId="9d9beba6-c052-407a-8599-c781a677a996" providerId="ADAL" clId="{1B7CF67B-5515-4C9F-825D-072B1C4F5900}" dt="2021-11-18T09:01:24.847" v="851" actId="166"/>
        <pc:sldMkLst>
          <pc:docMk/>
          <pc:sldMk cId="1114236349" sldId="303"/>
        </pc:sldMkLst>
        <pc:spChg chg="mod ord">
          <ac:chgData name="Andreas" userId="9d9beba6-c052-407a-8599-c781a677a996" providerId="ADAL" clId="{1B7CF67B-5515-4C9F-825D-072B1C4F5900}" dt="2021-11-18T09:01:12.474" v="849" actId="166"/>
          <ac:spMkLst>
            <pc:docMk/>
            <pc:sldMk cId="1114236349" sldId="303"/>
            <ac:spMk id="185" creationId="{00000000-0000-0000-0000-000000000000}"/>
          </ac:spMkLst>
        </pc:spChg>
        <pc:spChg chg="mod ord">
          <ac:chgData name="Andreas" userId="9d9beba6-c052-407a-8599-c781a677a996" providerId="ADAL" clId="{1B7CF67B-5515-4C9F-825D-072B1C4F5900}" dt="2021-11-18T09:01:24.847" v="851" actId="166"/>
          <ac:spMkLst>
            <pc:docMk/>
            <pc:sldMk cId="1114236349" sldId="303"/>
            <ac:spMk id="186" creationId="{00000000-0000-0000-0000-000000000000}"/>
          </ac:spMkLst>
        </pc:spChg>
        <pc:spChg chg="add mod">
          <ac:chgData name="Andreas" userId="9d9beba6-c052-407a-8599-c781a677a996" providerId="ADAL" clId="{1B7CF67B-5515-4C9F-825D-072B1C4F5900}" dt="2021-11-18T09:01:05.712" v="847" actId="26606"/>
          <ac:spMkLst>
            <pc:docMk/>
            <pc:sldMk cId="1114236349" sldId="303"/>
            <ac:spMk id="193" creationId="{B19B3B57-0683-43B1-A93E-8AA536CFCDC7}"/>
          </ac:spMkLst>
        </pc:spChg>
        <pc:spChg chg="add mod">
          <ac:chgData name="Andreas" userId="9d9beba6-c052-407a-8599-c781a677a996" providerId="ADAL" clId="{1B7CF67B-5515-4C9F-825D-072B1C4F5900}" dt="2021-11-18T09:01:05.712" v="847" actId="26606"/>
          <ac:spMkLst>
            <pc:docMk/>
            <pc:sldMk cId="1114236349" sldId="303"/>
            <ac:spMk id="195" creationId="{92AB2069-F8FE-43D1-9450-94142EAF5324}"/>
          </ac:spMkLst>
        </pc:spChg>
        <pc:picChg chg="mod ord">
          <ac:chgData name="Andreas" userId="9d9beba6-c052-407a-8599-c781a677a996" providerId="ADAL" clId="{1B7CF67B-5515-4C9F-825D-072B1C4F5900}" dt="2021-11-18T09:01:05.712" v="847" actId="26606"/>
          <ac:picMkLst>
            <pc:docMk/>
            <pc:sldMk cId="1114236349" sldId="303"/>
            <ac:picMk id="188" creationId="{00000000-0000-0000-0000-000000000000}"/>
          </ac:picMkLst>
        </pc:picChg>
      </pc:sldChg>
      <pc:sldChg chg="addSp delSp modSp add mod modTransition chgLayout">
        <pc:chgData name="Andreas" userId="9d9beba6-c052-407a-8599-c781a677a996" providerId="ADAL" clId="{1B7CF67B-5515-4C9F-825D-072B1C4F5900}" dt="2021-11-18T09:01:39.956" v="854" actId="14100"/>
        <pc:sldMkLst>
          <pc:docMk/>
          <pc:sldMk cId="2366142093" sldId="304"/>
        </pc:sldMkLst>
        <pc:spChg chg="add mod">
          <ac:chgData name="Andreas" userId="9d9beba6-c052-407a-8599-c781a677a996" providerId="ADAL" clId="{1B7CF67B-5515-4C9F-825D-072B1C4F5900}" dt="2021-11-18T09:01:31.058" v="852" actId="26606"/>
          <ac:spMkLst>
            <pc:docMk/>
            <pc:sldMk cId="2366142093" sldId="304"/>
            <ac:spMk id="122" creationId="{55798886-0EBF-48AD-947C-67B70AC4DF13}"/>
          </ac:spMkLst>
        </pc:spChg>
        <pc:spChg chg="add mod">
          <ac:chgData name="Andreas" userId="9d9beba6-c052-407a-8599-c781a677a996" providerId="ADAL" clId="{1B7CF67B-5515-4C9F-825D-072B1C4F5900}" dt="2021-11-18T09:01:31.058" v="852" actId="26606"/>
          <ac:spMkLst>
            <pc:docMk/>
            <pc:sldMk cId="2366142093" sldId="304"/>
            <ac:spMk id="124" creationId="{D87A26C8-F3F7-4F51-BE71-B0EB7CA3CE01}"/>
          </ac:spMkLst>
        </pc:spChg>
        <pc:spChg chg="mod ord">
          <ac:chgData name="Andreas" userId="9d9beba6-c052-407a-8599-c781a677a996" providerId="ADAL" clId="{1B7CF67B-5515-4C9F-825D-072B1C4F5900}" dt="2021-11-18T09:01:33.939" v="853" actId="14100"/>
          <ac:spMkLst>
            <pc:docMk/>
            <pc:sldMk cId="2366142093" sldId="304"/>
            <ac:spMk id="180" creationId="{00000000-0000-0000-0000-000000000000}"/>
          </ac:spMkLst>
        </pc:spChg>
        <pc:spChg chg="mod">
          <ac:chgData name="Andreas" userId="9d9beba6-c052-407a-8599-c781a677a996" providerId="ADAL" clId="{1B7CF67B-5515-4C9F-825D-072B1C4F5900}" dt="2021-11-18T09:01:31.058" v="852" actId="26606"/>
          <ac:spMkLst>
            <pc:docMk/>
            <pc:sldMk cId="2366142093" sldId="304"/>
            <ac:spMk id="181" creationId="{00000000-0000-0000-0000-000000000000}"/>
          </ac:spMkLst>
        </pc:spChg>
        <pc:spChg chg="add del mod">
          <ac:chgData name="Andreas" userId="9d9beba6-c052-407a-8599-c781a677a996" providerId="ADAL" clId="{1B7CF67B-5515-4C9F-825D-072B1C4F5900}" dt="2021-11-18T08:49:34.777" v="740" actId="26606"/>
          <ac:spMkLst>
            <pc:docMk/>
            <pc:sldMk cId="2366142093" sldId="304"/>
            <ac:spMk id="186" creationId="{4C4CADEB-20D8-4CD7-BC2C-B0BCB91553A4}"/>
          </ac:spMkLst>
        </pc:spChg>
        <pc:picChg chg="mod ord">
          <ac:chgData name="Andreas" userId="9d9beba6-c052-407a-8599-c781a677a996" providerId="ADAL" clId="{1B7CF67B-5515-4C9F-825D-072B1C4F5900}" dt="2021-11-18T09:01:39.956" v="854" actId="14100"/>
          <ac:picMkLst>
            <pc:docMk/>
            <pc:sldMk cId="2366142093" sldId="304"/>
            <ac:picMk id="7" creationId="{C84352A4-AB28-4476-8C99-36C151B2E1AB}"/>
          </ac:picMkLst>
        </pc:picChg>
      </pc:sldChg>
      <pc:sldChg chg="addSp modSp add mod modTransition modClrScheme chgLayout">
        <pc:chgData name="Andreas" userId="9d9beba6-c052-407a-8599-c781a677a996" providerId="ADAL" clId="{1B7CF67B-5515-4C9F-825D-072B1C4F5900}" dt="2021-11-18T08:50:03.201" v="745" actId="26606"/>
        <pc:sldMkLst>
          <pc:docMk/>
          <pc:sldMk cId="2056271996" sldId="305"/>
        </pc:sldMkLst>
        <pc:spChg chg="add mod">
          <ac:chgData name="Andreas" userId="9d9beba6-c052-407a-8599-c781a677a996" providerId="ADAL" clId="{1B7CF67B-5515-4C9F-825D-072B1C4F5900}" dt="2021-11-18T08:50:03.201" v="745" actId="26606"/>
          <ac:spMkLst>
            <pc:docMk/>
            <pc:sldMk cId="2056271996" sldId="305"/>
            <ac:spMk id="122" creationId="{CF6C30DC-0D74-468A-83D8-63EAEBDB154D}"/>
          </ac:spMkLst>
        </pc:spChg>
        <pc:spChg chg="add mod">
          <ac:chgData name="Andreas" userId="9d9beba6-c052-407a-8599-c781a677a996" providerId="ADAL" clId="{1B7CF67B-5515-4C9F-825D-072B1C4F5900}" dt="2021-11-18T08:50:03.201" v="745" actId="26606"/>
          <ac:spMkLst>
            <pc:docMk/>
            <pc:sldMk cId="2056271996" sldId="305"/>
            <ac:spMk id="124" creationId="{00C78FFF-C93B-497A-BA9B-DC70EDB4B49C}"/>
          </ac:spMkLst>
        </pc:spChg>
        <pc:spChg chg="add mod">
          <ac:chgData name="Andreas" userId="9d9beba6-c052-407a-8599-c781a677a996" providerId="ADAL" clId="{1B7CF67B-5515-4C9F-825D-072B1C4F5900}" dt="2021-11-18T08:50:03.201" v="745" actId="26606"/>
          <ac:spMkLst>
            <pc:docMk/>
            <pc:sldMk cId="2056271996" sldId="305"/>
            <ac:spMk id="126" creationId="{4F2B3C5D-A69A-490B-998F-3234750495F2}"/>
          </ac:spMkLst>
        </pc:spChg>
        <pc:spChg chg="mod ord">
          <ac:chgData name="Andreas" userId="9d9beba6-c052-407a-8599-c781a677a996" providerId="ADAL" clId="{1B7CF67B-5515-4C9F-825D-072B1C4F5900}" dt="2021-11-18T08:50:03.201" v="745" actId="26606"/>
          <ac:spMkLst>
            <pc:docMk/>
            <pc:sldMk cId="2056271996" sldId="305"/>
            <ac:spMk id="180" creationId="{00000000-0000-0000-0000-000000000000}"/>
          </ac:spMkLst>
        </pc:spChg>
        <pc:spChg chg="mod">
          <ac:chgData name="Andreas" userId="9d9beba6-c052-407a-8599-c781a677a996" providerId="ADAL" clId="{1B7CF67B-5515-4C9F-825D-072B1C4F5900}" dt="2021-11-18T08:50:03.201" v="745" actId="26606"/>
          <ac:spMkLst>
            <pc:docMk/>
            <pc:sldMk cId="2056271996" sldId="305"/>
            <ac:spMk id="181" creationId="{00000000-0000-0000-0000-000000000000}"/>
          </ac:spMkLst>
        </pc:spChg>
      </pc:sldChg>
      <pc:sldChg chg="addSp delSp modSp add mod modTransition modClrScheme chgLayout">
        <pc:chgData name="Andreas" userId="9d9beba6-c052-407a-8599-c781a677a996" providerId="ADAL" clId="{1B7CF67B-5515-4C9F-825D-072B1C4F5900}" dt="2021-11-18T08:50:34.214" v="752" actId="1076"/>
        <pc:sldMkLst>
          <pc:docMk/>
          <pc:sldMk cId="4218830267" sldId="306"/>
        </pc:sldMkLst>
        <pc:spChg chg="add del mod">
          <ac:chgData name="Andreas" userId="9d9beba6-c052-407a-8599-c781a677a996" providerId="ADAL" clId="{1B7CF67B-5515-4C9F-825D-072B1C4F5900}" dt="2021-11-18T08:50:14.251" v="747" actId="478"/>
          <ac:spMkLst>
            <pc:docMk/>
            <pc:sldMk cId="4218830267" sldId="306"/>
            <ac:spMk id="121" creationId="{7422AA7B-0AA2-40BC-824E-966BAFAF2CF4}"/>
          </ac:spMkLst>
        </pc:spChg>
        <pc:spChg chg="add mod">
          <ac:chgData name="Andreas" userId="9d9beba6-c052-407a-8599-c781a677a996" providerId="ADAL" clId="{1B7CF67B-5515-4C9F-825D-072B1C4F5900}" dt="2021-11-18T08:50:11.406" v="746" actId="26606"/>
          <ac:spMkLst>
            <pc:docMk/>
            <pc:sldMk cId="4218830267" sldId="306"/>
            <ac:spMk id="123" creationId="{00AD8E6E-2991-4AC4-AA00-DAF84B7586F1}"/>
          </ac:spMkLst>
        </pc:spChg>
        <pc:spChg chg="add mod">
          <ac:chgData name="Andreas" userId="9d9beba6-c052-407a-8599-c781a677a996" providerId="ADAL" clId="{1B7CF67B-5515-4C9F-825D-072B1C4F5900}" dt="2021-11-18T08:50:11.406" v="746" actId="26606"/>
          <ac:spMkLst>
            <pc:docMk/>
            <pc:sldMk cId="4218830267" sldId="306"/>
            <ac:spMk id="125" creationId="{59280E3C-4397-4C41-A0DE-5756473DB51F}"/>
          </ac:spMkLst>
        </pc:spChg>
        <pc:spChg chg="mod">
          <ac:chgData name="Andreas" userId="9d9beba6-c052-407a-8599-c781a677a996" providerId="ADAL" clId="{1B7CF67B-5515-4C9F-825D-072B1C4F5900}" dt="2021-11-18T08:50:20.761" v="749" actId="14100"/>
          <ac:spMkLst>
            <pc:docMk/>
            <pc:sldMk cId="4218830267" sldId="306"/>
            <ac:spMk id="180" creationId="{00000000-0000-0000-0000-000000000000}"/>
          </ac:spMkLst>
        </pc:spChg>
        <pc:picChg chg="mod">
          <ac:chgData name="Andreas" userId="9d9beba6-c052-407a-8599-c781a677a996" providerId="ADAL" clId="{1B7CF67B-5515-4C9F-825D-072B1C4F5900}" dt="2021-11-18T08:50:34.214" v="752" actId="1076"/>
          <ac:picMkLst>
            <pc:docMk/>
            <pc:sldMk cId="4218830267" sldId="306"/>
            <ac:picMk id="8" creationId="{E9E7E20F-3552-475B-81E3-2BBD3D28CA0B}"/>
          </ac:picMkLst>
        </pc:picChg>
      </pc:sldChg>
      <pc:sldChg chg="addSp modSp add mod modTransition modClrScheme chgLayout">
        <pc:chgData name="Andreas" userId="9d9beba6-c052-407a-8599-c781a677a996" providerId="ADAL" clId="{1B7CF67B-5515-4C9F-825D-072B1C4F5900}" dt="2021-11-18T08:50:39.016" v="753" actId="26606"/>
        <pc:sldMkLst>
          <pc:docMk/>
          <pc:sldMk cId="2598687135" sldId="307"/>
        </pc:sldMkLst>
        <pc:spChg chg="add mod">
          <ac:chgData name="Andreas" userId="9d9beba6-c052-407a-8599-c781a677a996" providerId="ADAL" clId="{1B7CF67B-5515-4C9F-825D-072B1C4F5900}" dt="2021-11-18T08:50:39.016" v="753" actId="26606"/>
          <ac:spMkLst>
            <pc:docMk/>
            <pc:sldMk cId="2598687135" sldId="307"/>
            <ac:spMk id="121" creationId="{A09EC6F3-6194-43E3-9095-1099DE8B88BD}"/>
          </ac:spMkLst>
        </pc:spChg>
        <pc:spChg chg="add mod">
          <ac:chgData name="Andreas" userId="9d9beba6-c052-407a-8599-c781a677a996" providerId="ADAL" clId="{1B7CF67B-5515-4C9F-825D-072B1C4F5900}" dt="2021-11-18T08:50:39.016" v="753" actId="26606"/>
          <ac:spMkLst>
            <pc:docMk/>
            <pc:sldMk cId="2598687135" sldId="307"/>
            <ac:spMk id="123" creationId="{AD7D334A-A231-47F5-BB3C-7DC4234311A2}"/>
          </ac:spMkLst>
        </pc:spChg>
        <pc:spChg chg="add mod">
          <ac:chgData name="Andreas" userId="9d9beba6-c052-407a-8599-c781a677a996" providerId="ADAL" clId="{1B7CF67B-5515-4C9F-825D-072B1C4F5900}" dt="2021-11-18T08:50:39.016" v="753" actId="26606"/>
          <ac:spMkLst>
            <pc:docMk/>
            <pc:sldMk cId="2598687135" sldId="307"/>
            <ac:spMk id="125" creationId="{E4A88F0B-60F7-42EF-BD94-1DCA1BF644B2}"/>
          </ac:spMkLst>
        </pc:spChg>
        <pc:spChg chg="mod ord">
          <ac:chgData name="Andreas" userId="9d9beba6-c052-407a-8599-c781a677a996" providerId="ADAL" clId="{1B7CF67B-5515-4C9F-825D-072B1C4F5900}" dt="2021-11-18T08:50:39.016" v="753" actId="26606"/>
          <ac:spMkLst>
            <pc:docMk/>
            <pc:sldMk cId="2598687135" sldId="307"/>
            <ac:spMk id="180" creationId="{00000000-0000-0000-0000-000000000000}"/>
          </ac:spMkLst>
        </pc:spChg>
        <pc:picChg chg="mod">
          <ac:chgData name="Andreas" userId="9d9beba6-c052-407a-8599-c781a677a996" providerId="ADAL" clId="{1B7CF67B-5515-4C9F-825D-072B1C4F5900}" dt="2021-11-18T08:50:39.016" v="753" actId="26606"/>
          <ac:picMkLst>
            <pc:docMk/>
            <pc:sldMk cId="2598687135" sldId="307"/>
            <ac:picMk id="8" creationId="{BC271D6B-318E-4858-90CD-51DB57CC3208}"/>
          </ac:picMkLst>
        </pc:picChg>
      </pc:sldChg>
      <pc:sldChg chg="addSp modSp add mod modTransition modClrScheme chgLayout">
        <pc:chgData name="Andreas" userId="9d9beba6-c052-407a-8599-c781a677a996" providerId="ADAL" clId="{1B7CF67B-5515-4C9F-825D-072B1C4F5900}" dt="2021-11-18T08:50:48.714" v="754" actId="26606"/>
        <pc:sldMkLst>
          <pc:docMk/>
          <pc:sldMk cId="2356507422" sldId="308"/>
        </pc:sldMkLst>
        <pc:spChg chg="add mod">
          <ac:chgData name="Andreas" userId="9d9beba6-c052-407a-8599-c781a677a996" providerId="ADAL" clId="{1B7CF67B-5515-4C9F-825D-072B1C4F5900}" dt="2021-11-18T08:50:48.714" v="754" actId="26606"/>
          <ac:spMkLst>
            <pc:docMk/>
            <pc:sldMk cId="2356507422" sldId="308"/>
            <ac:spMk id="121" creationId="{DB601132-8A64-4EA7-8411-6277FE51DFE9}"/>
          </ac:spMkLst>
        </pc:spChg>
        <pc:spChg chg="add mod">
          <ac:chgData name="Andreas" userId="9d9beba6-c052-407a-8599-c781a677a996" providerId="ADAL" clId="{1B7CF67B-5515-4C9F-825D-072B1C4F5900}" dt="2021-11-18T08:50:48.714" v="754" actId="26606"/>
          <ac:spMkLst>
            <pc:docMk/>
            <pc:sldMk cId="2356507422" sldId="308"/>
            <ac:spMk id="123" creationId="{C78BD38F-F342-479C-846A-6FEDBF9D435A}"/>
          </ac:spMkLst>
        </pc:spChg>
        <pc:spChg chg="add mod">
          <ac:chgData name="Andreas" userId="9d9beba6-c052-407a-8599-c781a677a996" providerId="ADAL" clId="{1B7CF67B-5515-4C9F-825D-072B1C4F5900}" dt="2021-11-18T08:50:48.714" v="754" actId="26606"/>
          <ac:spMkLst>
            <pc:docMk/>
            <pc:sldMk cId="2356507422" sldId="308"/>
            <ac:spMk id="125" creationId="{14057621-7913-42D1-91CB-752E232C2385}"/>
          </ac:spMkLst>
        </pc:spChg>
        <pc:spChg chg="mod ord">
          <ac:chgData name="Andreas" userId="9d9beba6-c052-407a-8599-c781a677a996" providerId="ADAL" clId="{1B7CF67B-5515-4C9F-825D-072B1C4F5900}" dt="2021-11-18T08:50:48.714" v="754" actId="26606"/>
          <ac:spMkLst>
            <pc:docMk/>
            <pc:sldMk cId="2356507422" sldId="308"/>
            <ac:spMk id="180" creationId="{00000000-0000-0000-0000-000000000000}"/>
          </ac:spMkLst>
        </pc:spChg>
        <pc:picChg chg="mod">
          <ac:chgData name="Andreas" userId="9d9beba6-c052-407a-8599-c781a677a996" providerId="ADAL" clId="{1B7CF67B-5515-4C9F-825D-072B1C4F5900}" dt="2021-11-18T08:50:48.714" v="754" actId="26606"/>
          <ac:picMkLst>
            <pc:docMk/>
            <pc:sldMk cId="2356507422" sldId="308"/>
            <ac:picMk id="8" creationId="{EFB25233-BE7E-4449-B744-AC3117D3B24F}"/>
          </ac:picMkLst>
        </pc:picChg>
      </pc:sldChg>
      <pc:sldChg chg="addSp modSp add mod modTransition modClrScheme chgLayout">
        <pc:chgData name="Andreas" userId="9d9beba6-c052-407a-8599-c781a677a996" providerId="ADAL" clId="{1B7CF67B-5515-4C9F-825D-072B1C4F5900}" dt="2021-11-18T08:50:53.060" v="755" actId="26606"/>
        <pc:sldMkLst>
          <pc:docMk/>
          <pc:sldMk cId="1079619010" sldId="309"/>
        </pc:sldMkLst>
        <pc:spChg chg="add mod">
          <ac:chgData name="Andreas" userId="9d9beba6-c052-407a-8599-c781a677a996" providerId="ADAL" clId="{1B7CF67B-5515-4C9F-825D-072B1C4F5900}" dt="2021-11-18T08:50:53.060" v="755" actId="26606"/>
          <ac:spMkLst>
            <pc:docMk/>
            <pc:sldMk cId="1079619010" sldId="309"/>
            <ac:spMk id="121" creationId="{975BB198-56D3-4C75-9AA8-4058BAE52D98}"/>
          </ac:spMkLst>
        </pc:spChg>
        <pc:spChg chg="add mod">
          <ac:chgData name="Andreas" userId="9d9beba6-c052-407a-8599-c781a677a996" providerId="ADAL" clId="{1B7CF67B-5515-4C9F-825D-072B1C4F5900}" dt="2021-11-18T08:50:53.060" v="755" actId="26606"/>
          <ac:spMkLst>
            <pc:docMk/>
            <pc:sldMk cId="1079619010" sldId="309"/>
            <ac:spMk id="123" creationId="{1EF55593-55E7-4E05-83C1-8126D015C7EB}"/>
          </ac:spMkLst>
        </pc:spChg>
        <pc:spChg chg="add mod">
          <ac:chgData name="Andreas" userId="9d9beba6-c052-407a-8599-c781a677a996" providerId="ADAL" clId="{1B7CF67B-5515-4C9F-825D-072B1C4F5900}" dt="2021-11-18T08:50:53.060" v="755" actId="26606"/>
          <ac:spMkLst>
            <pc:docMk/>
            <pc:sldMk cId="1079619010" sldId="309"/>
            <ac:spMk id="125" creationId="{0B64D0E1-3C99-4E0E-BA8E-B53CD1B7F18C}"/>
          </ac:spMkLst>
        </pc:spChg>
        <pc:spChg chg="mod ord">
          <ac:chgData name="Andreas" userId="9d9beba6-c052-407a-8599-c781a677a996" providerId="ADAL" clId="{1B7CF67B-5515-4C9F-825D-072B1C4F5900}" dt="2021-11-18T08:50:53.060" v="755" actId="26606"/>
          <ac:spMkLst>
            <pc:docMk/>
            <pc:sldMk cId="1079619010" sldId="309"/>
            <ac:spMk id="180" creationId="{00000000-0000-0000-0000-000000000000}"/>
          </ac:spMkLst>
        </pc:spChg>
        <pc:picChg chg="mod">
          <ac:chgData name="Andreas" userId="9d9beba6-c052-407a-8599-c781a677a996" providerId="ADAL" clId="{1B7CF67B-5515-4C9F-825D-072B1C4F5900}" dt="2021-11-18T08:50:53.060" v="755" actId="26606"/>
          <ac:picMkLst>
            <pc:docMk/>
            <pc:sldMk cId="1079619010" sldId="309"/>
            <ac:picMk id="4" creationId="{721185DF-2082-4F0C-B262-6E5F42A7A6AE}"/>
          </ac:picMkLst>
        </pc:picChg>
      </pc:sldChg>
      <pc:sldChg chg="addSp modSp add mod modTransition modClrScheme chgLayout">
        <pc:chgData name="Andreas" userId="9d9beba6-c052-407a-8599-c781a677a996" providerId="ADAL" clId="{1B7CF67B-5515-4C9F-825D-072B1C4F5900}" dt="2021-11-18T08:51:03.623" v="756" actId="26606"/>
        <pc:sldMkLst>
          <pc:docMk/>
          <pc:sldMk cId="4090527258" sldId="310"/>
        </pc:sldMkLst>
        <pc:spChg chg="add mod">
          <ac:chgData name="Andreas" userId="9d9beba6-c052-407a-8599-c781a677a996" providerId="ADAL" clId="{1B7CF67B-5515-4C9F-825D-072B1C4F5900}" dt="2021-11-18T08:51:03.623" v="756" actId="26606"/>
          <ac:spMkLst>
            <pc:docMk/>
            <pc:sldMk cId="4090527258" sldId="310"/>
            <ac:spMk id="121" creationId="{D87CCE91-EBB2-4B98-B85A-E1B7F24C4A7A}"/>
          </ac:spMkLst>
        </pc:spChg>
        <pc:spChg chg="add mod">
          <ac:chgData name="Andreas" userId="9d9beba6-c052-407a-8599-c781a677a996" providerId="ADAL" clId="{1B7CF67B-5515-4C9F-825D-072B1C4F5900}" dt="2021-11-18T08:51:03.623" v="756" actId="26606"/>
          <ac:spMkLst>
            <pc:docMk/>
            <pc:sldMk cId="4090527258" sldId="310"/>
            <ac:spMk id="123" creationId="{06425498-1038-4965-87A7-3E963381CF72}"/>
          </ac:spMkLst>
        </pc:spChg>
        <pc:spChg chg="add mod">
          <ac:chgData name="Andreas" userId="9d9beba6-c052-407a-8599-c781a677a996" providerId="ADAL" clId="{1B7CF67B-5515-4C9F-825D-072B1C4F5900}" dt="2021-11-18T08:51:03.623" v="756" actId="26606"/>
          <ac:spMkLst>
            <pc:docMk/>
            <pc:sldMk cId="4090527258" sldId="310"/>
            <ac:spMk id="125" creationId="{99A993EC-6DEC-460D-9459-B02C852CE7C4}"/>
          </ac:spMkLst>
        </pc:spChg>
        <pc:spChg chg="mod ord">
          <ac:chgData name="Andreas" userId="9d9beba6-c052-407a-8599-c781a677a996" providerId="ADAL" clId="{1B7CF67B-5515-4C9F-825D-072B1C4F5900}" dt="2021-11-18T08:51:03.623" v="756" actId="26606"/>
          <ac:spMkLst>
            <pc:docMk/>
            <pc:sldMk cId="4090527258" sldId="310"/>
            <ac:spMk id="180" creationId="{00000000-0000-0000-0000-000000000000}"/>
          </ac:spMkLst>
        </pc:spChg>
        <pc:picChg chg="mod">
          <ac:chgData name="Andreas" userId="9d9beba6-c052-407a-8599-c781a677a996" providerId="ADAL" clId="{1B7CF67B-5515-4C9F-825D-072B1C4F5900}" dt="2021-11-18T08:51:03.623" v="756" actId="26606"/>
          <ac:picMkLst>
            <pc:docMk/>
            <pc:sldMk cId="4090527258" sldId="310"/>
            <ac:picMk id="4" creationId="{A4EFF177-C43A-41B7-8F34-BA279DAF1FA6}"/>
          </ac:picMkLst>
        </pc:picChg>
      </pc:sldChg>
      <pc:sldChg chg="addSp delSp modSp add mod modTransition modClrScheme chgLayout">
        <pc:chgData name="Andreas" userId="9d9beba6-c052-407a-8599-c781a677a996" providerId="ADAL" clId="{1B7CF67B-5515-4C9F-825D-072B1C4F5900}" dt="2021-11-18T08:52:09.954" v="772"/>
        <pc:sldMkLst>
          <pc:docMk/>
          <pc:sldMk cId="2431522764" sldId="311"/>
        </pc:sldMkLst>
        <pc:spChg chg="add del mod">
          <ac:chgData name="Andreas" userId="9d9beba6-c052-407a-8599-c781a677a996" providerId="ADAL" clId="{1B7CF67B-5515-4C9F-825D-072B1C4F5900}" dt="2021-11-18T08:51:20.954" v="758" actId="26606"/>
          <ac:spMkLst>
            <pc:docMk/>
            <pc:sldMk cId="2431522764" sldId="311"/>
            <ac:spMk id="121" creationId="{48B7BF9A-90B3-4EB7-8592-0357947DEEC8}"/>
          </ac:spMkLst>
        </pc:spChg>
        <pc:spChg chg="add del mod">
          <ac:chgData name="Andreas" userId="9d9beba6-c052-407a-8599-c781a677a996" providerId="ADAL" clId="{1B7CF67B-5515-4C9F-825D-072B1C4F5900}" dt="2021-11-18T08:51:20.954" v="758" actId="26606"/>
          <ac:spMkLst>
            <pc:docMk/>
            <pc:sldMk cId="2431522764" sldId="311"/>
            <ac:spMk id="123" creationId="{3A76E64F-4635-4B66-951A-7BDA9700BDDB}"/>
          </ac:spMkLst>
        </pc:spChg>
        <pc:spChg chg="add del mod">
          <ac:chgData name="Andreas" userId="9d9beba6-c052-407a-8599-c781a677a996" providerId="ADAL" clId="{1B7CF67B-5515-4C9F-825D-072B1C4F5900}" dt="2021-11-18T08:51:34.351" v="766" actId="26606"/>
          <ac:spMkLst>
            <pc:docMk/>
            <pc:sldMk cId="2431522764" sldId="311"/>
            <ac:spMk id="125" creationId="{D0E9316F-64B1-4538-BA4B-B4A4E131C71E}"/>
          </ac:spMkLst>
        </pc:spChg>
        <pc:spChg chg="add del mod">
          <ac:chgData name="Andreas" userId="9d9beba6-c052-407a-8599-c781a677a996" providerId="ADAL" clId="{1B7CF67B-5515-4C9F-825D-072B1C4F5900}" dt="2021-11-18T08:52:07.394" v="770" actId="478"/>
          <ac:spMkLst>
            <pc:docMk/>
            <pc:sldMk cId="2431522764" sldId="311"/>
            <ac:spMk id="127" creationId="{3E904F51-48D3-477E-BCD3-D60863D07FC9}"/>
          </ac:spMkLst>
        </pc:spChg>
        <pc:spChg chg="mod ord">
          <ac:chgData name="Andreas" userId="9d9beba6-c052-407a-8599-c781a677a996" providerId="ADAL" clId="{1B7CF67B-5515-4C9F-825D-072B1C4F5900}" dt="2021-11-18T08:52:02.267" v="769" actId="26606"/>
          <ac:spMkLst>
            <pc:docMk/>
            <pc:sldMk cId="2431522764" sldId="311"/>
            <ac:spMk id="180" creationId="{00000000-0000-0000-0000-000000000000}"/>
          </ac:spMkLst>
        </pc:spChg>
        <pc:spChg chg="add del mod">
          <ac:chgData name="Andreas" userId="9d9beba6-c052-407a-8599-c781a677a996" providerId="ADAL" clId="{1B7CF67B-5515-4C9F-825D-072B1C4F5900}" dt="2021-11-18T08:51:25.124" v="760" actId="26606"/>
          <ac:spMkLst>
            <pc:docMk/>
            <pc:sldMk cId="2431522764" sldId="311"/>
            <ac:spMk id="182" creationId="{362A12F9-9087-49B3-BB23-48F5D1A9ED6F}"/>
          </ac:spMkLst>
        </pc:spChg>
        <pc:spChg chg="add del mod">
          <ac:chgData name="Andreas" userId="9d9beba6-c052-407a-8599-c781a677a996" providerId="ADAL" clId="{1B7CF67B-5515-4C9F-825D-072B1C4F5900}" dt="2021-11-18T08:51:25.124" v="760" actId="26606"/>
          <ac:spMkLst>
            <pc:docMk/>
            <pc:sldMk cId="2431522764" sldId="311"/>
            <ac:spMk id="183" creationId="{A958F65E-71A7-443F-9F27-C72CD252FBBC}"/>
          </ac:spMkLst>
        </pc:spChg>
        <pc:spChg chg="add del mod">
          <ac:chgData name="Andreas" userId="9d9beba6-c052-407a-8599-c781a677a996" providerId="ADAL" clId="{1B7CF67B-5515-4C9F-825D-072B1C4F5900}" dt="2021-11-18T08:51:34.351" v="766" actId="26606"/>
          <ac:spMkLst>
            <pc:docMk/>
            <pc:sldMk cId="2431522764" sldId="311"/>
            <ac:spMk id="184" creationId="{09CF0C8B-909F-4A5E-8C2D-C36BEA150B88}"/>
          </ac:spMkLst>
        </pc:spChg>
        <pc:spChg chg="add del mod">
          <ac:chgData name="Andreas" userId="9d9beba6-c052-407a-8599-c781a677a996" providerId="ADAL" clId="{1B7CF67B-5515-4C9F-825D-072B1C4F5900}" dt="2021-11-18T08:51:28.135" v="762" actId="26606"/>
          <ac:spMkLst>
            <pc:docMk/>
            <pc:sldMk cId="2431522764" sldId="311"/>
            <ac:spMk id="185" creationId="{FA4AA8CC-A7D0-45B4-8661-58EE09E3AF4A}"/>
          </ac:spMkLst>
        </pc:spChg>
        <pc:spChg chg="add del mod">
          <ac:chgData name="Andreas" userId="9d9beba6-c052-407a-8599-c781a677a996" providerId="ADAL" clId="{1B7CF67B-5515-4C9F-825D-072B1C4F5900}" dt="2021-11-18T08:51:28.135" v="762" actId="26606"/>
          <ac:spMkLst>
            <pc:docMk/>
            <pc:sldMk cId="2431522764" sldId="311"/>
            <ac:spMk id="186" creationId="{F1D96C10-34F8-47E8-B1AE-3D7CA0E01D77}"/>
          </ac:spMkLst>
        </pc:spChg>
        <pc:spChg chg="add del mod">
          <ac:chgData name="Andreas" userId="9d9beba6-c052-407a-8599-c781a677a996" providerId="ADAL" clId="{1B7CF67B-5515-4C9F-825D-072B1C4F5900}" dt="2021-11-18T08:51:34.351" v="766" actId="26606"/>
          <ac:spMkLst>
            <pc:docMk/>
            <pc:sldMk cId="2431522764" sldId="311"/>
            <ac:spMk id="187" creationId="{57DB4D2F-C0F2-4FE2-90EB-0CDDF2C8D8FC}"/>
          </ac:spMkLst>
        </pc:spChg>
        <pc:spChg chg="add del mod">
          <ac:chgData name="Andreas" userId="9d9beba6-c052-407a-8599-c781a677a996" providerId="ADAL" clId="{1B7CF67B-5515-4C9F-825D-072B1C4F5900}" dt="2021-11-18T08:52:08.812" v="771" actId="478"/>
          <ac:spMkLst>
            <pc:docMk/>
            <pc:sldMk cId="2431522764" sldId="311"/>
            <ac:spMk id="188" creationId="{4062C75E-80AC-42E3-A3DD-6EC420CC782E}"/>
          </ac:spMkLst>
        </pc:spChg>
        <pc:spChg chg="add mod">
          <ac:chgData name="Andreas" userId="9d9beba6-c052-407a-8599-c781a677a996" providerId="ADAL" clId="{1B7CF67B-5515-4C9F-825D-072B1C4F5900}" dt="2021-11-18T08:52:02.267" v="769" actId="26606"/>
          <ac:spMkLst>
            <pc:docMk/>
            <pc:sldMk cId="2431522764" sldId="311"/>
            <ac:spMk id="189" creationId="{425AD3EB-1B6A-4CB8-AF6E-2C935729F1EE}"/>
          </ac:spMkLst>
        </pc:spChg>
        <pc:spChg chg="add mod">
          <ac:chgData name="Andreas" userId="9d9beba6-c052-407a-8599-c781a677a996" providerId="ADAL" clId="{1B7CF67B-5515-4C9F-825D-072B1C4F5900}" dt="2021-11-18T08:52:02.267" v="769" actId="26606"/>
          <ac:spMkLst>
            <pc:docMk/>
            <pc:sldMk cId="2431522764" sldId="311"/>
            <ac:spMk id="190" creationId="{950CC703-28F1-4DF5-A4C5-C3AC75B556A4}"/>
          </ac:spMkLst>
        </pc:spChg>
        <pc:picChg chg="del mod ord">
          <ac:chgData name="Andreas" userId="9d9beba6-c052-407a-8599-c781a677a996" providerId="ADAL" clId="{1B7CF67B-5515-4C9F-825D-072B1C4F5900}" dt="2021-11-18T08:51:53.072" v="768" actId="21"/>
          <ac:picMkLst>
            <pc:docMk/>
            <pc:sldMk cId="2431522764" sldId="311"/>
            <ac:picMk id="4" creationId="{486D6DDE-D8A9-4260-91B4-45DC90D2E969}"/>
          </ac:picMkLst>
        </pc:picChg>
        <pc:picChg chg="del mod ord">
          <ac:chgData name="Andreas" userId="9d9beba6-c052-407a-8599-c781a677a996" providerId="ADAL" clId="{1B7CF67B-5515-4C9F-825D-072B1C4F5900}" dt="2021-11-18T08:51:53.072" v="768" actId="21"/>
          <ac:picMkLst>
            <pc:docMk/>
            <pc:sldMk cId="2431522764" sldId="311"/>
            <ac:picMk id="5" creationId="{055D2F54-9C0A-4B30-B8A6-EA581805EE2D}"/>
          </ac:picMkLst>
        </pc:picChg>
        <pc:picChg chg="add mod">
          <ac:chgData name="Andreas" userId="9d9beba6-c052-407a-8599-c781a677a996" providerId="ADAL" clId="{1B7CF67B-5515-4C9F-825D-072B1C4F5900}" dt="2021-11-18T08:52:09.954" v="772"/>
          <ac:picMkLst>
            <pc:docMk/>
            <pc:sldMk cId="2431522764" sldId="311"/>
            <ac:picMk id="18" creationId="{2310BD4A-0AC2-4F8E-9415-F4EB1664C4F6}"/>
          </ac:picMkLst>
        </pc:picChg>
        <pc:picChg chg="add mod">
          <ac:chgData name="Andreas" userId="9d9beba6-c052-407a-8599-c781a677a996" providerId="ADAL" clId="{1B7CF67B-5515-4C9F-825D-072B1C4F5900}" dt="2021-11-18T08:52:09.954" v="772"/>
          <ac:picMkLst>
            <pc:docMk/>
            <pc:sldMk cId="2431522764" sldId="311"/>
            <ac:picMk id="19" creationId="{20E9AFF6-3D2D-4420-9DAF-050CAB05C1C4}"/>
          </ac:picMkLst>
        </pc:picChg>
      </pc:sldChg>
      <pc:sldChg chg="addSp modSp add mod modTransition modClrScheme chgLayout">
        <pc:chgData name="Andreas" userId="9d9beba6-c052-407a-8599-c781a677a996" providerId="ADAL" clId="{1B7CF67B-5515-4C9F-825D-072B1C4F5900}" dt="2021-11-18T08:52:25.828" v="773" actId="26606"/>
        <pc:sldMkLst>
          <pc:docMk/>
          <pc:sldMk cId="3505328169" sldId="312"/>
        </pc:sldMkLst>
        <pc:spChg chg="add mod">
          <ac:chgData name="Andreas" userId="9d9beba6-c052-407a-8599-c781a677a996" providerId="ADAL" clId="{1B7CF67B-5515-4C9F-825D-072B1C4F5900}" dt="2021-11-18T08:52:25.828" v="773" actId="26606"/>
          <ac:spMkLst>
            <pc:docMk/>
            <pc:sldMk cId="3505328169" sldId="312"/>
            <ac:spMk id="121" creationId="{A50F6815-E316-431F-BB74-4FFABB1B7580}"/>
          </ac:spMkLst>
        </pc:spChg>
        <pc:spChg chg="add mod">
          <ac:chgData name="Andreas" userId="9d9beba6-c052-407a-8599-c781a677a996" providerId="ADAL" clId="{1B7CF67B-5515-4C9F-825D-072B1C4F5900}" dt="2021-11-18T08:52:25.828" v="773" actId="26606"/>
          <ac:spMkLst>
            <pc:docMk/>
            <pc:sldMk cId="3505328169" sldId="312"/>
            <ac:spMk id="123" creationId="{2AFA0A2C-273B-4023-84A0-AE912A43117D}"/>
          </ac:spMkLst>
        </pc:spChg>
        <pc:spChg chg="add mod">
          <ac:chgData name="Andreas" userId="9d9beba6-c052-407a-8599-c781a677a996" providerId="ADAL" clId="{1B7CF67B-5515-4C9F-825D-072B1C4F5900}" dt="2021-11-18T08:52:25.828" v="773" actId="26606"/>
          <ac:spMkLst>
            <pc:docMk/>
            <pc:sldMk cId="3505328169" sldId="312"/>
            <ac:spMk id="125" creationId="{A66BE4F1-17D7-4CA6-B7BE-BD8B5E0779C0}"/>
          </ac:spMkLst>
        </pc:spChg>
        <pc:spChg chg="mod ord">
          <ac:chgData name="Andreas" userId="9d9beba6-c052-407a-8599-c781a677a996" providerId="ADAL" clId="{1B7CF67B-5515-4C9F-825D-072B1C4F5900}" dt="2021-11-18T08:52:25.828" v="773" actId="26606"/>
          <ac:spMkLst>
            <pc:docMk/>
            <pc:sldMk cId="3505328169" sldId="312"/>
            <ac:spMk id="180" creationId="{00000000-0000-0000-0000-000000000000}"/>
          </ac:spMkLst>
        </pc:spChg>
        <pc:picChg chg="mod">
          <ac:chgData name="Andreas" userId="9d9beba6-c052-407a-8599-c781a677a996" providerId="ADAL" clId="{1B7CF67B-5515-4C9F-825D-072B1C4F5900}" dt="2021-11-18T08:52:25.828" v="773" actId="26606"/>
          <ac:picMkLst>
            <pc:docMk/>
            <pc:sldMk cId="3505328169" sldId="312"/>
            <ac:picMk id="6" creationId="{C5BBC128-9211-4E30-BC8F-F081E3D1C393}"/>
          </ac:picMkLst>
        </pc:picChg>
      </pc:sldChg>
      <pc:sldChg chg="addSp modSp add mod modTransition modClrScheme chgLayout">
        <pc:chgData name="Andreas" userId="9d9beba6-c052-407a-8599-c781a677a996" providerId="ADAL" clId="{1B7CF67B-5515-4C9F-825D-072B1C4F5900}" dt="2021-11-18T08:52:32.385" v="774" actId="26606"/>
        <pc:sldMkLst>
          <pc:docMk/>
          <pc:sldMk cId="488657684" sldId="313"/>
        </pc:sldMkLst>
        <pc:spChg chg="add mod">
          <ac:chgData name="Andreas" userId="9d9beba6-c052-407a-8599-c781a677a996" providerId="ADAL" clId="{1B7CF67B-5515-4C9F-825D-072B1C4F5900}" dt="2021-11-18T08:52:32.385" v="774" actId="26606"/>
          <ac:spMkLst>
            <pc:docMk/>
            <pc:sldMk cId="488657684" sldId="313"/>
            <ac:spMk id="121" creationId="{8972B098-8C69-4A08-8402-CEB0CD344D32}"/>
          </ac:spMkLst>
        </pc:spChg>
        <pc:spChg chg="add mod">
          <ac:chgData name="Andreas" userId="9d9beba6-c052-407a-8599-c781a677a996" providerId="ADAL" clId="{1B7CF67B-5515-4C9F-825D-072B1C4F5900}" dt="2021-11-18T08:52:32.385" v="774" actId="26606"/>
          <ac:spMkLst>
            <pc:docMk/>
            <pc:sldMk cId="488657684" sldId="313"/>
            <ac:spMk id="123" creationId="{31183487-0E51-4FC7-AA82-ACAD1A3FEAC2}"/>
          </ac:spMkLst>
        </pc:spChg>
        <pc:spChg chg="add mod">
          <ac:chgData name="Andreas" userId="9d9beba6-c052-407a-8599-c781a677a996" providerId="ADAL" clId="{1B7CF67B-5515-4C9F-825D-072B1C4F5900}" dt="2021-11-18T08:52:32.385" v="774" actId="26606"/>
          <ac:spMkLst>
            <pc:docMk/>
            <pc:sldMk cId="488657684" sldId="313"/>
            <ac:spMk id="125" creationId="{17414DA5-7994-451B-87D3-4EF3216EE5FE}"/>
          </ac:spMkLst>
        </pc:spChg>
        <pc:spChg chg="mod ord">
          <ac:chgData name="Andreas" userId="9d9beba6-c052-407a-8599-c781a677a996" providerId="ADAL" clId="{1B7CF67B-5515-4C9F-825D-072B1C4F5900}" dt="2021-11-18T08:52:32.385" v="774" actId="26606"/>
          <ac:spMkLst>
            <pc:docMk/>
            <pc:sldMk cId="488657684" sldId="313"/>
            <ac:spMk id="180" creationId="{00000000-0000-0000-0000-000000000000}"/>
          </ac:spMkLst>
        </pc:spChg>
        <pc:picChg chg="mod">
          <ac:chgData name="Andreas" userId="9d9beba6-c052-407a-8599-c781a677a996" providerId="ADAL" clId="{1B7CF67B-5515-4C9F-825D-072B1C4F5900}" dt="2021-11-18T08:52:32.385" v="774" actId="26606"/>
          <ac:picMkLst>
            <pc:docMk/>
            <pc:sldMk cId="488657684" sldId="313"/>
            <ac:picMk id="4" creationId="{0CCC3364-99D1-4193-B83D-970ED7FD2EAC}"/>
          </ac:picMkLst>
        </pc:picChg>
      </pc:sldChg>
      <pc:sldChg chg="addSp modSp add mod modTransition modClrScheme chgLayout">
        <pc:chgData name="Andreas" userId="9d9beba6-c052-407a-8599-c781a677a996" providerId="ADAL" clId="{1B7CF67B-5515-4C9F-825D-072B1C4F5900}" dt="2021-11-18T08:52:38.269" v="775" actId="26606"/>
        <pc:sldMkLst>
          <pc:docMk/>
          <pc:sldMk cId="2703300525" sldId="314"/>
        </pc:sldMkLst>
        <pc:spChg chg="add mod">
          <ac:chgData name="Andreas" userId="9d9beba6-c052-407a-8599-c781a677a996" providerId="ADAL" clId="{1B7CF67B-5515-4C9F-825D-072B1C4F5900}" dt="2021-11-18T08:52:38.269" v="775" actId="26606"/>
          <ac:spMkLst>
            <pc:docMk/>
            <pc:sldMk cId="2703300525" sldId="314"/>
            <ac:spMk id="121" creationId="{D73CF723-9A36-4325-92AC-0DD53E851A7F}"/>
          </ac:spMkLst>
        </pc:spChg>
        <pc:spChg chg="add mod">
          <ac:chgData name="Andreas" userId="9d9beba6-c052-407a-8599-c781a677a996" providerId="ADAL" clId="{1B7CF67B-5515-4C9F-825D-072B1C4F5900}" dt="2021-11-18T08:52:38.269" v="775" actId="26606"/>
          <ac:spMkLst>
            <pc:docMk/>
            <pc:sldMk cId="2703300525" sldId="314"/>
            <ac:spMk id="123" creationId="{87ED7742-122F-426B-8F0B-1FF2346A1BD6}"/>
          </ac:spMkLst>
        </pc:spChg>
        <pc:spChg chg="add mod">
          <ac:chgData name="Andreas" userId="9d9beba6-c052-407a-8599-c781a677a996" providerId="ADAL" clId="{1B7CF67B-5515-4C9F-825D-072B1C4F5900}" dt="2021-11-18T08:52:38.269" v="775" actId="26606"/>
          <ac:spMkLst>
            <pc:docMk/>
            <pc:sldMk cId="2703300525" sldId="314"/>
            <ac:spMk id="125" creationId="{AAC1AC25-06A3-40F2-9F3C-B15F9C395E68}"/>
          </ac:spMkLst>
        </pc:spChg>
        <pc:spChg chg="mod ord">
          <ac:chgData name="Andreas" userId="9d9beba6-c052-407a-8599-c781a677a996" providerId="ADAL" clId="{1B7CF67B-5515-4C9F-825D-072B1C4F5900}" dt="2021-11-18T08:52:38.269" v="775" actId="26606"/>
          <ac:spMkLst>
            <pc:docMk/>
            <pc:sldMk cId="2703300525" sldId="314"/>
            <ac:spMk id="180" creationId="{00000000-0000-0000-0000-000000000000}"/>
          </ac:spMkLst>
        </pc:spChg>
        <pc:picChg chg="mod">
          <ac:chgData name="Andreas" userId="9d9beba6-c052-407a-8599-c781a677a996" providerId="ADAL" clId="{1B7CF67B-5515-4C9F-825D-072B1C4F5900}" dt="2021-11-18T08:52:38.269" v="775" actId="26606"/>
          <ac:picMkLst>
            <pc:docMk/>
            <pc:sldMk cId="2703300525" sldId="314"/>
            <ac:picMk id="5" creationId="{B8AA6296-6482-4F26-A4A2-492E75EFEBCE}"/>
          </ac:picMkLst>
        </pc:picChg>
      </pc:sldChg>
      <pc:sldChg chg="addSp modSp add mod modTransition chgLayout">
        <pc:chgData name="Andreas" userId="9d9beba6-c052-407a-8599-c781a677a996" providerId="ADAL" clId="{1B7CF67B-5515-4C9F-825D-072B1C4F5900}" dt="2021-11-18T09:02:07.626" v="858" actId="6549"/>
        <pc:sldMkLst>
          <pc:docMk/>
          <pc:sldMk cId="2314019208" sldId="315"/>
        </pc:sldMkLst>
        <pc:spChg chg="add mod">
          <ac:chgData name="Andreas" userId="9d9beba6-c052-407a-8599-c781a677a996" providerId="ADAL" clId="{1B7CF67B-5515-4C9F-825D-072B1C4F5900}" dt="2021-11-18T09:01:49.965" v="855" actId="26606"/>
          <ac:spMkLst>
            <pc:docMk/>
            <pc:sldMk cId="2314019208" sldId="315"/>
            <ac:spMk id="122" creationId="{02C01261-94AC-48F0-87BC-22258575318B}"/>
          </ac:spMkLst>
        </pc:spChg>
        <pc:spChg chg="add mod">
          <ac:chgData name="Andreas" userId="9d9beba6-c052-407a-8599-c781a677a996" providerId="ADAL" clId="{1B7CF67B-5515-4C9F-825D-072B1C4F5900}" dt="2021-11-18T09:01:49.965" v="855" actId="26606"/>
          <ac:spMkLst>
            <pc:docMk/>
            <pc:sldMk cId="2314019208" sldId="315"/>
            <ac:spMk id="124" creationId="{03E15A7C-0B3E-458F-8953-A5CBA2CBA45B}"/>
          </ac:spMkLst>
        </pc:spChg>
        <pc:spChg chg="mod">
          <ac:chgData name="Andreas" userId="9d9beba6-c052-407a-8599-c781a677a996" providerId="ADAL" clId="{1B7CF67B-5515-4C9F-825D-072B1C4F5900}" dt="2021-11-18T09:02:07.626" v="858" actId="6549"/>
          <ac:spMkLst>
            <pc:docMk/>
            <pc:sldMk cId="2314019208" sldId="315"/>
            <ac:spMk id="180" creationId="{00000000-0000-0000-0000-000000000000}"/>
          </ac:spMkLst>
        </pc:spChg>
        <pc:spChg chg="mod">
          <ac:chgData name="Andreas" userId="9d9beba6-c052-407a-8599-c781a677a996" providerId="ADAL" clId="{1B7CF67B-5515-4C9F-825D-072B1C4F5900}" dt="2021-11-18T09:01:49.965" v="855" actId="26606"/>
          <ac:spMkLst>
            <pc:docMk/>
            <pc:sldMk cId="2314019208" sldId="315"/>
            <ac:spMk id="181" creationId="{00000000-0000-0000-0000-000000000000}"/>
          </ac:spMkLst>
        </pc:spChg>
        <pc:picChg chg="mod ord">
          <ac:chgData name="Andreas" userId="9d9beba6-c052-407a-8599-c781a677a996" providerId="ADAL" clId="{1B7CF67B-5515-4C9F-825D-072B1C4F5900}" dt="2021-11-18T09:01:49.965" v="855" actId="26606"/>
          <ac:picMkLst>
            <pc:docMk/>
            <pc:sldMk cId="2314019208" sldId="315"/>
            <ac:picMk id="5" creationId="{6C0D4401-8221-475A-98FB-D13A214DBF58}"/>
          </ac:picMkLst>
        </pc:picChg>
      </pc:sldChg>
      <pc:sldChg chg="addSp modSp add mod modTransition modClrScheme chgLayout">
        <pc:chgData name="Andreas" userId="9d9beba6-c052-407a-8599-c781a677a996" providerId="ADAL" clId="{1B7CF67B-5515-4C9F-825D-072B1C4F5900}" dt="2021-11-18T08:52:56.265" v="777" actId="26606"/>
        <pc:sldMkLst>
          <pc:docMk/>
          <pc:sldMk cId="541287524" sldId="316"/>
        </pc:sldMkLst>
        <pc:spChg chg="add mod">
          <ac:chgData name="Andreas" userId="9d9beba6-c052-407a-8599-c781a677a996" providerId="ADAL" clId="{1B7CF67B-5515-4C9F-825D-072B1C4F5900}" dt="2021-11-18T08:52:56.265" v="777" actId="26606"/>
          <ac:spMkLst>
            <pc:docMk/>
            <pc:sldMk cId="541287524" sldId="316"/>
            <ac:spMk id="122" creationId="{589D8BE4-645F-4594-947A-E4BC57588686}"/>
          </ac:spMkLst>
        </pc:spChg>
        <pc:spChg chg="add mod">
          <ac:chgData name="Andreas" userId="9d9beba6-c052-407a-8599-c781a677a996" providerId="ADAL" clId="{1B7CF67B-5515-4C9F-825D-072B1C4F5900}" dt="2021-11-18T08:52:56.265" v="777" actId="26606"/>
          <ac:spMkLst>
            <pc:docMk/>
            <pc:sldMk cId="541287524" sldId="316"/>
            <ac:spMk id="124" creationId="{84E04E4E-021A-44EA-A21F-D749783987DC}"/>
          </ac:spMkLst>
        </pc:spChg>
        <pc:spChg chg="add mod">
          <ac:chgData name="Andreas" userId="9d9beba6-c052-407a-8599-c781a677a996" providerId="ADAL" clId="{1B7CF67B-5515-4C9F-825D-072B1C4F5900}" dt="2021-11-18T08:52:56.265" v="777" actId="26606"/>
          <ac:spMkLst>
            <pc:docMk/>
            <pc:sldMk cId="541287524" sldId="316"/>
            <ac:spMk id="126" creationId="{BD2D9D3E-0A1E-4AC3-979E-48547F484027}"/>
          </ac:spMkLst>
        </pc:spChg>
        <pc:spChg chg="mod ord">
          <ac:chgData name="Andreas" userId="9d9beba6-c052-407a-8599-c781a677a996" providerId="ADAL" clId="{1B7CF67B-5515-4C9F-825D-072B1C4F5900}" dt="2021-11-18T08:52:56.265" v="777" actId="26606"/>
          <ac:spMkLst>
            <pc:docMk/>
            <pc:sldMk cId="541287524" sldId="316"/>
            <ac:spMk id="180" creationId="{00000000-0000-0000-0000-000000000000}"/>
          </ac:spMkLst>
        </pc:spChg>
        <pc:spChg chg="mod">
          <ac:chgData name="Andreas" userId="9d9beba6-c052-407a-8599-c781a677a996" providerId="ADAL" clId="{1B7CF67B-5515-4C9F-825D-072B1C4F5900}" dt="2021-11-18T08:52:56.265" v="777" actId="26606"/>
          <ac:spMkLst>
            <pc:docMk/>
            <pc:sldMk cId="541287524" sldId="316"/>
            <ac:spMk id="181" creationId="{00000000-0000-0000-0000-000000000000}"/>
          </ac:spMkLst>
        </pc:spChg>
      </pc:sldChg>
      <pc:sldChg chg="addSp delSp modSp add mod modTransition modClrScheme chgLayout">
        <pc:chgData name="Andreas" userId="9d9beba6-c052-407a-8599-c781a677a996" providerId="ADAL" clId="{1B7CF67B-5515-4C9F-825D-072B1C4F5900}" dt="2021-11-18T08:53:42.282" v="787" actId="1076"/>
        <pc:sldMkLst>
          <pc:docMk/>
          <pc:sldMk cId="3743851044" sldId="317"/>
        </pc:sldMkLst>
        <pc:spChg chg="add del mod">
          <ac:chgData name="Andreas" userId="9d9beba6-c052-407a-8599-c781a677a996" providerId="ADAL" clId="{1B7CF67B-5515-4C9F-825D-072B1C4F5900}" dt="2021-11-18T08:53:28.037" v="780" actId="26606"/>
          <ac:spMkLst>
            <pc:docMk/>
            <pc:sldMk cId="3743851044" sldId="317"/>
            <ac:spMk id="121" creationId="{2F169BD4-CD43-4A68-89CD-DD65E05893DD}"/>
          </ac:spMkLst>
        </pc:spChg>
        <pc:spChg chg="add del mod">
          <ac:chgData name="Andreas" userId="9d9beba6-c052-407a-8599-c781a677a996" providerId="ADAL" clId="{1B7CF67B-5515-4C9F-825D-072B1C4F5900}" dt="2021-11-18T08:53:28.037" v="780" actId="26606"/>
          <ac:spMkLst>
            <pc:docMk/>
            <pc:sldMk cId="3743851044" sldId="317"/>
            <ac:spMk id="123" creationId="{1DB78B33-3F65-4514-A255-E9AD8D461A5C}"/>
          </ac:spMkLst>
        </pc:spChg>
        <pc:spChg chg="add del mod">
          <ac:chgData name="Andreas" userId="9d9beba6-c052-407a-8599-c781a677a996" providerId="ADAL" clId="{1B7CF67B-5515-4C9F-825D-072B1C4F5900}" dt="2021-11-18T08:53:28.037" v="780" actId="26606"/>
          <ac:spMkLst>
            <pc:docMk/>
            <pc:sldMk cId="3743851044" sldId="317"/>
            <ac:spMk id="125" creationId="{1A38A9D3-C164-4328-8B8B-4D1745BF019F}"/>
          </ac:spMkLst>
        </pc:spChg>
        <pc:spChg chg="mod">
          <ac:chgData name="Andreas" userId="9d9beba6-c052-407a-8599-c781a677a996" providerId="ADAL" clId="{1B7CF67B-5515-4C9F-825D-072B1C4F5900}" dt="2021-11-18T08:53:33.066" v="784" actId="27636"/>
          <ac:spMkLst>
            <pc:docMk/>
            <pc:sldMk cId="3743851044" sldId="317"/>
            <ac:spMk id="180" creationId="{00000000-0000-0000-0000-000000000000}"/>
          </ac:spMkLst>
        </pc:spChg>
        <pc:picChg chg="mod">
          <ac:chgData name="Andreas" userId="9d9beba6-c052-407a-8599-c781a677a996" providerId="ADAL" clId="{1B7CF67B-5515-4C9F-825D-072B1C4F5900}" dt="2021-11-18T08:53:42.282" v="787" actId="1076"/>
          <ac:picMkLst>
            <pc:docMk/>
            <pc:sldMk cId="3743851044" sldId="317"/>
            <ac:picMk id="7" creationId="{81081128-DFB8-47D1-92E7-3407BE2C4F97}"/>
          </ac:picMkLst>
        </pc:picChg>
      </pc:sldChg>
      <pc:sldChg chg="addSp modSp add mod modTransition modClrScheme chgLayout">
        <pc:chgData name="Andreas" userId="9d9beba6-c052-407a-8599-c781a677a996" providerId="ADAL" clId="{1B7CF67B-5515-4C9F-825D-072B1C4F5900}" dt="2021-11-18T08:53:05.633" v="778" actId="26606"/>
        <pc:sldMkLst>
          <pc:docMk/>
          <pc:sldMk cId="3642303867" sldId="318"/>
        </pc:sldMkLst>
        <pc:spChg chg="add mod">
          <ac:chgData name="Andreas" userId="9d9beba6-c052-407a-8599-c781a677a996" providerId="ADAL" clId="{1B7CF67B-5515-4C9F-825D-072B1C4F5900}" dt="2021-11-18T08:53:05.633" v="778" actId="26606"/>
          <ac:spMkLst>
            <pc:docMk/>
            <pc:sldMk cId="3642303867" sldId="318"/>
            <ac:spMk id="121" creationId="{23D7EB84-454A-4F5E-B5A1-2F3DE7A78E7F}"/>
          </ac:spMkLst>
        </pc:spChg>
        <pc:spChg chg="add mod">
          <ac:chgData name="Andreas" userId="9d9beba6-c052-407a-8599-c781a677a996" providerId="ADAL" clId="{1B7CF67B-5515-4C9F-825D-072B1C4F5900}" dt="2021-11-18T08:53:05.633" v="778" actId="26606"/>
          <ac:spMkLst>
            <pc:docMk/>
            <pc:sldMk cId="3642303867" sldId="318"/>
            <ac:spMk id="123" creationId="{7790BB56-D7E2-4ACF-8019-CD54356B9488}"/>
          </ac:spMkLst>
        </pc:spChg>
        <pc:spChg chg="add mod">
          <ac:chgData name="Andreas" userId="9d9beba6-c052-407a-8599-c781a677a996" providerId="ADAL" clId="{1B7CF67B-5515-4C9F-825D-072B1C4F5900}" dt="2021-11-18T08:53:05.633" v="778" actId="26606"/>
          <ac:spMkLst>
            <pc:docMk/>
            <pc:sldMk cId="3642303867" sldId="318"/>
            <ac:spMk id="125" creationId="{430539C1-10A3-463C-A69D-DB21312C942C}"/>
          </ac:spMkLst>
        </pc:spChg>
        <pc:spChg chg="mod">
          <ac:chgData name="Andreas" userId="9d9beba6-c052-407a-8599-c781a677a996" providerId="ADAL" clId="{1B7CF67B-5515-4C9F-825D-072B1C4F5900}" dt="2021-11-18T08:53:05.633" v="778" actId="26606"/>
          <ac:spMkLst>
            <pc:docMk/>
            <pc:sldMk cId="3642303867" sldId="318"/>
            <ac:spMk id="180" creationId="{00000000-0000-0000-0000-000000000000}"/>
          </ac:spMkLst>
        </pc:spChg>
        <pc:picChg chg="mod">
          <ac:chgData name="Andreas" userId="9d9beba6-c052-407a-8599-c781a677a996" providerId="ADAL" clId="{1B7CF67B-5515-4C9F-825D-072B1C4F5900}" dt="2021-11-18T08:53:05.633" v="778" actId="26606"/>
          <ac:picMkLst>
            <pc:docMk/>
            <pc:sldMk cId="3642303867" sldId="318"/>
            <ac:picMk id="4" creationId="{DBA693F6-2BBB-4730-8B0C-73B52FDCBCC9}"/>
          </ac:picMkLst>
        </pc:picChg>
      </pc:sldChg>
      <pc:sldChg chg="addSp modSp add mod modTransition modClrScheme chgLayout">
        <pc:chgData name="Andreas" userId="9d9beba6-c052-407a-8599-c781a677a996" providerId="ADAL" clId="{1B7CF67B-5515-4C9F-825D-072B1C4F5900}" dt="2021-11-18T08:53:58.242" v="788" actId="26606"/>
        <pc:sldMkLst>
          <pc:docMk/>
          <pc:sldMk cId="4282291855" sldId="319"/>
        </pc:sldMkLst>
        <pc:spChg chg="add mod">
          <ac:chgData name="Andreas" userId="9d9beba6-c052-407a-8599-c781a677a996" providerId="ADAL" clId="{1B7CF67B-5515-4C9F-825D-072B1C4F5900}" dt="2021-11-18T08:53:58.242" v="788" actId="26606"/>
          <ac:spMkLst>
            <pc:docMk/>
            <pc:sldMk cId="4282291855" sldId="319"/>
            <ac:spMk id="121" creationId="{EFAA5169-D25B-4CE0-921E-D4CCA2DEB538}"/>
          </ac:spMkLst>
        </pc:spChg>
        <pc:spChg chg="add mod">
          <ac:chgData name="Andreas" userId="9d9beba6-c052-407a-8599-c781a677a996" providerId="ADAL" clId="{1B7CF67B-5515-4C9F-825D-072B1C4F5900}" dt="2021-11-18T08:53:58.242" v="788" actId="26606"/>
          <ac:spMkLst>
            <pc:docMk/>
            <pc:sldMk cId="4282291855" sldId="319"/>
            <ac:spMk id="123" creationId="{449383C1-B4A6-4AB8-BDD8-49C444609472}"/>
          </ac:spMkLst>
        </pc:spChg>
        <pc:spChg chg="add mod">
          <ac:chgData name="Andreas" userId="9d9beba6-c052-407a-8599-c781a677a996" providerId="ADAL" clId="{1B7CF67B-5515-4C9F-825D-072B1C4F5900}" dt="2021-11-18T08:53:58.242" v="788" actId="26606"/>
          <ac:spMkLst>
            <pc:docMk/>
            <pc:sldMk cId="4282291855" sldId="319"/>
            <ac:spMk id="125" creationId="{C430189D-2E29-4283-A430-57BF77F449A4}"/>
          </ac:spMkLst>
        </pc:spChg>
        <pc:spChg chg="mod ord">
          <ac:chgData name="Andreas" userId="9d9beba6-c052-407a-8599-c781a677a996" providerId="ADAL" clId="{1B7CF67B-5515-4C9F-825D-072B1C4F5900}" dt="2021-11-18T08:53:58.242" v="788" actId="26606"/>
          <ac:spMkLst>
            <pc:docMk/>
            <pc:sldMk cId="4282291855" sldId="319"/>
            <ac:spMk id="180" creationId="{00000000-0000-0000-0000-000000000000}"/>
          </ac:spMkLst>
        </pc:spChg>
        <pc:picChg chg="mod">
          <ac:chgData name="Andreas" userId="9d9beba6-c052-407a-8599-c781a677a996" providerId="ADAL" clId="{1B7CF67B-5515-4C9F-825D-072B1C4F5900}" dt="2021-11-18T08:53:58.242" v="788" actId="26606"/>
          <ac:picMkLst>
            <pc:docMk/>
            <pc:sldMk cId="4282291855" sldId="319"/>
            <ac:picMk id="4" creationId="{9AE7B762-8E92-4704-94CF-214438BA7CA6}"/>
          </ac:picMkLst>
        </pc:picChg>
      </pc:sldChg>
      <pc:sldChg chg="addSp modSp add mod modTransition modClrScheme chgLayout">
        <pc:chgData name="Andreas" userId="9d9beba6-c052-407a-8599-c781a677a996" providerId="ADAL" clId="{1B7CF67B-5515-4C9F-825D-072B1C4F5900}" dt="2021-11-18T08:54:10.488" v="789" actId="26606"/>
        <pc:sldMkLst>
          <pc:docMk/>
          <pc:sldMk cId="1943756776" sldId="320"/>
        </pc:sldMkLst>
        <pc:spChg chg="add mod">
          <ac:chgData name="Andreas" userId="9d9beba6-c052-407a-8599-c781a677a996" providerId="ADAL" clId="{1B7CF67B-5515-4C9F-825D-072B1C4F5900}" dt="2021-11-18T08:54:10.488" v="789" actId="26606"/>
          <ac:spMkLst>
            <pc:docMk/>
            <pc:sldMk cId="1943756776" sldId="320"/>
            <ac:spMk id="121" creationId="{821D617F-6599-4280-BD69-851F34B09BBA}"/>
          </ac:spMkLst>
        </pc:spChg>
        <pc:spChg chg="add mod">
          <ac:chgData name="Andreas" userId="9d9beba6-c052-407a-8599-c781a677a996" providerId="ADAL" clId="{1B7CF67B-5515-4C9F-825D-072B1C4F5900}" dt="2021-11-18T08:54:10.488" v="789" actId="26606"/>
          <ac:spMkLst>
            <pc:docMk/>
            <pc:sldMk cId="1943756776" sldId="320"/>
            <ac:spMk id="123" creationId="{A759381E-7235-4BFB-964D-B0C05B3625A6}"/>
          </ac:spMkLst>
        </pc:spChg>
        <pc:spChg chg="add mod">
          <ac:chgData name="Andreas" userId="9d9beba6-c052-407a-8599-c781a677a996" providerId="ADAL" clId="{1B7CF67B-5515-4C9F-825D-072B1C4F5900}" dt="2021-11-18T08:54:10.488" v="789" actId="26606"/>
          <ac:spMkLst>
            <pc:docMk/>
            <pc:sldMk cId="1943756776" sldId="320"/>
            <ac:spMk id="125" creationId="{1302DDBF-2E86-4378-8292-511F4F925AF8}"/>
          </ac:spMkLst>
        </pc:spChg>
        <pc:spChg chg="mod ord">
          <ac:chgData name="Andreas" userId="9d9beba6-c052-407a-8599-c781a677a996" providerId="ADAL" clId="{1B7CF67B-5515-4C9F-825D-072B1C4F5900}" dt="2021-11-18T08:54:10.488" v="789" actId="26606"/>
          <ac:spMkLst>
            <pc:docMk/>
            <pc:sldMk cId="1943756776" sldId="320"/>
            <ac:spMk id="180" creationId="{00000000-0000-0000-0000-000000000000}"/>
          </ac:spMkLst>
        </pc:spChg>
        <pc:picChg chg="mod">
          <ac:chgData name="Andreas" userId="9d9beba6-c052-407a-8599-c781a677a996" providerId="ADAL" clId="{1B7CF67B-5515-4C9F-825D-072B1C4F5900}" dt="2021-11-18T08:54:10.488" v="789" actId="26606"/>
          <ac:picMkLst>
            <pc:docMk/>
            <pc:sldMk cId="1943756776" sldId="320"/>
            <ac:picMk id="5" creationId="{A69233D9-8854-4530-A5F8-BF5C008AC580}"/>
          </ac:picMkLst>
        </pc:picChg>
      </pc:sldChg>
      <pc:sldChg chg="addSp modSp add mod modTransition chgLayout">
        <pc:chgData name="Andreas" userId="9d9beba6-c052-407a-8599-c781a677a996" providerId="ADAL" clId="{1B7CF67B-5515-4C9F-825D-072B1C4F5900}" dt="2021-11-18T09:02:33.820" v="863" actId="1076"/>
        <pc:sldMkLst>
          <pc:docMk/>
          <pc:sldMk cId="2193397925" sldId="321"/>
        </pc:sldMkLst>
        <pc:spChg chg="add mod">
          <ac:chgData name="Andreas" userId="9d9beba6-c052-407a-8599-c781a677a996" providerId="ADAL" clId="{1B7CF67B-5515-4C9F-825D-072B1C4F5900}" dt="2021-11-18T09:02:33.820" v="863" actId="1076"/>
          <ac:spMkLst>
            <pc:docMk/>
            <pc:sldMk cId="2193397925" sldId="321"/>
            <ac:spMk id="4" creationId="{1F7F23C9-8CB3-4E0E-8AC8-1BF72A575EDA}"/>
          </ac:spMkLst>
        </pc:spChg>
        <pc:spChg chg="add mod">
          <ac:chgData name="Andreas" userId="9d9beba6-c052-407a-8599-c781a677a996" providerId="ADAL" clId="{1B7CF67B-5515-4C9F-825D-072B1C4F5900}" dt="2021-11-18T09:02:18.725" v="859" actId="26606"/>
          <ac:spMkLst>
            <pc:docMk/>
            <pc:sldMk cId="2193397925" sldId="321"/>
            <ac:spMk id="121" creationId="{38EF02AF-13E6-4C8A-9A23-FA5ADF83AB8A}"/>
          </ac:spMkLst>
        </pc:spChg>
        <pc:spChg chg="add mod">
          <ac:chgData name="Andreas" userId="9d9beba6-c052-407a-8599-c781a677a996" providerId="ADAL" clId="{1B7CF67B-5515-4C9F-825D-072B1C4F5900}" dt="2021-11-18T09:02:18.725" v="859" actId="26606"/>
          <ac:spMkLst>
            <pc:docMk/>
            <pc:sldMk cId="2193397925" sldId="321"/>
            <ac:spMk id="123" creationId="{46E50F3F-88C3-444B-8E62-7F5193C96359}"/>
          </ac:spMkLst>
        </pc:spChg>
        <pc:spChg chg="mod">
          <ac:chgData name="Andreas" userId="9d9beba6-c052-407a-8599-c781a677a996" providerId="ADAL" clId="{1B7CF67B-5515-4C9F-825D-072B1C4F5900}" dt="2021-11-18T09:02:28.038" v="862" actId="14100"/>
          <ac:spMkLst>
            <pc:docMk/>
            <pc:sldMk cId="2193397925" sldId="321"/>
            <ac:spMk id="180" creationId="{00000000-0000-0000-0000-000000000000}"/>
          </ac:spMkLst>
        </pc:spChg>
        <pc:picChg chg="mod ord">
          <ac:chgData name="Andreas" userId="9d9beba6-c052-407a-8599-c781a677a996" providerId="ADAL" clId="{1B7CF67B-5515-4C9F-825D-072B1C4F5900}" dt="2021-11-18T09:02:22.721" v="860" actId="1076"/>
          <ac:picMkLst>
            <pc:docMk/>
            <pc:sldMk cId="2193397925" sldId="321"/>
            <ac:picMk id="3" creationId="{E32A7310-4D60-47D1-9BE7-41199B2BB517}"/>
          </ac:picMkLst>
        </pc:picChg>
      </pc:sldChg>
      <pc:sldChg chg="addSp modSp add mod modTransition chgLayout">
        <pc:chgData name="Andreas" userId="9d9beba6-c052-407a-8599-c781a677a996" providerId="ADAL" clId="{1B7CF67B-5515-4C9F-825D-072B1C4F5900}" dt="2021-11-18T09:02:45.926" v="867" actId="1076"/>
        <pc:sldMkLst>
          <pc:docMk/>
          <pc:sldMk cId="3233079612" sldId="322"/>
        </pc:sldMkLst>
        <pc:spChg chg="add mod">
          <ac:chgData name="Andreas" userId="9d9beba6-c052-407a-8599-c781a677a996" providerId="ADAL" clId="{1B7CF67B-5515-4C9F-825D-072B1C4F5900}" dt="2021-11-18T09:02:39.484" v="864" actId="26606"/>
          <ac:spMkLst>
            <pc:docMk/>
            <pc:sldMk cId="3233079612" sldId="322"/>
            <ac:spMk id="122" creationId="{76AA4327-48FE-4366-8FEE-6CDF6EE47159}"/>
          </ac:spMkLst>
        </pc:spChg>
        <pc:spChg chg="add mod">
          <ac:chgData name="Andreas" userId="9d9beba6-c052-407a-8599-c781a677a996" providerId="ADAL" clId="{1B7CF67B-5515-4C9F-825D-072B1C4F5900}" dt="2021-11-18T09:02:39.484" v="864" actId="26606"/>
          <ac:spMkLst>
            <pc:docMk/>
            <pc:sldMk cId="3233079612" sldId="322"/>
            <ac:spMk id="124" creationId="{041176DA-10F9-4F2E-8FA5-4A59C40A387B}"/>
          </ac:spMkLst>
        </pc:spChg>
        <pc:spChg chg="mod">
          <ac:chgData name="Andreas" userId="9d9beba6-c052-407a-8599-c781a677a996" providerId="ADAL" clId="{1B7CF67B-5515-4C9F-825D-072B1C4F5900}" dt="2021-11-18T09:02:44.110" v="866" actId="14100"/>
          <ac:spMkLst>
            <pc:docMk/>
            <pc:sldMk cId="3233079612" sldId="322"/>
            <ac:spMk id="180" creationId="{00000000-0000-0000-0000-000000000000}"/>
          </ac:spMkLst>
        </pc:spChg>
        <pc:spChg chg="mod">
          <ac:chgData name="Andreas" userId="9d9beba6-c052-407a-8599-c781a677a996" providerId="ADAL" clId="{1B7CF67B-5515-4C9F-825D-072B1C4F5900}" dt="2021-11-18T09:02:39.484" v="864" actId="26606"/>
          <ac:spMkLst>
            <pc:docMk/>
            <pc:sldMk cId="3233079612" sldId="322"/>
            <ac:spMk id="181" creationId="{00000000-0000-0000-0000-000000000000}"/>
          </ac:spMkLst>
        </pc:spChg>
        <pc:picChg chg="mod ord">
          <ac:chgData name="Andreas" userId="9d9beba6-c052-407a-8599-c781a677a996" providerId="ADAL" clId="{1B7CF67B-5515-4C9F-825D-072B1C4F5900}" dt="2021-11-18T09:02:45.926" v="867" actId="1076"/>
          <ac:picMkLst>
            <pc:docMk/>
            <pc:sldMk cId="3233079612" sldId="322"/>
            <ac:picMk id="6" creationId="{4E542C78-57B8-4C47-876C-EDCB2719A23F}"/>
          </ac:picMkLst>
        </pc:picChg>
      </pc:sldChg>
      <pc:sldChg chg="addSp delSp modSp add mod modTransition chgLayout">
        <pc:chgData name="Andreas" userId="9d9beba6-c052-407a-8599-c781a677a996" providerId="ADAL" clId="{1B7CF67B-5515-4C9F-825D-072B1C4F5900}" dt="2021-11-18T09:02:50.898" v="868" actId="26606"/>
        <pc:sldMkLst>
          <pc:docMk/>
          <pc:sldMk cId="1874744215" sldId="323"/>
        </pc:sldMkLst>
        <pc:spChg chg="add del mod">
          <ac:chgData name="Andreas" userId="9d9beba6-c052-407a-8599-c781a677a996" providerId="ADAL" clId="{1B7CF67B-5515-4C9F-825D-072B1C4F5900}" dt="2021-11-18T08:55:04.317" v="799" actId="478"/>
          <ac:spMkLst>
            <pc:docMk/>
            <pc:sldMk cId="1874744215" sldId="323"/>
            <ac:spMk id="122" creationId="{F808BEFB-A0E6-411F-A3ED-F04E03763063}"/>
          </ac:spMkLst>
        </pc:spChg>
        <pc:spChg chg="add mod">
          <ac:chgData name="Andreas" userId="9d9beba6-c052-407a-8599-c781a677a996" providerId="ADAL" clId="{1B7CF67B-5515-4C9F-825D-072B1C4F5900}" dt="2021-11-18T09:02:50.898" v="868" actId="26606"/>
          <ac:spMkLst>
            <pc:docMk/>
            <pc:sldMk cId="1874744215" sldId="323"/>
            <ac:spMk id="124" creationId="{C1568B3D-4042-4C64-9AE8-14823A400AC0}"/>
          </ac:spMkLst>
        </pc:spChg>
        <pc:spChg chg="add mod">
          <ac:chgData name="Andreas" userId="9d9beba6-c052-407a-8599-c781a677a996" providerId="ADAL" clId="{1B7CF67B-5515-4C9F-825D-072B1C4F5900}" dt="2021-11-18T09:02:50.898" v="868" actId="26606"/>
          <ac:spMkLst>
            <pc:docMk/>
            <pc:sldMk cId="1874744215" sldId="323"/>
            <ac:spMk id="126" creationId="{E42E47B7-DE52-4547-B3F5-7CB888386888}"/>
          </ac:spMkLst>
        </pc:spChg>
        <pc:spChg chg="mod ord">
          <ac:chgData name="Andreas" userId="9d9beba6-c052-407a-8599-c781a677a996" providerId="ADAL" clId="{1B7CF67B-5515-4C9F-825D-072B1C4F5900}" dt="2021-11-18T09:02:50.898" v="868" actId="26606"/>
          <ac:spMkLst>
            <pc:docMk/>
            <pc:sldMk cId="1874744215" sldId="323"/>
            <ac:spMk id="180" creationId="{00000000-0000-0000-0000-000000000000}"/>
          </ac:spMkLst>
        </pc:spChg>
        <pc:spChg chg="mod">
          <ac:chgData name="Andreas" userId="9d9beba6-c052-407a-8599-c781a677a996" providerId="ADAL" clId="{1B7CF67B-5515-4C9F-825D-072B1C4F5900}" dt="2021-11-18T09:02:50.898" v="868" actId="26606"/>
          <ac:spMkLst>
            <pc:docMk/>
            <pc:sldMk cId="1874744215" sldId="323"/>
            <ac:spMk id="181" creationId="{00000000-0000-0000-0000-000000000000}"/>
          </ac:spMkLst>
        </pc:spChg>
        <pc:spChg chg="add mod">
          <ac:chgData name="Andreas" userId="9d9beba6-c052-407a-8599-c781a677a996" providerId="ADAL" clId="{1B7CF67B-5515-4C9F-825D-072B1C4F5900}" dt="2021-11-18T09:02:50.898" v="868" actId="26606"/>
          <ac:spMkLst>
            <pc:docMk/>
            <pc:sldMk cId="1874744215" sldId="323"/>
            <ac:spMk id="186" creationId="{C5F1ECF1-89CB-4611-B52F-79858E3BD6DF}"/>
          </ac:spMkLst>
        </pc:spChg>
      </pc:sldChg>
      <pc:sldChg chg="addSp modSp add mod modTransition modClrScheme chgLayout">
        <pc:chgData name="Andreas" userId="9d9beba6-c052-407a-8599-c781a677a996" providerId="ADAL" clId="{1B7CF67B-5515-4C9F-825D-072B1C4F5900}" dt="2021-11-18T08:55:13.076" v="800" actId="26606"/>
        <pc:sldMkLst>
          <pc:docMk/>
          <pc:sldMk cId="3593672304" sldId="324"/>
        </pc:sldMkLst>
        <pc:spChg chg="add mod">
          <ac:chgData name="Andreas" userId="9d9beba6-c052-407a-8599-c781a677a996" providerId="ADAL" clId="{1B7CF67B-5515-4C9F-825D-072B1C4F5900}" dt="2021-11-18T08:55:13.076" v="800" actId="26606"/>
          <ac:spMkLst>
            <pc:docMk/>
            <pc:sldMk cId="3593672304" sldId="324"/>
            <ac:spMk id="122" creationId="{6D2C0D96-0000-4199-ACB2-E89BD9D924BE}"/>
          </ac:spMkLst>
        </pc:spChg>
        <pc:spChg chg="add mod">
          <ac:chgData name="Andreas" userId="9d9beba6-c052-407a-8599-c781a677a996" providerId="ADAL" clId="{1B7CF67B-5515-4C9F-825D-072B1C4F5900}" dt="2021-11-18T08:55:13.076" v="800" actId="26606"/>
          <ac:spMkLst>
            <pc:docMk/>
            <pc:sldMk cId="3593672304" sldId="324"/>
            <ac:spMk id="124" creationId="{0622D28A-91AA-4FD6-878A-DB5690C113A0}"/>
          </ac:spMkLst>
        </pc:spChg>
        <pc:spChg chg="add mod">
          <ac:chgData name="Andreas" userId="9d9beba6-c052-407a-8599-c781a677a996" providerId="ADAL" clId="{1B7CF67B-5515-4C9F-825D-072B1C4F5900}" dt="2021-11-18T08:55:13.076" v="800" actId="26606"/>
          <ac:spMkLst>
            <pc:docMk/>
            <pc:sldMk cId="3593672304" sldId="324"/>
            <ac:spMk id="126" creationId="{B747894F-D2D2-471B-9986-2062DFE18466}"/>
          </ac:spMkLst>
        </pc:spChg>
        <pc:spChg chg="mod ord">
          <ac:chgData name="Andreas" userId="9d9beba6-c052-407a-8599-c781a677a996" providerId="ADAL" clId="{1B7CF67B-5515-4C9F-825D-072B1C4F5900}" dt="2021-11-18T08:55:13.076" v="800" actId="26606"/>
          <ac:spMkLst>
            <pc:docMk/>
            <pc:sldMk cId="3593672304" sldId="324"/>
            <ac:spMk id="180" creationId="{00000000-0000-0000-0000-000000000000}"/>
          </ac:spMkLst>
        </pc:spChg>
        <pc:spChg chg="mod">
          <ac:chgData name="Andreas" userId="9d9beba6-c052-407a-8599-c781a677a996" providerId="ADAL" clId="{1B7CF67B-5515-4C9F-825D-072B1C4F5900}" dt="2021-11-18T08:55:13.076" v="800" actId="26606"/>
          <ac:spMkLst>
            <pc:docMk/>
            <pc:sldMk cId="3593672304" sldId="324"/>
            <ac:spMk id="181" creationId="{00000000-0000-0000-0000-000000000000}"/>
          </ac:spMkLst>
        </pc:spChg>
      </pc:sldChg>
      <pc:sldChg chg="addSp modSp add mod modTransition modClrScheme chgLayout">
        <pc:chgData name="Andreas" userId="9d9beba6-c052-407a-8599-c781a677a996" providerId="ADAL" clId="{1B7CF67B-5515-4C9F-825D-072B1C4F5900}" dt="2021-11-18T08:55:29.768" v="804" actId="1076"/>
        <pc:sldMkLst>
          <pc:docMk/>
          <pc:sldMk cId="2313639849" sldId="325"/>
        </pc:sldMkLst>
        <pc:spChg chg="add mod">
          <ac:chgData name="Andreas" userId="9d9beba6-c052-407a-8599-c781a677a996" providerId="ADAL" clId="{1B7CF67B-5515-4C9F-825D-072B1C4F5900}" dt="2021-11-18T08:55:19.608" v="801" actId="26606"/>
          <ac:spMkLst>
            <pc:docMk/>
            <pc:sldMk cId="2313639849" sldId="325"/>
            <ac:spMk id="122" creationId="{103E901B-5E72-4D67-B9E2-3F01AC959EA1}"/>
          </ac:spMkLst>
        </pc:spChg>
        <pc:spChg chg="add mod">
          <ac:chgData name="Andreas" userId="9d9beba6-c052-407a-8599-c781a677a996" providerId="ADAL" clId="{1B7CF67B-5515-4C9F-825D-072B1C4F5900}" dt="2021-11-18T08:55:19.608" v="801" actId="26606"/>
          <ac:spMkLst>
            <pc:docMk/>
            <pc:sldMk cId="2313639849" sldId="325"/>
            <ac:spMk id="124" creationId="{22B13B22-BA8A-4176-A6CE-B46EE279908A}"/>
          </ac:spMkLst>
        </pc:spChg>
        <pc:spChg chg="mod">
          <ac:chgData name="Andreas" userId="9d9beba6-c052-407a-8599-c781a677a996" providerId="ADAL" clId="{1B7CF67B-5515-4C9F-825D-072B1C4F5900}" dt="2021-11-18T08:55:27.418" v="803" actId="14100"/>
          <ac:spMkLst>
            <pc:docMk/>
            <pc:sldMk cId="2313639849" sldId="325"/>
            <ac:spMk id="180" creationId="{00000000-0000-0000-0000-000000000000}"/>
          </ac:spMkLst>
        </pc:spChg>
        <pc:spChg chg="mod">
          <ac:chgData name="Andreas" userId="9d9beba6-c052-407a-8599-c781a677a996" providerId="ADAL" clId="{1B7CF67B-5515-4C9F-825D-072B1C4F5900}" dt="2021-11-18T08:55:19.608" v="801" actId="26606"/>
          <ac:spMkLst>
            <pc:docMk/>
            <pc:sldMk cId="2313639849" sldId="325"/>
            <ac:spMk id="181" creationId="{00000000-0000-0000-0000-000000000000}"/>
          </ac:spMkLst>
        </pc:spChg>
        <pc:picChg chg="mod">
          <ac:chgData name="Andreas" userId="9d9beba6-c052-407a-8599-c781a677a996" providerId="ADAL" clId="{1B7CF67B-5515-4C9F-825D-072B1C4F5900}" dt="2021-11-18T08:55:29.768" v="804" actId="1076"/>
          <ac:picMkLst>
            <pc:docMk/>
            <pc:sldMk cId="2313639849" sldId="325"/>
            <ac:picMk id="5" creationId="{5421E0DE-4470-4DC3-9833-70EB5DAE7B89}"/>
          </ac:picMkLst>
        </pc:picChg>
      </pc:sldChg>
      <pc:sldChg chg="addSp modSp add mod modTransition chgLayout">
        <pc:chgData name="Andreas" userId="9d9beba6-c052-407a-8599-c781a677a996" providerId="ADAL" clId="{1B7CF67B-5515-4C9F-825D-072B1C4F5900}" dt="2021-11-18T09:03:01.550" v="871" actId="14100"/>
        <pc:sldMkLst>
          <pc:docMk/>
          <pc:sldMk cId="519232677" sldId="326"/>
        </pc:sldMkLst>
        <pc:spChg chg="add mod">
          <ac:chgData name="Andreas" userId="9d9beba6-c052-407a-8599-c781a677a996" providerId="ADAL" clId="{1B7CF67B-5515-4C9F-825D-072B1C4F5900}" dt="2021-11-18T09:02:57.019" v="869" actId="26606"/>
          <ac:spMkLst>
            <pc:docMk/>
            <pc:sldMk cId="519232677" sldId="326"/>
            <ac:spMk id="122" creationId="{5B9E608D-6BB8-4678-82E2-4DA471CBB57D}"/>
          </ac:spMkLst>
        </pc:spChg>
        <pc:spChg chg="add mod">
          <ac:chgData name="Andreas" userId="9d9beba6-c052-407a-8599-c781a677a996" providerId="ADAL" clId="{1B7CF67B-5515-4C9F-825D-072B1C4F5900}" dt="2021-11-18T09:02:57.019" v="869" actId="26606"/>
          <ac:spMkLst>
            <pc:docMk/>
            <pc:sldMk cId="519232677" sldId="326"/>
            <ac:spMk id="124" creationId="{C61D88A5-3548-488E-B937-36B2D1D17C78}"/>
          </ac:spMkLst>
        </pc:spChg>
        <pc:spChg chg="mod">
          <ac:chgData name="Andreas" userId="9d9beba6-c052-407a-8599-c781a677a996" providerId="ADAL" clId="{1B7CF67B-5515-4C9F-825D-072B1C4F5900}" dt="2021-11-18T09:03:01.550" v="871" actId="14100"/>
          <ac:spMkLst>
            <pc:docMk/>
            <pc:sldMk cId="519232677" sldId="326"/>
            <ac:spMk id="180" creationId="{00000000-0000-0000-0000-000000000000}"/>
          </ac:spMkLst>
        </pc:spChg>
        <pc:spChg chg="mod">
          <ac:chgData name="Andreas" userId="9d9beba6-c052-407a-8599-c781a677a996" providerId="ADAL" clId="{1B7CF67B-5515-4C9F-825D-072B1C4F5900}" dt="2021-11-18T09:02:57.019" v="869" actId="26606"/>
          <ac:spMkLst>
            <pc:docMk/>
            <pc:sldMk cId="519232677" sldId="326"/>
            <ac:spMk id="181" creationId="{00000000-0000-0000-0000-000000000000}"/>
          </ac:spMkLst>
        </pc:spChg>
        <pc:picChg chg="mod ord">
          <ac:chgData name="Andreas" userId="9d9beba6-c052-407a-8599-c781a677a996" providerId="ADAL" clId="{1B7CF67B-5515-4C9F-825D-072B1C4F5900}" dt="2021-11-18T09:02:57.019" v="869" actId="26606"/>
          <ac:picMkLst>
            <pc:docMk/>
            <pc:sldMk cId="519232677" sldId="326"/>
            <ac:picMk id="6" creationId="{9FCD9FD2-6585-4E21-8669-58DF5A9CD2C4}"/>
          </ac:picMkLst>
        </pc:picChg>
      </pc:sldChg>
      <pc:sldChg chg="addSp modSp add mod modTransition modClrScheme chgLayout">
        <pc:chgData name="Andreas" userId="9d9beba6-c052-407a-8599-c781a677a996" providerId="ADAL" clId="{1B7CF67B-5515-4C9F-825D-072B1C4F5900}" dt="2021-11-18T08:56:19.870" v="816" actId="1076"/>
        <pc:sldMkLst>
          <pc:docMk/>
          <pc:sldMk cId="2590330072" sldId="327"/>
        </pc:sldMkLst>
        <pc:spChg chg="add mod">
          <ac:chgData name="Andreas" userId="9d9beba6-c052-407a-8599-c781a677a996" providerId="ADAL" clId="{1B7CF67B-5515-4C9F-825D-072B1C4F5900}" dt="2021-11-18T08:55:48.623" v="808" actId="26606"/>
          <ac:spMkLst>
            <pc:docMk/>
            <pc:sldMk cId="2590330072" sldId="327"/>
            <ac:spMk id="122" creationId="{373BD7D3-58F6-4A66-9E36-3E6C9569C324}"/>
          </ac:spMkLst>
        </pc:spChg>
        <pc:spChg chg="add mod">
          <ac:chgData name="Andreas" userId="9d9beba6-c052-407a-8599-c781a677a996" providerId="ADAL" clId="{1B7CF67B-5515-4C9F-825D-072B1C4F5900}" dt="2021-11-18T08:55:48.623" v="808" actId="26606"/>
          <ac:spMkLst>
            <pc:docMk/>
            <pc:sldMk cId="2590330072" sldId="327"/>
            <ac:spMk id="124" creationId="{261660C3-30DC-47D3-9DB5-9A4EA8586CFA}"/>
          </ac:spMkLst>
        </pc:spChg>
        <pc:spChg chg="mod">
          <ac:chgData name="Andreas" userId="9d9beba6-c052-407a-8599-c781a677a996" providerId="ADAL" clId="{1B7CF67B-5515-4C9F-825D-072B1C4F5900}" dt="2021-11-18T08:56:03.858" v="813" actId="14100"/>
          <ac:spMkLst>
            <pc:docMk/>
            <pc:sldMk cId="2590330072" sldId="327"/>
            <ac:spMk id="180" creationId="{00000000-0000-0000-0000-000000000000}"/>
          </ac:spMkLst>
        </pc:spChg>
        <pc:spChg chg="mod">
          <ac:chgData name="Andreas" userId="9d9beba6-c052-407a-8599-c781a677a996" providerId="ADAL" clId="{1B7CF67B-5515-4C9F-825D-072B1C4F5900}" dt="2021-11-18T08:56:08.644" v="814" actId="1076"/>
          <ac:spMkLst>
            <pc:docMk/>
            <pc:sldMk cId="2590330072" sldId="327"/>
            <ac:spMk id="181" creationId="{00000000-0000-0000-0000-000000000000}"/>
          </ac:spMkLst>
        </pc:spChg>
        <pc:picChg chg="mod">
          <ac:chgData name="Andreas" userId="9d9beba6-c052-407a-8599-c781a677a996" providerId="ADAL" clId="{1B7CF67B-5515-4C9F-825D-072B1C4F5900}" dt="2021-11-18T08:56:19.870" v="816" actId="1076"/>
          <ac:picMkLst>
            <pc:docMk/>
            <pc:sldMk cId="2590330072" sldId="327"/>
            <ac:picMk id="5" creationId="{8C5ED1B6-C473-4FC5-834C-F9E21DB68B03}"/>
          </ac:picMkLst>
        </pc:picChg>
      </pc:sldChg>
      <pc:sldChg chg="modSp mod">
        <pc:chgData name="Andreas" userId="9d9beba6-c052-407a-8599-c781a677a996" providerId="ADAL" clId="{1B7CF67B-5515-4C9F-825D-072B1C4F5900}" dt="2021-11-18T08:12:26.126" v="57" actId="20577"/>
        <pc:sldMkLst>
          <pc:docMk/>
          <pc:sldMk cId="697137886" sldId="679"/>
        </pc:sldMkLst>
        <pc:spChg chg="mod">
          <ac:chgData name="Andreas" userId="9d9beba6-c052-407a-8599-c781a677a996" providerId="ADAL" clId="{1B7CF67B-5515-4C9F-825D-072B1C4F5900}" dt="2021-11-18T08:12:17.287" v="22" actId="20577"/>
          <ac:spMkLst>
            <pc:docMk/>
            <pc:sldMk cId="697137886" sldId="679"/>
            <ac:spMk id="2" creationId="{00000000-0000-0000-0000-000000000000}"/>
          </ac:spMkLst>
        </pc:spChg>
        <pc:spChg chg="mod">
          <ac:chgData name="Andreas" userId="9d9beba6-c052-407a-8599-c781a677a996" providerId="ADAL" clId="{1B7CF67B-5515-4C9F-825D-072B1C4F5900}" dt="2021-11-18T08:12:26.126" v="57" actId="20577"/>
          <ac:spMkLst>
            <pc:docMk/>
            <pc:sldMk cId="697137886" sldId="679"/>
            <ac:spMk id="3" creationId="{00000000-0000-0000-0000-000000000000}"/>
          </ac:spMkLst>
        </pc:spChg>
      </pc:sldChg>
      <pc:sldChg chg="addSp delSp modSp add del mod">
        <pc:chgData name="Andreas" userId="9d9beba6-c052-407a-8599-c781a677a996" providerId="ADAL" clId="{1B7CF67B-5515-4C9F-825D-072B1C4F5900}" dt="2021-11-18T08:21:03.343" v="289" actId="478"/>
        <pc:sldMkLst>
          <pc:docMk/>
          <pc:sldMk cId="2087783305" sldId="730"/>
        </pc:sldMkLst>
        <pc:spChg chg="del">
          <ac:chgData name="Andreas" userId="9d9beba6-c052-407a-8599-c781a677a996" providerId="ADAL" clId="{1B7CF67B-5515-4C9F-825D-072B1C4F5900}" dt="2021-11-18T08:21:03.343" v="289" actId="478"/>
          <ac:spMkLst>
            <pc:docMk/>
            <pc:sldMk cId="2087783305" sldId="730"/>
            <ac:spMk id="2" creationId="{D90303DA-DAA4-4B31-8D92-005E3CB21D11}"/>
          </ac:spMkLst>
        </pc:spChg>
        <pc:spChg chg="mod">
          <ac:chgData name="Andreas" userId="9d9beba6-c052-407a-8599-c781a677a996" providerId="ADAL" clId="{1B7CF67B-5515-4C9F-825D-072B1C4F5900}" dt="2021-11-18T08:12:37.935" v="63" actId="20577"/>
          <ac:spMkLst>
            <pc:docMk/>
            <pc:sldMk cId="2087783305" sldId="730"/>
            <ac:spMk id="8" creationId="{F6664A8B-FDC6-48AB-8C23-E58136970003}"/>
          </ac:spMkLst>
        </pc:spChg>
        <pc:spChg chg="del">
          <ac:chgData name="Andreas" userId="9d9beba6-c052-407a-8599-c781a677a996" providerId="ADAL" clId="{1B7CF67B-5515-4C9F-825D-072B1C4F5900}" dt="2021-11-18T08:12:42.888" v="64" actId="478"/>
          <ac:spMkLst>
            <pc:docMk/>
            <pc:sldMk cId="2087783305" sldId="730"/>
            <ac:spMk id="10" creationId="{DA240B4E-24DB-479F-8CF5-DA6856B72C6A}"/>
          </ac:spMkLst>
        </pc:spChg>
        <pc:spChg chg="mod">
          <ac:chgData name="Andreas" userId="9d9beba6-c052-407a-8599-c781a677a996" providerId="ADAL" clId="{1B7CF67B-5515-4C9F-825D-072B1C4F5900}" dt="2021-11-18T08:13:33.960" v="109" actId="20577"/>
          <ac:spMkLst>
            <pc:docMk/>
            <pc:sldMk cId="2087783305" sldId="730"/>
            <ac:spMk id="11" creationId="{618A10C5-431B-4229-87F2-69FEAE5298F3}"/>
          </ac:spMkLst>
        </pc:spChg>
        <pc:spChg chg="mod">
          <ac:chgData name="Andreas" userId="9d9beba6-c052-407a-8599-c781a677a996" providerId="ADAL" clId="{1B7CF67B-5515-4C9F-825D-072B1C4F5900}" dt="2021-11-18T08:13:38.323" v="125" actId="20577"/>
          <ac:spMkLst>
            <pc:docMk/>
            <pc:sldMk cId="2087783305" sldId="730"/>
            <ac:spMk id="12" creationId="{F4823D76-F745-416B-B271-20B77344DBD4}"/>
          </ac:spMkLst>
        </pc:spChg>
        <pc:spChg chg="add mod">
          <ac:chgData name="Andreas" userId="9d9beba6-c052-407a-8599-c781a677a996" providerId="ADAL" clId="{1B7CF67B-5515-4C9F-825D-072B1C4F5900}" dt="2021-11-18T08:13:26.417" v="91" actId="6549"/>
          <ac:spMkLst>
            <pc:docMk/>
            <pc:sldMk cId="2087783305" sldId="730"/>
            <ac:spMk id="13" creationId="{65A2EA35-6E56-4E08-BAAC-9895D08AD256}"/>
          </ac:spMkLst>
        </pc:spChg>
        <pc:spChg chg="add mod">
          <ac:chgData name="Andreas" userId="9d9beba6-c052-407a-8599-c781a677a996" providerId="ADAL" clId="{1B7CF67B-5515-4C9F-825D-072B1C4F5900}" dt="2021-11-18T08:13:04.574" v="68" actId="571"/>
          <ac:spMkLst>
            <pc:docMk/>
            <pc:sldMk cId="2087783305" sldId="730"/>
            <ac:spMk id="14" creationId="{669039FB-DE0E-4877-BE3E-28A234978BD8}"/>
          </ac:spMkLst>
        </pc:spChg>
        <pc:spChg chg="add mod">
          <ac:chgData name="Andreas" userId="9d9beba6-c052-407a-8599-c781a677a996" providerId="ADAL" clId="{1B7CF67B-5515-4C9F-825D-072B1C4F5900}" dt="2021-11-18T08:13:53.480" v="201" actId="20577"/>
          <ac:spMkLst>
            <pc:docMk/>
            <pc:sldMk cId="2087783305" sldId="730"/>
            <ac:spMk id="15" creationId="{3C76393C-FC96-4E11-96C8-83D73865BFF3}"/>
          </ac:spMkLst>
        </pc:spChg>
        <pc:spChg chg="add mod">
          <ac:chgData name="Andreas" userId="9d9beba6-c052-407a-8599-c781a677a996" providerId="ADAL" clId="{1B7CF67B-5515-4C9F-825D-072B1C4F5900}" dt="2021-11-18T08:14:09.638" v="248" actId="20577"/>
          <ac:spMkLst>
            <pc:docMk/>
            <pc:sldMk cId="2087783305" sldId="730"/>
            <ac:spMk id="16" creationId="{B7D7E413-8D33-460F-9286-2FF50DA438BA}"/>
          </ac:spMkLst>
        </pc:spChg>
        <pc:spChg chg="add mod">
          <ac:chgData name="Andreas" userId="9d9beba6-c052-407a-8599-c781a677a996" providerId="ADAL" clId="{1B7CF67B-5515-4C9F-825D-072B1C4F5900}" dt="2021-11-18T08:13:43.964" v="151" actId="20577"/>
          <ac:spMkLst>
            <pc:docMk/>
            <pc:sldMk cId="2087783305" sldId="730"/>
            <ac:spMk id="17" creationId="{D313F849-693C-4168-A593-04E7F0D87DE1}"/>
          </ac:spMkLst>
        </pc:spChg>
        <pc:spChg chg="add mod">
          <ac:chgData name="Andreas" userId="9d9beba6-c052-407a-8599-c781a677a996" providerId="ADAL" clId="{1B7CF67B-5515-4C9F-825D-072B1C4F5900}" dt="2021-11-18T08:14:13.310" v="258" actId="20577"/>
          <ac:spMkLst>
            <pc:docMk/>
            <pc:sldMk cId="2087783305" sldId="730"/>
            <ac:spMk id="18" creationId="{A3DD34F7-6ECE-4E5F-A04C-254F1D3C0EB6}"/>
          </ac:spMkLst>
        </pc:spChg>
      </pc:sldChg>
      <pc:sldChg chg="del">
        <pc:chgData name="Andreas" userId="9d9beba6-c052-407a-8599-c781a677a996" providerId="ADAL" clId="{1B7CF67B-5515-4C9F-825D-072B1C4F5900}" dt="2021-11-18T08:14:18.237" v="259" actId="47"/>
        <pc:sldMkLst>
          <pc:docMk/>
          <pc:sldMk cId="319856197" sldId="731"/>
        </pc:sldMkLst>
      </pc:sldChg>
      <pc:sldChg chg="add del">
        <pc:chgData name="Andreas" userId="9d9beba6-c052-407a-8599-c781a677a996" providerId="ADAL" clId="{1B7CF67B-5515-4C9F-825D-072B1C4F5900}" dt="2021-11-18T08:45:28.065" v="629" actId="47"/>
        <pc:sldMkLst>
          <pc:docMk/>
          <pc:sldMk cId="1655574538" sldId="731"/>
        </pc:sldMkLst>
      </pc:sldChg>
      <pc:sldChg chg="addSp delSp modSp add mod modTransition chgLayout">
        <pc:chgData name="Andreas" userId="9d9beba6-c052-407a-8599-c781a677a996" providerId="ADAL" clId="{1B7CF67B-5515-4C9F-825D-072B1C4F5900}" dt="2021-11-18T09:01:00.073" v="846" actId="166"/>
        <pc:sldMkLst>
          <pc:docMk/>
          <pc:sldMk cId="1184925497" sldId="732"/>
        </pc:sldMkLst>
        <pc:spChg chg="add mod">
          <ac:chgData name="Andreas" userId="9d9beba6-c052-407a-8599-c781a677a996" providerId="ADAL" clId="{1B7CF67B-5515-4C9F-825D-072B1C4F5900}" dt="2021-11-18T09:00:47.504" v="844" actId="26606"/>
          <ac:spMkLst>
            <pc:docMk/>
            <pc:sldMk cId="1184925497" sldId="732"/>
            <ac:spMk id="127" creationId="{784BCEB1-8105-4380-91FF-379600874C95}"/>
          </ac:spMkLst>
        </pc:spChg>
        <pc:spChg chg="mod ord">
          <ac:chgData name="Andreas" userId="9d9beba6-c052-407a-8599-c781a677a996" providerId="ADAL" clId="{1B7CF67B-5515-4C9F-825D-072B1C4F5900}" dt="2021-11-18T09:01:00.073" v="846" actId="166"/>
          <ac:spMkLst>
            <pc:docMk/>
            <pc:sldMk cId="1184925497" sldId="732"/>
            <ac:spMk id="185" creationId="{00000000-0000-0000-0000-000000000000}"/>
          </ac:spMkLst>
        </pc:spChg>
        <pc:spChg chg="mod">
          <ac:chgData name="Andreas" userId="9d9beba6-c052-407a-8599-c781a677a996" providerId="ADAL" clId="{1B7CF67B-5515-4C9F-825D-072B1C4F5900}" dt="2021-11-18T09:00:47.504" v="844" actId="26606"/>
          <ac:spMkLst>
            <pc:docMk/>
            <pc:sldMk cId="1184925497" sldId="732"/>
            <ac:spMk id="186" creationId="{00000000-0000-0000-0000-000000000000}"/>
          </ac:spMkLst>
        </pc:spChg>
        <pc:spChg chg="add mod">
          <ac:chgData name="Andreas" userId="9d9beba6-c052-407a-8599-c781a677a996" providerId="ADAL" clId="{1B7CF67B-5515-4C9F-825D-072B1C4F5900}" dt="2021-11-18T09:00:47.504" v="844" actId="26606"/>
          <ac:spMkLst>
            <pc:docMk/>
            <pc:sldMk cId="1184925497" sldId="732"/>
            <ac:spMk id="192" creationId="{A503FDDA-D84B-4716-81AF-C95B3D8C4545}"/>
          </ac:spMkLst>
        </pc:spChg>
        <pc:picChg chg="add mod ord">
          <ac:chgData name="Andreas" userId="9d9beba6-c052-407a-8599-c781a677a996" providerId="ADAL" clId="{1B7CF67B-5515-4C9F-825D-072B1C4F5900}" dt="2021-11-18T09:00:47.504" v="844" actId="26606"/>
          <ac:picMkLst>
            <pc:docMk/>
            <pc:sldMk cId="1184925497" sldId="732"/>
            <ac:picMk id="3" creationId="{F6EAD927-657C-4A55-A402-716F48D98067}"/>
          </ac:picMkLst>
        </pc:picChg>
        <pc:picChg chg="del">
          <ac:chgData name="Andreas" userId="9d9beba6-c052-407a-8599-c781a677a996" providerId="ADAL" clId="{1B7CF67B-5515-4C9F-825D-072B1C4F5900}" dt="2021-11-18T08:46:41.271" v="637" actId="478"/>
          <ac:picMkLst>
            <pc:docMk/>
            <pc:sldMk cId="1184925497" sldId="732"/>
            <ac:picMk id="188" creationId="{00000000-0000-0000-0000-000000000000}"/>
          </ac:picMkLst>
        </pc:picChg>
      </pc:sldChg>
      <pc:sldChg chg="del">
        <pc:chgData name="Andreas" userId="9d9beba6-c052-407a-8599-c781a677a996" providerId="ADAL" clId="{1B7CF67B-5515-4C9F-825D-072B1C4F5900}" dt="2021-11-18T08:14:18.958" v="260" actId="47"/>
        <pc:sldMkLst>
          <pc:docMk/>
          <pc:sldMk cId="3494972177" sldId="732"/>
        </pc:sldMkLst>
      </pc:sldChg>
      <pc:sldChg chg="del">
        <pc:chgData name="Andreas" userId="9d9beba6-c052-407a-8599-c781a677a996" providerId="ADAL" clId="{1B7CF67B-5515-4C9F-825D-072B1C4F5900}" dt="2021-11-18T08:14:19.402" v="261" actId="47"/>
        <pc:sldMkLst>
          <pc:docMk/>
          <pc:sldMk cId="608567130" sldId="733"/>
        </pc:sldMkLst>
      </pc:sldChg>
      <pc:sldChg chg="addSp delSp modSp add mod">
        <pc:chgData name="Andreas" userId="9d9beba6-c052-407a-8599-c781a677a996" providerId="ADAL" clId="{1B7CF67B-5515-4C9F-825D-072B1C4F5900}" dt="2021-11-18T09:00:37.062" v="843" actId="20577"/>
        <pc:sldMkLst>
          <pc:docMk/>
          <pc:sldMk cId="2202495698" sldId="733"/>
        </pc:sldMkLst>
        <pc:spChg chg="add del mod">
          <ac:chgData name="Andreas" userId="9d9beba6-c052-407a-8599-c781a677a996" providerId="ADAL" clId="{1B7CF67B-5515-4C9F-825D-072B1C4F5900}" dt="2021-11-18T09:00:15.480" v="839" actId="478"/>
          <ac:spMkLst>
            <pc:docMk/>
            <pc:sldMk cId="2202495698" sldId="733"/>
            <ac:spMk id="3" creationId="{364AF008-BA37-4F1A-A301-54B751AB1BB2}"/>
          </ac:spMkLst>
        </pc:spChg>
        <pc:spChg chg="mod">
          <ac:chgData name="Andreas" userId="9d9beba6-c052-407a-8599-c781a677a996" providerId="ADAL" clId="{1B7CF67B-5515-4C9F-825D-072B1C4F5900}" dt="2021-11-18T09:00:37.062" v="843" actId="20577"/>
          <ac:spMkLst>
            <pc:docMk/>
            <pc:sldMk cId="2202495698" sldId="733"/>
            <ac:spMk id="185" creationId="{00000000-0000-0000-0000-000000000000}"/>
          </ac:spMkLst>
        </pc:spChg>
        <pc:spChg chg="mod">
          <ac:chgData name="Andreas" userId="9d9beba6-c052-407a-8599-c781a677a996" providerId="ADAL" clId="{1B7CF67B-5515-4C9F-825D-072B1C4F5900}" dt="2021-11-18T09:00:24.830" v="840"/>
          <ac:spMkLst>
            <pc:docMk/>
            <pc:sldMk cId="2202495698" sldId="733"/>
            <ac:spMk id="186" creationId="{00000000-0000-0000-0000-000000000000}"/>
          </ac:spMkLst>
        </pc:spChg>
        <pc:picChg chg="add mod">
          <ac:chgData name="Andreas" userId="9d9beba6-c052-407a-8599-c781a677a996" providerId="ADAL" clId="{1B7CF67B-5515-4C9F-825D-072B1C4F5900}" dt="2021-11-18T09:00:13.611" v="838"/>
          <ac:picMkLst>
            <pc:docMk/>
            <pc:sldMk cId="2202495698" sldId="733"/>
            <ac:picMk id="9" creationId="{A869627E-596B-4F47-97F6-C70D2995C478}"/>
          </ac:picMkLst>
        </pc:picChg>
        <pc:picChg chg="del">
          <ac:chgData name="Andreas" userId="9d9beba6-c052-407a-8599-c781a677a996" providerId="ADAL" clId="{1B7CF67B-5515-4C9F-825D-072B1C4F5900}" dt="2021-11-18T09:00:12.649" v="837" actId="478"/>
          <ac:picMkLst>
            <pc:docMk/>
            <pc:sldMk cId="2202495698" sldId="733"/>
            <ac:picMk id="188" creationId="{00000000-0000-0000-0000-000000000000}"/>
          </ac:picMkLst>
        </pc:picChg>
      </pc:sldChg>
      <pc:sldChg chg="del">
        <pc:chgData name="Andreas" userId="9d9beba6-c052-407a-8599-c781a677a996" providerId="ADAL" clId="{1B7CF67B-5515-4C9F-825D-072B1C4F5900}" dt="2021-11-18T08:14:19.883" v="262" actId="47"/>
        <pc:sldMkLst>
          <pc:docMk/>
          <pc:sldMk cId="158431274" sldId="734"/>
        </pc:sldMkLst>
      </pc:sldChg>
      <pc:sldChg chg="del">
        <pc:chgData name="Andreas" userId="9d9beba6-c052-407a-8599-c781a677a996" providerId="ADAL" clId="{1B7CF67B-5515-4C9F-825D-072B1C4F5900}" dt="2021-11-18T08:14:20.400" v="263" actId="47"/>
        <pc:sldMkLst>
          <pc:docMk/>
          <pc:sldMk cId="801795982" sldId="735"/>
        </pc:sldMkLst>
      </pc:sldChg>
      <pc:sldChg chg="del">
        <pc:chgData name="Andreas" userId="9d9beba6-c052-407a-8599-c781a677a996" providerId="ADAL" clId="{1B7CF67B-5515-4C9F-825D-072B1C4F5900}" dt="2021-11-18T08:14:21.213" v="265" actId="47"/>
        <pc:sldMkLst>
          <pc:docMk/>
          <pc:sldMk cId="861506504" sldId="737"/>
        </pc:sldMkLst>
      </pc:sldChg>
      <pc:sldChg chg="del">
        <pc:chgData name="Andreas" userId="9d9beba6-c052-407a-8599-c781a677a996" providerId="ADAL" clId="{1B7CF67B-5515-4C9F-825D-072B1C4F5900}" dt="2021-11-18T08:14:21.992" v="266" actId="47"/>
        <pc:sldMkLst>
          <pc:docMk/>
          <pc:sldMk cId="830271729" sldId="738"/>
        </pc:sldMkLst>
      </pc:sldChg>
      <pc:sldChg chg="del">
        <pc:chgData name="Andreas" userId="9d9beba6-c052-407a-8599-c781a677a996" providerId="ADAL" clId="{1B7CF67B-5515-4C9F-825D-072B1C4F5900}" dt="2021-11-18T08:14:20.842" v="264" actId="47"/>
        <pc:sldMkLst>
          <pc:docMk/>
          <pc:sldMk cId="1670401631" sldId="739"/>
        </pc:sldMkLst>
      </pc:sldChg>
      <pc:sldChg chg="add del">
        <pc:chgData name="Andreas" userId="9d9beba6-c052-407a-8599-c781a677a996" providerId="ADAL" clId="{1B7CF67B-5515-4C9F-825D-072B1C4F5900}" dt="2021-11-18T08:16:49.694" v="274" actId="47"/>
        <pc:sldMkLst>
          <pc:docMk/>
          <pc:sldMk cId="3559999478" sldId="776"/>
        </pc:sldMkLst>
      </pc:sldChg>
      <pc:sldChg chg="del">
        <pc:chgData name="Andreas" userId="9d9beba6-c052-407a-8599-c781a677a996" providerId="ADAL" clId="{1B7CF67B-5515-4C9F-825D-072B1C4F5900}" dt="2021-11-18T08:16:51.325" v="275" actId="47"/>
        <pc:sldMkLst>
          <pc:docMk/>
          <pc:sldMk cId="3224449945" sldId="777"/>
        </pc:sldMkLst>
      </pc:sldChg>
      <pc:sldChg chg="del">
        <pc:chgData name="Andreas" userId="9d9beba6-c052-407a-8599-c781a677a996" providerId="ADAL" clId="{1B7CF67B-5515-4C9F-825D-072B1C4F5900}" dt="2021-11-18T08:14:22.648" v="267" actId="47"/>
        <pc:sldMkLst>
          <pc:docMk/>
          <pc:sldMk cId="3911558757" sldId="778"/>
        </pc:sldMkLst>
      </pc:sldChg>
      <pc:sldMasterChg chg="modSldLayout">
        <pc:chgData name="Andreas" userId="9d9beba6-c052-407a-8599-c781a677a996" providerId="ADAL" clId="{1B7CF67B-5515-4C9F-825D-072B1C4F5900}" dt="2021-11-18T08:21:07.394" v="290"/>
        <pc:sldMasterMkLst>
          <pc:docMk/>
          <pc:sldMasterMk cId="2615922609" sldId="2147483648"/>
        </pc:sldMasterMkLst>
        <pc:sldLayoutChg chg="setBg">
          <pc:chgData name="Andreas" userId="9d9beba6-c052-407a-8599-c781a677a996" providerId="ADAL" clId="{1B7CF67B-5515-4C9F-825D-072B1C4F5900}" dt="2021-11-18T08:21:07.394" v="290"/>
          <pc:sldLayoutMkLst>
            <pc:docMk/>
            <pc:sldMasterMk cId="2615922609" sldId="2147483648"/>
            <pc:sldLayoutMk cId="1682017135" sldId="2147483656"/>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362052619" sldId="2147483873"/>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582775925" sldId="2147483888"/>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137469678" sldId="2147483897"/>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3598985693" sldId="2147483898"/>
          </pc:sldLayoutMkLst>
        </pc:sldLayoutChg>
      </pc:sldMasterChg>
    </pc:docChg>
  </pc:docChgLst>
  <pc:docChgLst>
    <pc:chgData name="Koksrud Andreas" userId="9d9beba6-c052-407a-8599-c781a677a996" providerId="ADAL" clId="{1FB09F4F-CFDF-4D24-98BE-1F875FA776D6}"/>
    <pc:docChg chg="undo custSel addSld delSld modSld sldOrd modSection">
      <pc:chgData name="Koksrud Andreas" userId="9d9beba6-c052-407a-8599-c781a677a996" providerId="ADAL" clId="{1FB09F4F-CFDF-4D24-98BE-1F875FA776D6}" dt="2021-11-18T17:20:51.311" v="2717" actId="20577"/>
      <pc:docMkLst>
        <pc:docMk/>
      </pc:docMkLst>
      <pc:sldChg chg="del">
        <pc:chgData name="Koksrud Andreas" userId="9d9beba6-c052-407a-8599-c781a677a996" providerId="ADAL" clId="{1FB09F4F-CFDF-4D24-98BE-1F875FA776D6}" dt="2021-11-18T09:17:16.380" v="0" actId="47"/>
        <pc:sldMkLst>
          <pc:docMk/>
          <pc:sldMk cId="129742149" sldId="277"/>
        </pc:sldMkLst>
      </pc:sldChg>
      <pc:sldChg chg="modSp">
        <pc:chgData name="Koksrud Andreas" userId="9d9beba6-c052-407a-8599-c781a677a996" providerId="ADAL" clId="{1FB09F4F-CFDF-4D24-98BE-1F875FA776D6}" dt="2021-11-18T09:17:59.239" v="5" actId="20577"/>
        <pc:sldMkLst>
          <pc:docMk/>
          <pc:sldMk cId="3494317797" sldId="280"/>
        </pc:sldMkLst>
        <pc:graphicFrameChg chg="mod">
          <ac:chgData name="Koksrud Andreas" userId="9d9beba6-c052-407a-8599-c781a677a996" providerId="ADAL" clId="{1FB09F4F-CFDF-4D24-98BE-1F875FA776D6}" dt="2021-11-18T09:17:59.239" v="5" actId="20577"/>
          <ac:graphicFrameMkLst>
            <pc:docMk/>
            <pc:sldMk cId="3494317797" sldId="280"/>
            <ac:graphicFrameMk id="168" creationId="{714074E8-7E65-4C8B-B79C-AEF7E52AA35E}"/>
          </ac:graphicFrameMkLst>
        </pc:graphicFrameChg>
      </pc:sldChg>
      <pc:sldChg chg="modSp mod">
        <pc:chgData name="Koksrud Andreas" userId="9d9beba6-c052-407a-8599-c781a677a996" providerId="ADAL" clId="{1FB09F4F-CFDF-4D24-98BE-1F875FA776D6}" dt="2021-11-18T09:23:39.153" v="65" actId="6549"/>
        <pc:sldMkLst>
          <pc:docMk/>
          <pc:sldMk cId="2509195288" sldId="290"/>
        </pc:sldMkLst>
        <pc:spChg chg="mod">
          <ac:chgData name="Koksrud Andreas" userId="9d9beba6-c052-407a-8599-c781a677a996" providerId="ADAL" clId="{1FB09F4F-CFDF-4D24-98BE-1F875FA776D6}" dt="2021-11-18T09:23:39.153" v="65" actId="6549"/>
          <ac:spMkLst>
            <pc:docMk/>
            <pc:sldMk cId="2509195288" sldId="290"/>
            <ac:spMk id="165" creationId="{00000000-0000-0000-0000-000000000000}"/>
          </ac:spMkLst>
        </pc:spChg>
      </pc:sldChg>
      <pc:sldChg chg="modSp mod">
        <pc:chgData name="Koksrud Andreas" userId="9d9beba6-c052-407a-8599-c781a677a996" providerId="ADAL" clId="{1FB09F4F-CFDF-4D24-98BE-1F875FA776D6}" dt="2021-11-18T09:23:43.822" v="66" actId="6549"/>
        <pc:sldMkLst>
          <pc:docMk/>
          <pc:sldMk cId="1911017754" sldId="291"/>
        </pc:sldMkLst>
        <pc:spChg chg="mod">
          <ac:chgData name="Koksrud Andreas" userId="9d9beba6-c052-407a-8599-c781a677a996" providerId="ADAL" clId="{1FB09F4F-CFDF-4D24-98BE-1F875FA776D6}" dt="2021-11-18T09:23:43.822" v="66" actId="6549"/>
          <ac:spMkLst>
            <pc:docMk/>
            <pc:sldMk cId="1911017754" sldId="291"/>
            <ac:spMk id="165" creationId="{00000000-0000-0000-0000-000000000000}"/>
          </ac:spMkLst>
        </pc:spChg>
      </pc:sldChg>
      <pc:sldChg chg="modSp mod">
        <pc:chgData name="Koksrud Andreas" userId="9d9beba6-c052-407a-8599-c781a677a996" providerId="ADAL" clId="{1FB09F4F-CFDF-4D24-98BE-1F875FA776D6}" dt="2021-11-18T09:24:15.644" v="115" actId="20577"/>
        <pc:sldMkLst>
          <pc:docMk/>
          <pc:sldMk cId="905136967" sldId="292"/>
        </pc:sldMkLst>
        <pc:spChg chg="mod">
          <ac:chgData name="Koksrud Andreas" userId="9d9beba6-c052-407a-8599-c781a677a996" providerId="ADAL" clId="{1FB09F4F-CFDF-4D24-98BE-1F875FA776D6}" dt="2021-11-18T09:24:15.644" v="115" actId="20577"/>
          <ac:spMkLst>
            <pc:docMk/>
            <pc:sldMk cId="905136967" sldId="292"/>
            <ac:spMk id="165" creationId="{00000000-0000-0000-0000-000000000000}"/>
          </ac:spMkLst>
        </pc:spChg>
      </pc:sldChg>
      <pc:sldChg chg="del">
        <pc:chgData name="Koksrud Andreas" userId="9d9beba6-c052-407a-8599-c781a677a996" providerId="ADAL" clId="{1FB09F4F-CFDF-4D24-98BE-1F875FA776D6}" dt="2021-11-18T09:24:47.597" v="116" actId="47"/>
        <pc:sldMkLst>
          <pc:docMk/>
          <pc:sldMk cId="76177616" sldId="297"/>
        </pc:sldMkLst>
      </pc:sldChg>
      <pc:sldChg chg="modSp mod">
        <pc:chgData name="Koksrud Andreas" userId="9d9beba6-c052-407a-8599-c781a677a996" providerId="ADAL" clId="{1FB09F4F-CFDF-4D24-98BE-1F875FA776D6}" dt="2021-11-18T09:25:37.252" v="123" actId="14100"/>
        <pc:sldMkLst>
          <pc:docMk/>
          <pc:sldMk cId="1764870061" sldId="302"/>
        </pc:sldMkLst>
        <pc:picChg chg="mod">
          <ac:chgData name="Koksrud Andreas" userId="9d9beba6-c052-407a-8599-c781a677a996" providerId="ADAL" clId="{1FB09F4F-CFDF-4D24-98BE-1F875FA776D6}" dt="2021-11-18T09:25:37.252" v="123" actId="14100"/>
          <ac:picMkLst>
            <pc:docMk/>
            <pc:sldMk cId="1764870061" sldId="302"/>
            <ac:picMk id="188" creationId="{00000000-0000-0000-0000-000000000000}"/>
          </ac:picMkLst>
        </pc:picChg>
      </pc:sldChg>
      <pc:sldChg chg="addSp delSp modSp mod">
        <pc:chgData name="Koksrud Andreas" userId="9d9beba6-c052-407a-8599-c781a677a996" providerId="ADAL" clId="{1FB09F4F-CFDF-4D24-98BE-1F875FA776D6}" dt="2021-11-18T09:25:26.152" v="121" actId="1076"/>
        <pc:sldMkLst>
          <pc:docMk/>
          <pc:sldMk cId="1114236349" sldId="303"/>
        </pc:sldMkLst>
        <pc:spChg chg="add del mod">
          <ac:chgData name="Koksrud Andreas" userId="9d9beba6-c052-407a-8599-c781a677a996" providerId="ADAL" clId="{1FB09F4F-CFDF-4D24-98BE-1F875FA776D6}" dt="2021-11-18T09:25:24.462" v="120" actId="478"/>
          <ac:spMkLst>
            <pc:docMk/>
            <pc:sldMk cId="1114236349" sldId="303"/>
            <ac:spMk id="3" creationId="{D12929B9-1979-4D99-B545-C1E824AD7993}"/>
          </ac:spMkLst>
        </pc:spChg>
        <pc:picChg chg="add mod">
          <ac:chgData name="Koksrud Andreas" userId="9d9beba6-c052-407a-8599-c781a677a996" providerId="ADAL" clId="{1FB09F4F-CFDF-4D24-98BE-1F875FA776D6}" dt="2021-11-18T09:25:26.152" v="121" actId="1076"/>
          <ac:picMkLst>
            <pc:docMk/>
            <pc:sldMk cId="1114236349" sldId="303"/>
            <ac:picMk id="9" creationId="{3B51429A-6032-4C86-BAE9-B4F97F3989C3}"/>
          </ac:picMkLst>
        </pc:picChg>
        <pc:picChg chg="del">
          <ac:chgData name="Koksrud Andreas" userId="9d9beba6-c052-407a-8599-c781a677a996" providerId="ADAL" clId="{1FB09F4F-CFDF-4D24-98BE-1F875FA776D6}" dt="2021-11-18T09:25:19.095" v="117" actId="478"/>
          <ac:picMkLst>
            <pc:docMk/>
            <pc:sldMk cId="1114236349" sldId="303"/>
            <ac:picMk id="188" creationId="{00000000-0000-0000-0000-000000000000}"/>
          </ac:picMkLst>
        </pc:picChg>
      </pc:sldChg>
      <pc:sldChg chg="modSp mod">
        <pc:chgData name="Koksrud Andreas" userId="9d9beba6-c052-407a-8599-c781a677a996" providerId="ADAL" clId="{1FB09F4F-CFDF-4D24-98BE-1F875FA776D6}" dt="2021-11-18T09:37:18.697" v="135" actId="14100"/>
        <pc:sldMkLst>
          <pc:docMk/>
          <pc:sldMk cId="2366142093" sldId="304"/>
        </pc:sldMkLst>
        <pc:spChg chg="mod ord">
          <ac:chgData name="Koksrud Andreas" userId="9d9beba6-c052-407a-8599-c781a677a996" providerId="ADAL" clId="{1FB09F4F-CFDF-4D24-98BE-1F875FA776D6}" dt="2021-11-18T09:37:09.890" v="134" actId="166"/>
          <ac:spMkLst>
            <pc:docMk/>
            <pc:sldMk cId="2366142093" sldId="304"/>
            <ac:spMk id="181" creationId="{00000000-0000-0000-0000-000000000000}"/>
          </ac:spMkLst>
        </pc:spChg>
        <pc:picChg chg="mod">
          <ac:chgData name="Koksrud Andreas" userId="9d9beba6-c052-407a-8599-c781a677a996" providerId="ADAL" clId="{1FB09F4F-CFDF-4D24-98BE-1F875FA776D6}" dt="2021-11-18T09:37:18.697" v="135" actId="14100"/>
          <ac:picMkLst>
            <pc:docMk/>
            <pc:sldMk cId="2366142093" sldId="304"/>
            <ac:picMk id="7" creationId="{C84352A4-AB28-4476-8C99-36C151B2E1AB}"/>
          </ac:picMkLst>
        </pc:picChg>
      </pc:sldChg>
      <pc:sldChg chg="modSp del mod">
        <pc:chgData name="Koksrud Andreas" userId="9d9beba6-c052-407a-8599-c781a677a996" providerId="ADAL" clId="{1FB09F4F-CFDF-4D24-98BE-1F875FA776D6}" dt="2021-11-18T09:37:31.415" v="136" actId="47"/>
        <pc:sldMkLst>
          <pc:docMk/>
          <pc:sldMk cId="2056271996" sldId="305"/>
        </pc:sldMkLst>
        <pc:spChg chg="mod">
          <ac:chgData name="Koksrud Andreas" userId="9d9beba6-c052-407a-8599-c781a677a996" providerId="ADAL" clId="{1FB09F4F-CFDF-4D24-98BE-1F875FA776D6}" dt="2021-11-18T09:36:43.542" v="124" actId="21"/>
          <ac:spMkLst>
            <pc:docMk/>
            <pc:sldMk cId="2056271996" sldId="305"/>
            <ac:spMk id="181" creationId="{00000000-0000-0000-0000-000000000000}"/>
          </ac:spMkLst>
        </pc:spChg>
      </pc:sldChg>
      <pc:sldChg chg="del">
        <pc:chgData name="Koksrud Andreas" userId="9d9beba6-c052-407a-8599-c781a677a996" providerId="ADAL" clId="{1FB09F4F-CFDF-4D24-98BE-1F875FA776D6}" dt="2021-11-18T09:37:51.630" v="137" actId="47"/>
        <pc:sldMkLst>
          <pc:docMk/>
          <pc:sldMk cId="2598687135" sldId="307"/>
        </pc:sldMkLst>
      </pc:sldChg>
      <pc:sldChg chg="del">
        <pc:chgData name="Koksrud Andreas" userId="9d9beba6-c052-407a-8599-c781a677a996" providerId="ADAL" clId="{1FB09F4F-CFDF-4D24-98BE-1F875FA776D6}" dt="2021-11-18T09:38:01.886" v="138" actId="47"/>
        <pc:sldMkLst>
          <pc:docMk/>
          <pc:sldMk cId="2356507422" sldId="308"/>
        </pc:sldMkLst>
      </pc:sldChg>
      <pc:sldChg chg="del">
        <pc:chgData name="Koksrud Andreas" userId="9d9beba6-c052-407a-8599-c781a677a996" providerId="ADAL" clId="{1FB09F4F-CFDF-4D24-98BE-1F875FA776D6}" dt="2021-11-18T09:38:03.749" v="139" actId="47"/>
        <pc:sldMkLst>
          <pc:docMk/>
          <pc:sldMk cId="1079619010" sldId="309"/>
        </pc:sldMkLst>
      </pc:sldChg>
      <pc:sldChg chg="del">
        <pc:chgData name="Koksrud Andreas" userId="9d9beba6-c052-407a-8599-c781a677a996" providerId="ADAL" clId="{1FB09F4F-CFDF-4D24-98BE-1F875FA776D6}" dt="2021-11-18T09:38:05.156" v="140" actId="47"/>
        <pc:sldMkLst>
          <pc:docMk/>
          <pc:sldMk cId="4090527258" sldId="310"/>
        </pc:sldMkLst>
      </pc:sldChg>
      <pc:sldChg chg="del">
        <pc:chgData name="Koksrud Andreas" userId="9d9beba6-c052-407a-8599-c781a677a996" providerId="ADAL" clId="{1FB09F4F-CFDF-4D24-98BE-1F875FA776D6}" dt="2021-11-18T09:38:58.024" v="141" actId="47"/>
        <pc:sldMkLst>
          <pc:docMk/>
          <pc:sldMk cId="2703300525" sldId="314"/>
        </pc:sldMkLst>
      </pc:sldChg>
      <pc:sldChg chg="ord">
        <pc:chgData name="Koksrud Andreas" userId="9d9beba6-c052-407a-8599-c781a677a996" providerId="ADAL" clId="{1FB09F4F-CFDF-4D24-98BE-1F875FA776D6}" dt="2021-11-18T09:40:23.608" v="156"/>
        <pc:sldMkLst>
          <pc:docMk/>
          <pc:sldMk cId="2314019208" sldId="315"/>
        </pc:sldMkLst>
      </pc:sldChg>
      <pc:sldChg chg="modSp mod">
        <pc:chgData name="Koksrud Andreas" userId="9d9beba6-c052-407a-8599-c781a677a996" providerId="ADAL" clId="{1FB09F4F-CFDF-4D24-98BE-1F875FA776D6}" dt="2021-11-18T11:13:08.601" v="2138" actId="20577"/>
        <pc:sldMkLst>
          <pc:docMk/>
          <pc:sldMk cId="541287524" sldId="316"/>
        </pc:sldMkLst>
        <pc:spChg chg="mod">
          <ac:chgData name="Koksrud Andreas" userId="9d9beba6-c052-407a-8599-c781a677a996" providerId="ADAL" clId="{1FB09F4F-CFDF-4D24-98BE-1F875FA776D6}" dt="2021-11-18T09:40:30.273" v="157" actId="6549"/>
          <ac:spMkLst>
            <pc:docMk/>
            <pc:sldMk cId="541287524" sldId="316"/>
            <ac:spMk id="180" creationId="{00000000-0000-0000-0000-000000000000}"/>
          </ac:spMkLst>
        </pc:spChg>
        <pc:spChg chg="mod">
          <ac:chgData name="Koksrud Andreas" userId="9d9beba6-c052-407a-8599-c781a677a996" providerId="ADAL" clId="{1FB09F4F-CFDF-4D24-98BE-1F875FA776D6}" dt="2021-11-18T11:13:08.601" v="2138" actId="20577"/>
          <ac:spMkLst>
            <pc:docMk/>
            <pc:sldMk cId="541287524" sldId="316"/>
            <ac:spMk id="181" creationId="{00000000-0000-0000-0000-000000000000}"/>
          </ac:spMkLst>
        </pc:spChg>
      </pc:sldChg>
      <pc:sldChg chg="del">
        <pc:chgData name="Koksrud Andreas" userId="9d9beba6-c052-407a-8599-c781a677a996" providerId="ADAL" clId="{1FB09F4F-CFDF-4D24-98BE-1F875FA776D6}" dt="2021-11-18T09:39:23.658" v="143" actId="47"/>
        <pc:sldMkLst>
          <pc:docMk/>
          <pc:sldMk cId="3743851044" sldId="317"/>
        </pc:sldMkLst>
      </pc:sldChg>
      <pc:sldChg chg="del">
        <pc:chgData name="Koksrud Andreas" userId="9d9beba6-c052-407a-8599-c781a677a996" providerId="ADAL" clId="{1FB09F4F-CFDF-4D24-98BE-1F875FA776D6}" dt="2021-11-18T09:39:21.851" v="142" actId="47"/>
        <pc:sldMkLst>
          <pc:docMk/>
          <pc:sldMk cId="3642303867" sldId="318"/>
        </pc:sldMkLst>
      </pc:sldChg>
      <pc:sldChg chg="del">
        <pc:chgData name="Koksrud Andreas" userId="9d9beba6-c052-407a-8599-c781a677a996" providerId="ADAL" clId="{1FB09F4F-CFDF-4D24-98BE-1F875FA776D6}" dt="2021-11-18T09:39:25.360" v="144" actId="47"/>
        <pc:sldMkLst>
          <pc:docMk/>
          <pc:sldMk cId="4282291855" sldId="319"/>
        </pc:sldMkLst>
      </pc:sldChg>
      <pc:sldChg chg="del">
        <pc:chgData name="Koksrud Andreas" userId="9d9beba6-c052-407a-8599-c781a677a996" providerId="ADAL" clId="{1FB09F4F-CFDF-4D24-98BE-1F875FA776D6}" dt="2021-11-18T09:39:27.242" v="145" actId="47"/>
        <pc:sldMkLst>
          <pc:docMk/>
          <pc:sldMk cId="1943756776" sldId="320"/>
        </pc:sldMkLst>
      </pc:sldChg>
      <pc:sldChg chg="del">
        <pc:chgData name="Koksrud Andreas" userId="9d9beba6-c052-407a-8599-c781a677a996" providerId="ADAL" clId="{1FB09F4F-CFDF-4D24-98BE-1F875FA776D6}" dt="2021-11-18T09:39:28.412" v="146" actId="47"/>
        <pc:sldMkLst>
          <pc:docMk/>
          <pc:sldMk cId="2193397925" sldId="321"/>
        </pc:sldMkLst>
      </pc:sldChg>
      <pc:sldChg chg="del">
        <pc:chgData name="Koksrud Andreas" userId="9d9beba6-c052-407a-8599-c781a677a996" providerId="ADAL" clId="{1FB09F4F-CFDF-4D24-98BE-1F875FA776D6}" dt="2021-11-18T09:39:33.546" v="147" actId="47"/>
        <pc:sldMkLst>
          <pc:docMk/>
          <pc:sldMk cId="3233079612" sldId="322"/>
        </pc:sldMkLst>
      </pc:sldChg>
      <pc:sldChg chg="del">
        <pc:chgData name="Koksrud Andreas" userId="9d9beba6-c052-407a-8599-c781a677a996" providerId="ADAL" clId="{1FB09F4F-CFDF-4D24-98BE-1F875FA776D6}" dt="2021-11-18T09:39:35.834" v="148" actId="47"/>
        <pc:sldMkLst>
          <pc:docMk/>
          <pc:sldMk cId="1874744215" sldId="323"/>
        </pc:sldMkLst>
      </pc:sldChg>
      <pc:sldChg chg="del">
        <pc:chgData name="Koksrud Andreas" userId="9d9beba6-c052-407a-8599-c781a677a996" providerId="ADAL" clId="{1FB09F4F-CFDF-4D24-98BE-1F875FA776D6}" dt="2021-11-18T09:39:36.741" v="149" actId="47"/>
        <pc:sldMkLst>
          <pc:docMk/>
          <pc:sldMk cId="3593672304" sldId="324"/>
        </pc:sldMkLst>
      </pc:sldChg>
      <pc:sldChg chg="del">
        <pc:chgData name="Koksrud Andreas" userId="9d9beba6-c052-407a-8599-c781a677a996" providerId="ADAL" clId="{1FB09F4F-CFDF-4D24-98BE-1F875FA776D6}" dt="2021-11-18T09:39:38.183" v="150" actId="47"/>
        <pc:sldMkLst>
          <pc:docMk/>
          <pc:sldMk cId="2313639849" sldId="325"/>
        </pc:sldMkLst>
      </pc:sldChg>
      <pc:sldChg chg="del">
        <pc:chgData name="Koksrud Andreas" userId="9d9beba6-c052-407a-8599-c781a677a996" providerId="ADAL" clId="{1FB09F4F-CFDF-4D24-98BE-1F875FA776D6}" dt="2021-11-18T09:39:38.767" v="151" actId="47"/>
        <pc:sldMkLst>
          <pc:docMk/>
          <pc:sldMk cId="519232677" sldId="326"/>
        </pc:sldMkLst>
      </pc:sldChg>
      <pc:sldChg chg="del">
        <pc:chgData name="Koksrud Andreas" userId="9d9beba6-c052-407a-8599-c781a677a996" providerId="ADAL" clId="{1FB09F4F-CFDF-4D24-98BE-1F875FA776D6}" dt="2021-11-18T09:39:40.267" v="152" actId="47"/>
        <pc:sldMkLst>
          <pc:docMk/>
          <pc:sldMk cId="2590330072" sldId="327"/>
        </pc:sldMkLst>
      </pc:sldChg>
      <pc:sldChg chg="modSp mod">
        <pc:chgData name="Koksrud Andreas" userId="9d9beba6-c052-407a-8599-c781a677a996" providerId="ADAL" clId="{1FB09F4F-CFDF-4D24-98BE-1F875FA776D6}" dt="2021-11-18T17:20:51.311" v="2717" actId="20577"/>
        <pc:sldMkLst>
          <pc:docMk/>
          <pc:sldMk cId="697137886" sldId="679"/>
        </pc:sldMkLst>
        <pc:spChg chg="mod">
          <ac:chgData name="Koksrud Andreas" userId="9d9beba6-c052-407a-8599-c781a677a996" providerId="ADAL" clId="{1FB09F4F-CFDF-4D24-98BE-1F875FA776D6}" dt="2021-11-18T17:20:51.311" v="2717" actId="20577"/>
          <ac:spMkLst>
            <pc:docMk/>
            <pc:sldMk cId="697137886" sldId="679"/>
            <ac:spMk id="3" creationId="{00000000-0000-0000-0000-000000000000}"/>
          </ac:spMkLst>
        </pc:spChg>
      </pc:sldChg>
      <pc:sldChg chg="modSp mod">
        <pc:chgData name="Koksrud Andreas" userId="9d9beba6-c052-407a-8599-c781a677a996" providerId="ADAL" clId="{1FB09F4F-CFDF-4D24-98BE-1F875FA776D6}" dt="2021-11-18T09:25:32.026" v="122" actId="14100"/>
        <pc:sldMkLst>
          <pc:docMk/>
          <pc:sldMk cId="1184925497" sldId="732"/>
        </pc:sldMkLst>
        <pc:picChg chg="mod">
          <ac:chgData name="Koksrud Andreas" userId="9d9beba6-c052-407a-8599-c781a677a996" providerId="ADAL" clId="{1FB09F4F-CFDF-4D24-98BE-1F875FA776D6}" dt="2021-11-18T09:25:32.026" v="122" actId="14100"/>
          <ac:picMkLst>
            <pc:docMk/>
            <pc:sldMk cId="1184925497" sldId="732"/>
            <ac:picMk id="3" creationId="{F6EAD927-657C-4A55-A402-716F48D98067}"/>
          </ac:picMkLst>
        </pc:picChg>
      </pc:sldChg>
      <pc:sldChg chg="addSp delSp modSp add mod">
        <pc:chgData name="Koksrud Andreas" userId="9d9beba6-c052-407a-8599-c781a677a996" providerId="ADAL" clId="{1FB09F4F-CFDF-4D24-98BE-1F875FA776D6}" dt="2021-11-18T09:21:12.102" v="64" actId="1076"/>
        <pc:sldMkLst>
          <pc:docMk/>
          <pc:sldMk cId="827763474" sldId="734"/>
        </pc:sldMkLst>
        <pc:spChg chg="add del mod">
          <ac:chgData name="Koksrud Andreas" userId="9d9beba6-c052-407a-8599-c781a677a996" providerId="ADAL" clId="{1FB09F4F-CFDF-4D24-98BE-1F875FA776D6}" dt="2021-11-18T09:20:22.919" v="53" actId="478"/>
          <ac:spMkLst>
            <pc:docMk/>
            <pc:sldMk cId="827763474" sldId="734"/>
            <ac:spMk id="3" creationId="{0AEC7504-00DD-4041-9F9E-C7EADF77911D}"/>
          </ac:spMkLst>
        </pc:spChg>
        <pc:spChg chg="add del mod">
          <ac:chgData name="Koksrud Andreas" userId="9d9beba6-c052-407a-8599-c781a677a996" providerId="ADAL" clId="{1FB09F4F-CFDF-4D24-98BE-1F875FA776D6}" dt="2021-11-18T09:20:20.456" v="52" actId="478"/>
          <ac:spMkLst>
            <pc:docMk/>
            <pc:sldMk cId="827763474" sldId="734"/>
            <ac:spMk id="6" creationId="{53C44B02-7E8C-429B-9E61-819608326DF4}"/>
          </ac:spMkLst>
        </pc:spChg>
        <pc:spChg chg="add del mod">
          <ac:chgData name="Koksrud Andreas" userId="9d9beba6-c052-407a-8599-c781a677a996" providerId="ADAL" clId="{1FB09F4F-CFDF-4D24-98BE-1F875FA776D6}" dt="2021-11-18T09:20:20.456" v="52" actId="478"/>
          <ac:spMkLst>
            <pc:docMk/>
            <pc:sldMk cId="827763474" sldId="734"/>
            <ac:spMk id="110" creationId="{06A7A0C7-564F-4B0D-B3F4-2A5F8D707FB7}"/>
          </ac:spMkLst>
        </pc:spChg>
        <pc:spChg chg="mod">
          <ac:chgData name="Koksrud Andreas" userId="9d9beba6-c052-407a-8599-c781a677a996" providerId="ADAL" clId="{1FB09F4F-CFDF-4D24-98BE-1F875FA776D6}" dt="2021-11-18T09:18:57.971" v="23" actId="20577"/>
          <ac:spMkLst>
            <pc:docMk/>
            <pc:sldMk cId="827763474" sldId="734"/>
            <ac:spMk id="165" creationId="{00000000-0000-0000-0000-000000000000}"/>
          </ac:spMkLst>
        </pc:spChg>
        <pc:picChg chg="del">
          <ac:chgData name="Koksrud Andreas" userId="9d9beba6-c052-407a-8599-c781a677a996" providerId="ADAL" clId="{1FB09F4F-CFDF-4D24-98BE-1F875FA776D6}" dt="2021-11-18T09:20:10.426" v="48" actId="478"/>
          <ac:picMkLst>
            <pc:docMk/>
            <pc:sldMk cId="827763474" sldId="734"/>
            <ac:picMk id="5" creationId="{CA88655F-0FB7-47AB-A632-67B960CE25E9}"/>
          </ac:picMkLst>
        </pc:picChg>
        <pc:picChg chg="add del mod">
          <ac:chgData name="Koksrud Andreas" userId="9d9beba6-c052-407a-8599-c781a677a996" providerId="ADAL" clId="{1FB09F4F-CFDF-4D24-98BE-1F875FA776D6}" dt="2021-11-18T09:20:50.152" v="59" actId="478"/>
          <ac:picMkLst>
            <pc:docMk/>
            <pc:sldMk cId="827763474" sldId="734"/>
            <ac:picMk id="8" creationId="{A2B724E5-4021-4E6B-9E83-E92C33164BE0}"/>
          </ac:picMkLst>
        </pc:picChg>
        <pc:picChg chg="add mod">
          <ac:chgData name="Koksrud Andreas" userId="9d9beba6-c052-407a-8599-c781a677a996" providerId="ADAL" clId="{1FB09F4F-CFDF-4D24-98BE-1F875FA776D6}" dt="2021-11-18T09:21:12.102" v="64" actId="1076"/>
          <ac:picMkLst>
            <pc:docMk/>
            <pc:sldMk cId="827763474" sldId="734"/>
            <ac:picMk id="10" creationId="{F935734D-5083-4099-989F-C411B2C47689}"/>
          </ac:picMkLst>
        </pc:picChg>
      </pc:sldChg>
      <pc:sldChg chg="modSp add del mod">
        <pc:chgData name="Koksrud Andreas" userId="9d9beba6-c052-407a-8599-c781a677a996" providerId="ADAL" clId="{1FB09F4F-CFDF-4D24-98BE-1F875FA776D6}" dt="2021-11-18T11:16:02.827" v="2715" actId="47"/>
        <pc:sldMkLst>
          <pc:docMk/>
          <pc:sldMk cId="676036647" sldId="735"/>
        </pc:sldMkLst>
        <pc:spChg chg="mod">
          <ac:chgData name="Koksrud Andreas" userId="9d9beba6-c052-407a-8599-c781a677a996" providerId="ADAL" clId="{1FB09F4F-CFDF-4D24-98BE-1F875FA776D6}" dt="2021-11-18T09:40:17.767" v="154" actId="6549"/>
          <ac:spMkLst>
            <pc:docMk/>
            <pc:sldMk cId="676036647" sldId="735"/>
            <ac:spMk id="180" creationId="{00000000-0000-0000-0000-000000000000}"/>
          </ac:spMkLst>
        </pc:spChg>
        <pc:spChg chg="mod">
          <ac:chgData name="Koksrud Andreas" userId="9d9beba6-c052-407a-8599-c781a677a996" providerId="ADAL" clId="{1FB09F4F-CFDF-4D24-98BE-1F875FA776D6}" dt="2021-11-18T09:41:39.361" v="307" actId="6549"/>
          <ac:spMkLst>
            <pc:docMk/>
            <pc:sldMk cId="676036647" sldId="735"/>
            <ac:spMk id="181" creationId="{00000000-0000-0000-0000-000000000000}"/>
          </ac:spMkLst>
        </pc:spChg>
      </pc:sldChg>
      <pc:sldChg chg="modSp add mod">
        <pc:chgData name="Koksrud Andreas" userId="9d9beba6-c052-407a-8599-c781a677a996" providerId="ADAL" clId="{1FB09F4F-CFDF-4D24-98BE-1F875FA776D6}" dt="2021-11-18T11:15:24.318" v="2710" actId="20577"/>
        <pc:sldMkLst>
          <pc:docMk/>
          <pc:sldMk cId="1210415694" sldId="736"/>
        </pc:sldMkLst>
        <pc:spChg chg="mod">
          <ac:chgData name="Koksrud Andreas" userId="9d9beba6-c052-407a-8599-c781a677a996" providerId="ADAL" clId="{1FB09F4F-CFDF-4D24-98BE-1F875FA776D6}" dt="2021-11-18T11:13:26.857" v="2168" actId="20577"/>
          <ac:spMkLst>
            <pc:docMk/>
            <pc:sldMk cId="1210415694" sldId="736"/>
            <ac:spMk id="126" creationId="{BD2D9D3E-0A1E-4AC3-979E-48547F484027}"/>
          </ac:spMkLst>
        </pc:spChg>
        <pc:spChg chg="mod">
          <ac:chgData name="Koksrud Andreas" userId="9d9beba6-c052-407a-8599-c781a677a996" providerId="ADAL" clId="{1FB09F4F-CFDF-4D24-98BE-1F875FA776D6}" dt="2021-11-18T11:15:24.318" v="2710" actId="20577"/>
          <ac:spMkLst>
            <pc:docMk/>
            <pc:sldMk cId="1210415694" sldId="736"/>
            <ac:spMk id="181" creationId="{00000000-0000-0000-0000-000000000000}"/>
          </ac:spMkLst>
        </pc:spChg>
      </pc:sldChg>
      <pc:sldChg chg="modSp add mod">
        <pc:chgData name="Koksrud Andreas" userId="9d9beba6-c052-407a-8599-c781a677a996" providerId="ADAL" clId="{1FB09F4F-CFDF-4D24-98BE-1F875FA776D6}" dt="2021-11-18T11:12:04.924" v="2079" actId="15"/>
        <pc:sldMkLst>
          <pc:docMk/>
          <pc:sldMk cId="2671092135" sldId="737"/>
        </pc:sldMkLst>
        <pc:spChg chg="mod">
          <ac:chgData name="Koksrud Andreas" userId="9d9beba6-c052-407a-8599-c781a677a996" providerId="ADAL" clId="{1FB09F4F-CFDF-4D24-98BE-1F875FA776D6}" dt="2021-11-18T10:26:22.564" v="312"/>
          <ac:spMkLst>
            <pc:docMk/>
            <pc:sldMk cId="2671092135" sldId="737"/>
            <ac:spMk id="126" creationId="{BD2D9D3E-0A1E-4AC3-979E-48547F484027}"/>
          </ac:spMkLst>
        </pc:spChg>
        <pc:spChg chg="mod">
          <ac:chgData name="Koksrud Andreas" userId="9d9beba6-c052-407a-8599-c781a677a996" providerId="ADAL" clId="{1FB09F4F-CFDF-4D24-98BE-1F875FA776D6}" dt="2021-11-18T11:12:04.924" v="2079" actId="15"/>
          <ac:spMkLst>
            <pc:docMk/>
            <pc:sldMk cId="2671092135" sldId="737"/>
            <ac:spMk id="181" creationId="{00000000-0000-0000-0000-000000000000}"/>
          </ac:spMkLst>
        </pc:spChg>
      </pc:sldChg>
      <pc:sldChg chg="modSp add mod ord">
        <pc:chgData name="Koksrud Andreas" userId="9d9beba6-c052-407a-8599-c781a677a996" providerId="ADAL" clId="{1FB09F4F-CFDF-4D24-98BE-1F875FA776D6}" dt="2021-11-18T10:53:52.939" v="1690" actId="20577"/>
        <pc:sldMkLst>
          <pc:docMk/>
          <pc:sldMk cId="862304365" sldId="738"/>
        </pc:sldMkLst>
        <pc:spChg chg="mod">
          <ac:chgData name="Koksrud Andreas" userId="9d9beba6-c052-407a-8599-c781a677a996" providerId="ADAL" clId="{1FB09F4F-CFDF-4D24-98BE-1F875FA776D6}" dt="2021-11-18T10:26:48.294" v="327"/>
          <ac:spMkLst>
            <pc:docMk/>
            <pc:sldMk cId="862304365" sldId="738"/>
            <ac:spMk id="126" creationId="{BD2D9D3E-0A1E-4AC3-979E-48547F484027}"/>
          </ac:spMkLst>
        </pc:spChg>
        <pc:spChg chg="mod">
          <ac:chgData name="Koksrud Andreas" userId="9d9beba6-c052-407a-8599-c781a677a996" providerId="ADAL" clId="{1FB09F4F-CFDF-4D24-98BE-1F875FA776D6}" dt="2021-11-18T10:53:52.939" v="1690" actId="20577"/>
          <ac:spMkLst>
            <pc:docMk/>
            <pc:sldMk cId="862304365" sldId="738"/>
            <ac:spMk id="181" creationId="{00000000-0000-0000-0000-000000000000}"/>
          </ac:spMkLst>
        </pc:spChg>
      </pc:sldChg>
      <pc:sldChg chg="modSp add mod">
        <pc:chgData name="Koksrud Andreas" userId="9d9beba6-c052-407a-8599-c781a677a996" providerId="ADAL" clId="{1FB09F4F-CFDF-4D24-98BE-1F875FA776D6}" dt="2021-11-18T11:10:37.605" v="1906" actId="20577"/>
        <pc:sldMkLst>
          <pc:docMk/>
          <pc:sldMk cId="2173740" sldId="739"/>
        </pc:sldMkLst>
        <pc:spChg chg="mod">
          <ac:chgData name="Koksrud Andreas" userId="9d9beba6-c052-407a-8599-c781a677a996" providerId="ADAL" clId="{1FB09F4F-CFDF-4D24-98BE-1F875FA776D6}" dt="2021-11-18T11:10:37.605" v="1906" actId="20577"/>
          <ac:spMkLst>
            <pc:docMk/>
            <pc:sldMk cId="2173740" sldId="739"/>
            <ac:spMk id="181" creationId="{00000000-0000-0000-0000-000000000000}"/>
          </ac:spMkLst>
        </pc:spChg>
      </pc:sldChg>
      <pc:sldChg chg="addSp modSp add mod">
        <pc:chgData name="Koksrud Andreas" userId="9d9beba6-c052-407a-8599-c781a677a996" providerId="ADAL" clId="{1FB09F4F-CFDF-4D24-98BE-1F875FA776D6}" dt="2021-11-18T11:15:57.771" v="2714" actId="20577"/>
        <pc:sldMkLst>
          <pc:docMk/>
          <pc:sldMk cId="4010697748" sldId="740"/>
        </pc:sldMkLst>
        <pc:spChg chg="mod">
          <ac:chgData name="Koksrud Andreas" userId="9d9beba6-c052-407a-8599-c781a677a996" providerId="ADAL" clId="{1FB09F4F-CFDF-4D24-98BE-1F875FA776D6}" dt="2021-11-18T10:27:58.834" v="358" actId="20577"/>
          <ac:spMkLst>
            <pc:docMk/>
            <pc:sldMk cId="4010697748" sldId="740"/>
            <ac:spMk id="126" creationId="{BD2D9D3E-0A1E-4AC3-979E-48547F484027}"/>
          </ac:spMkLst>
        </pc:spChg>
        <pc:spChg chg="mod">
          <ac:chgData name="Koksrud Andreas" userId="9d9beba6-c052-407a-8599-c781a677a996" providerId="ADAL" clId="{1FB09F4F-CFDF-4D24-98BE-1F875FA776D6}" dt="2021-11-18T11:15:57.771" v="2714" actId="20577"/>
          <ac:spMkLst>
            <pc:docMk/>
            <pc:sldMk cId="4010697748" sldId="740"/>
            <ac:spMk id="181" creationId="{00000000-0000-0000-0000-000000000000}"/>
          </ac:spMkLst>
        </pc:spChg>
        <pc:picChg chg="add mod">
          <ac:chgData name="Koksrud Andreas" userId="9d9beba6-c052-407a-8599-c781a677a996" providerId="ADAL" clId="{1FB09F4F-CFDF-4D24-98BE-1F875FA776D6}" dt="2021-11-18T10:32:35.849" v="561" actId="1076"/>
          <ac:picMkLst>
            <pc:docMk/>
            <pc:sldMk cId="4010697748" sldId="740"/>
            <ac:picMk id="3" creationId="{C179D61B-1CCD-4557-BAB0-2D053E4E1C05}"/>
          </ac:picMkLst>
        </pc:picChg>
        <pc:picChg chg="add mod">
          <ac:chgData name="Koksrud Andreas" userId="9d9beba6-c052-407a-8599-c781a677a996" providerId="ADAL" clId="{1FB09F4F-CFDF-4D24-98BE-1F875FA776D6}" dt="2021-11-18T10:33:00.940" v="566" actId="1076"/>
          <ac:picMkLst>
            <pc:docMk/>
            <pc:sldMk cId="4010697748" sldId="740"/>
            <ac:picMk id="5" creationId="{904EC8A3-54AD-42F5-B11B-6DEBD75A17F6}"/>
          </ac:picMkLst>
        </pc:picChg>
      </pc:sldChg>
      <pc:sldChg chg="delSp modSp add mod">
        <pc:chgData name="Koksrud Andreas" userId="9d9beba6-c052-407a-8599-c781a677a996" providerId="ADAL" clId="{1FB09F4F-CFDF-4D24-98BE-1F875FA776D6}" dt="2021-11-18T10:36:14.180" v="976" actId="20577"/>
        <pc:sldMkLst>
          <pc:docMk/>
          <pc:sldMk cId="2876860209" sldId="741"/>
        </pc:sldMkLst>
        <pc:spChg chg="mod">
          <ac:chgData name="Koksrud Andreas" userId="9d9beba6-c052-407a-8599-c781a677a996" providerId="ADAL" clId="{1FB09F4F-CFDF-4D24-98BE-1F875FA776D6}" dt="2021-11-18T10:33:59.062" v="636" actId="20577"/>
          <ac:spMkLst>
            <pc:docMk/>
            <pc:sldMk cId="2876860209" sldId="741"/>
            <ac:spMk id="126" creationId="{BD2D9D3E-0A1E-4AC3-979E-48547F484027}"/>
          </ac:spMkLst>
        </pc:spChg>
        <pc:spChg chg="mod">
          <ac:chgData name="Koksrud Andreas" userId="9d9beba6-c052-407a-8599-c781a677a996" providerId="ADAL" clId="{1FB09F4F-CFDF-4D24-98BE-1F875FA776D6}" dt="2021-11-18T10:36:14.180" v="976" actId="20577"/>
          <ac:spMkLst>
            <pc:docMk/>
            <pc:sldMk cId="2876860209" sldId="741"/>
            <ac:spMk id="181" creationId="{00000000-0000-0000-0000-000000000000}"/>
          </ac:spMkLst>
        </pc:spChg>
        <pc:picChg chg="del">
          <ac:chgData name="Koksrud Andreas" userId="9d9beba6-c052-407a-8599-c781a677a996" providerId="ADAL" clId="{1FB09F4F-CFDF-4D24-98BE-1F875FA776D6}" dt="2021-11-18T10:34:05.133" v="638" actId="478"/>
          <ac:picMkLst>
            <pc:docMk/>
            <pc:sldMk cId="2876860209" sldId="741"/>
            <ac:picMk id="3" creationId="{C179D61B-1CCD-4557-BAB0-2D053E4E1C05}"/>
          </ac:picMkLst>
        </pc:picChg>
        <pc:picChg chg="del">
          <ac:chgData name="Koksrud Andreas" userId="9d9beba6-c052-407a-8599-c781a677a996" providerId="ADAL" clId="{1FB09F4F-CFDF-4D24-98BE-1F875FA776D6}" dt="2021-11-18T10:34:04.457" v="637" actId="478"/>
          <ac:picMkLst>
            <pc:docMk/>
            <pc:sldMk cId="2876860209" sldId="741"/>
            <ac:picMk id="5" creationId="{904EC8A3-54AD-42F5-B11B-6DEBD75A17F6}"/>
          </ac:picMkLst>
        </pc:picChg>
      </pc:sldChg>
      <pc:sldChg chg="addSp delSp modSp add mod">
        <pc:chgData name="Koksrud Andreas" userId="9d9beba6-c052-407a-8599-c781a677a996" providerId="ADAL" clId="{1FB09F4F-CFDF-4D24-98BE-1F875FA776D6}" dt="2021-11-18T11:09:42.333" v="1821" actId="14100"/>
        <pc:sldMkLst>
          <pc:docMk/>
          <pc:sldMk cId="587894895" sldId="742"/>
        </pc:sldMkLst>
        <pc:spChg chg="mod">
          <ac:chgData name="Koksrud Andreas" userId="9d9beba6-c052-407a-8599-c781a677a996" providerId="ADAL" clId="{1FB09F4F-CFDF-4D24-98BE-1F875FA776D6}" dt="2021-11-18T11:00:50.864" v="1814" actId="20577"/>
          <ac:spMkLst>
            <pc:docMk/>
            <pc:sldMk cId="587894895" sldId="742"/>
            <ac:spMk id="126" creationId="{BD2D9D3E-0A1E-4AC3-979E-48547F484027}"/>
          </ac:spMkLst>
        </pc:spChg>
        <pc:spChg chg="del mod">
          <ac:chgData name="Koksrud Andreas" userId="9d9beba6-c052-407a-8599-c781a677a996" providerId="ADAL" clId="{1FB09F4F-CFDF-4D24-98BE-1F875FA776D6}" dt="2021-11-18T11:09:27.270" v="1816"/>
          <ac:spMkLst>
            <pc:docMk/>
            <pc:sldMk cId="587894895" sldId="742"/>
            <ac:spMk id="181" creationId="{00000000-0000-0000-0000-000000000000}"/>
          </ac:spMkLst>
        </pc:spChg>
        <pc:picChg chg="add mod">
          <ac:chgData name="Koksrud Andreas" userId="9d9beba6-c052-407a-8599-c781a677a996" providerId="ADAL" clId="{1FB09F4F-CFDF-4D24-98BE-1F875FA776D6}" dt="2021-11-18T11:09:42.333" v="1821" actId="14100"/>
          <ac:picMkLst>
            <pc:docMk/>
            <pc:sldMk cId="587894895" sldId="742"/>
            <ac:picMk id="3" creationId="{E1077077-59D4-4E0F-9966-E3D778BA2A48}"/>
          </ac:picMkLst>
        </pc:picChg>
      </pc:sldChg>
      <pc:sldMasterChg chg="delSldLayout">
        <pc:chgData name="Koksrud Andreas" userId="9d9beba6-c052-407a-8599-c781a677a996" providerId="ADAL" clId="{1FB09F4F-CFDF-4D24-98BE-1F875FA776D6}" dt="2021-11-18T09:39:23.658" v="143" actId="47"/>
        <pc:sldMasterMkLst>
          <pc:docMk/>
          <pc:sldMasterMk cId="2615922609" sldId="2147483648"/>
        </pc:sldMasterMkLst>
        <pc:sldLayoutChg chg="del">
          <pc:chgData name="Koksrud Andreas" userId="9d9beba6-c052-407a-8599-c781a677a996" providerId="ADAL" clId="{1FB09F4F-CFDF-4D24-98BE-1F875FA776D6}" dt="2021-11-18T09:39:23.658" v="143" actId="47"/>
          <pc:sldLayoutMkLst>
            <pc:docMk/>
            <pc:sldMasterMk cId="2615922609" sldId="2147483648"/>
            <pc:sldLayoutMk cId="4177950706" sldId="2147483916"/>
          </pc:sldLayoutMkLst>
        </pc:sldLayoutChg>
      </pc:sldMasterChg>
    </pc:docChg>
  </pc:docChgLst>
  <pc:docChgLst>
    <pc:chgData name="Koksrud Andreas" userId="9d9beba6-c052-407a-8599-c781a677a996" providerId="ADAL" clId="{99DCF58A-61FD-4A82-B407-E5D0DF551B20}"/>
    <pc:docChg chg="undo custSel addSld delSld modSld sldOrd addSection delSection modSection">
      <pc:chgData name="Koksrud Andreas" userId="9d9beba6-c052-407a-8599-c781a677a996" providerId="ADAL" clId="{99DCF58A-61FD-4A82-B407-E5D0DF551B20}" dt="2024-01-09T05:44:07.475" v="5614" actId="20577"/>
      <pc:docMkLst>
        <pc:docMk/>
      </pc:docMkLst>
      <pc:sldChg chg="modSp mod">
        <pc:chgData name="Koksrud Andreas" userId="9d9beba6-c052-407a-8599-c781a677a996" providerId="ADAL" clId="{99DCF58A-61FD-4A82-B407-E5D0DF551B20}" dt="2023-12-23T13:41:56.035" v="76" actId="20577"/>
        <pc:sldMkLst>
          <pc:docMk/>
          <pc:sldMk cId="697137886" sldId="679"/>
        </pc:sldMkLst>
        <pc:spChg chg="mod">
          <ac:chgData name="Koksrud Andreas" userId="9d9beba6-c052-407a-8599-c781a677a996" providerId="ADAL" clId="{99DCF58A-61FD-4A82-B407-E5D0DF551B20}" dt="2023-12-23T13:41:50.114" v="75" actId="20577"/>
          <ac:spMkLst>
            <pc:docMk/>
            <pc:sldMk cId="697137886" sldId="679"/>
            <ac:spMk id="2" creationId="{00000000-0000-0000-0000-000000000000}"/>
          </ac:spMkLst>
        </pc:spChg>
        <pc:spChg chg="mod">
          <ac:chgData name="Koksrud Andreas" userId="9d9beba6-c052-407a-8599-c781a677a996" providerId="ADAL" clId="{99DCF58A-61FD-4A82-B407-E5D0DF551B20}" dt="2023-12-23T13:41:56.035" v="76" actId="20577"/>
          <ac:spMkLst>
            <pc:docMk/>
            <pc:sldMk cId="697137886" sldId="679"/>
            <ac:spMk id="3" creationId="{00000000-0000-0000-0000-000000000000}"/>
          </ac:spMkLst>
        </pc:spChg>
      </pc:sldChg>
      <pc:sldChg chg="modSp mod">
        <pc:chgData name="Koksrud Andreas" userId="9d9beba6-c052-407a-8599-c781a677a996" providerId="ADAL" clId="{99DCF58A-61FD-4A82-B407-E5D0DF551B20}" dt="2023-12-23T13:42:17.483" v="86" actId="6549"/>
        <pc:sldMkLst>
          <pc:docMk/>
          <pc:sldMk cId="2087783305" sldId="730"/>
        </pc:sldMkLst>
        <pc:spChg chg="mod">
          <ac:chgData name="Koksrud Andreas" userId="9d9beba6-c052-407a-8599-c781a677a996" providerId="ADAL" clId="{99DCF58A-61FD-4A82-B407-E5D0DF551B20}" dt="2023-12-23T13:42:17.483" v="86" actId="6549"/>
          <ac:spMkLst>
            <pc:docMk/>
            <pc:sldMk cId="2087783305" sldId="730"/>
            <ac:spMk id="2" creationId="{E83F8947-299D-4698-B80E-56B8E23125F0}"/>
          </ac:spMkLst>
        </pc:spChg>
      </pc:sldChg>
      <pc:sldChg chg="modSp mod">
        <pc:chgData name="Koksrud Andreas" userId="9d9beba6-c052-407a-8599-c781a677a996" providerId="ADAL" clId="{99DCF58A-61FD-4A82-B407-E5D0DF551B20}" dt="2023-12-23T13:50:26.250" v="861" actId="20577"/>
        <pc:sldMkLst>
          <pc:docMk/>
          <pc:sldMk cId="4184721091" sldId="775"/>
        </pc:sldMkLst>
        <pc:spChg chg="mod">
          <ac:chgData name="Koksrud Andreas" userId="9d9beba6-c052-407a-8599-c781a677a996" providerId="ADAL" clId="{99DCF58A-61FD-4A82-B407-E5D0DF551B20}" dt="2023-12-23T13:50:26.250" v="861" actId="20577"/>
          <ac:spMkLst>
            <pc:docMk/>
            <pc:sldMk cId="4184721091" sldId="775"/>
            <ac:spMk id="181" creationId="{00000000-0000-0000-0000-000000000000}"/>
          </ac:spMkLst>
        </pc:spChg>
      </pc:sldChg>
      <pc:sldChg chg="del">
        <pc:chgData name="Koksrud Andreas" userId="9d9beba6-c052-407a-8599-c781a677a996" providerId="ADAL" clId="{99DCF58A-61FD-4A82-B407-E5D0DF551B20}" dt="2023-12-23T17:02:56.444" v="1899" actId="47"/>
        <pc:sldMkLst>
          <pc:docMk/>
          <pc:sldMk cId="267941889" sldId="776"/>
        </pc:sldMkLst>
      </pc:sldChg>
      <pc:sldChg chg="del">
        <pc:chgData name="Koksrud Andreas" userId="9d9beba6-c052-407a-8599-c781a677a996" providerId="ADAL" clId="{99DCF58A-61FD-4A82-B407-E5D0DF551B20}" dt="2023-12-25T11:56:06.978" v="4626" actId="47"/>
        <pc:sldMkLst>
          <pc:docMk/>
          <pc:sldMk cId="3268319793" sldId="777"/>
        </pc:sldMkLst>
      </pc:sldChg>
      <pc:sldChg chg="del">
        <pc:chgData name="Koksrud Andreas" userId="9d9beba6-c052-407a-8599-c781a677a996" providerId="ADAL" clId="{99DCF58A-61FD-4A82-B407-E5D0DF551B20}" dt="2023-12-25T11:56:06.978" v="4626" actId="47"/>
        <pc:sldMkLst>
          <pc:docMk/>
          <pc:sldMk cId="2866642472" sldId="778"/>
        </pc:sldMkLst>
      </pc:sldChg>
      <pc:sldChg chg="del">
        <pc:chgData name="Koksrud Andreas" userId="9d9beba6-c052-407a-8599-c781a677a996" providerId="ADAL" clId="{99DCF58A-61FD-4A82-B407-E5D0DF551B20}" dt="2023-12-25T11:56:06.978" v="4626" actId="47"/>
        <pc:sldMkLst>
          <pc:docMk/>
          <pc:sldMk cId="2950788596" sldId="780"/>
        </pc:sldMkLst>
      </pc:sldChg>
      <pc:sldChg chg="del">
        <pc:chgData name="Koksrud Andreas" userId="9d9beba6-c052-407a-8599-c781a677a996" providerId="ADAL" clId="{99DCF58A-61FD-4A82-B407-E5D0DF551B20}" dt="2023-12-25T11:56:06.978" v="4626" actId="47"/>
        <pc:sldMkLst>
          <pc:docMk/>
          <pc:sldMk cId="1603511548" sldId="781"/>
        </pc:sldMkLst>
      </pc:sldChg>
      <pc:sldChg chg="del">
        <pc:chgData name="Koksrud Andreas" userId="9d9beba6-c052-407a-8599-c781a677a996" providerId="ADAL" clId="{99DCF58A-61FD-4A82-B407-E5D0DF551B20}" dt="2023-12-25T11:56:06.978" v="4626" actId="47"/>
        <pc:sldMkLst>
          <pc:docMk/>
          <pc:sldMk cId="1881751481" sldId="782"/>
        </pc:sldMkLst>
      </pc:sldChg>
      <pc:sldChg chg="del">
        <pc:chgData name="Koksrud Andreas" userId="9d9beba6-c052-407a-8599-c781a677a996" providerId="ADAL" clId="{99DCF58A-61FD-4A82-B407-E5D0DF551B20}" dt="2023-12-25T11:56:06.978" v="4626" actId="47"/>
        <pc:sldMkLst>
          <pc:docMk/>
          <pc:sldMk cId="1079463624" sldId="797"/>
        </pc:sldMkLst>
      </pc:sldChg>
      <pc:sldChg chg="delSp modSp mod">
        <pc:chgData name="Koksrud Andreas" userId="9d9beba6-c052-407a-8599-c781a677a996" providerId="ADAL" clId="{99DCF58A-61FD-4A82-B407-E5D0DF551B20}" dt="2023-12-23T17:05:15.932" v="2018" actId="478"/>
        <pc:sldMkLst>
          <pc:docMk/>
          <pc:sldMk cId="590634226" sldId="798"/>
        </pc:sldMkLst>
        <pc:spChg chg="del">
          <ac:chgData name="Koksrud Andreas" userId="9d9beba6-c052-407a-8599-c781a677a996" providerId="ADAL" clId="{99DCF58A-61FD-4A82-B407-E5D0DF551B20}" dt="2023-12-23T17:05:15.932" v="2018" actId="478"/>
          <ac:spMkLst>
            <pc:docMk/>
            <pc:sldMk cId="590634226" sldId="798"/>
            <ac:spMk id="2" creationId="{E5D5B057-1D39-AC88-396C-0D888288A2E9}"/>
          </ac:spMkLst>
        </pc:spChg>
        <pc:spChg chg="mod">
          <ac:chgData name="Koksrud Andreas" userId="9d9beba6-c052-407a-8599-c781a677a996" providerId="ADAL" clId="{99DCF58A-61FD-4A82-B407-E5D0DF551B20}" dt="2023-12-23T17:03:18.018" v="1931" actId="20577"/>
          <ac:spMkLst>
            <pc:docMk/>
            <pc:sldMk cId="590634226" sldId="798"/>
            <ac:spMk id="180" creationId="{00000000-0000-0000-0000-000000000000}"/>
          </ac:spMkLst>
        </pc:spChg>
        <pc:spChg chg="mod">
          <ac:chgData name="Koksrud Andreas" userId="9d9beba6-c052-407a-8599-c781a677a996" providerId="ADAL" clId="{99DCF58A-61FD-4A82-B407-E5D0DF551B20}" dt="2023-12-23T17:05:10.328" v="2017" actId="20577"/>
          <ac:spMkLst>
            <pc:docMk/>
            <pc:sldMk cId="590634226" sldId="798"/>
            <ac:spMk id="181" creationId="{00000000-0000-0000-0000-000000000000}"/>
          </ac:spMkLst>
        </pc:spChg>
        <pc:picChg chg="del">
          <ac:chgData name="Koksrud Andreas" userId="9d9beba6-c052-407a-8599-c781a677a996" providerId="ADAL" clId="{99DCF58A-61FD-4A82-B407-E5D0DF551B20}" dt="2023-12-23T17:04:11.161" v="1975" actId="478"/>
          <ac:picMkLst>
            <pc:docMk/>
            <pc:sldMk cId="590634226" sldId="798"/>
            <ac:picMk id="4" creationId="{3268E2CD-034A-0355-88E6-A9987142F20D}"/>
          </ac:picMkLst>
        </pc:picChg>
      </pc:sldChg>
      <pc:sldChg chg="del">
        <pc:chgData name="Koksrud Andreas" userId="9d9beba6-c052-407a-8599-c781a677a996" providerId="ADAL" clId="{99DCF58A-61FD-4A82-B407-E5D0DF551B20}" dt="2023-12-25T11:56:06.978" v="4626" actId="47"/>
        <pc:sldMkLst>
          <pc:docMk/>
          <pc:sldMk cId="1792322963" sldId="799"/>
        </pc:sldMkLst>
      </pc:sldChg>
      <pc:sldChg chg="modSp mod">
        <pc:chgData name="Koksrud Andreas" userId="9d9beba6-c052-407a-8599-c781a677a996" providerId="ADAL" clId="{99DCF58A-61FD-4A82-B407-E5D0DF551B20}" dt="2023-12-23T13:46:54.082" v="662" actId="20577"/>
        <pc:sldMkLst>
          <pc:docMk/>
          <pc:sldMk cId="2075912972" sldId="800"/>
        </pc:sldMkLst>
        <pc:spChg chg="mod">
          <ac:chgData name="Koksrud Andreas" userId="9d9beba6-c052-407a-8599-c781a677a996" providerId="ADAL" clId="{99DCF58A-61FD-4A82-B407-E5D0DF551B20}" dt="2023-12-23T13:46:54.082" v="662" actId="20577"/>
          <ac:spMkLst>
            <pc:docMk/>
            <pc:sldMk cId="2075912972" sldId="800"/>
            <ac:spMk id="4" creationId="{1F0030D3-C16D-0458-39A0-65E4C91CE228}"/>
          </ac:spMkLst>
        </pc:spChg>
        <pc:graphicFrameChg chg="modGraphic">
          <ac:chgData name="Koksrud Andreas" userId="9d9beba6-c052-407a-8599-c781a677a996" providerId="ADAL" clId="{99DCF58A-61FD-4A82-B407-E5D0DF551B20}" dt="2023-12-23T13:44:40.802" v="262" actId="20577"/>
          <ac:graphicFrameMkLst>
            <pc:docMk/>
            <pc:sldMk cId="2075912972" sldId="800"/>
            <ac:graphicFrameMk id="3" creationId="{9988BFF9-164F-39C7-5576-A1BE9BB1B8AA}"/>
          </ac:graphicFrameMkLst>
        </pc:graphicFrameChg>
      </pc:sldChg>
      <pc:sldChg chg="del">
        <pc:chgData name="Koksrud Andreas" userId="9d9beba6-c052-407a-8599-c781a677a996" providerId="ADAL" clId="{99DCF58A-61FD-4A82-B407-E5D0DF551B20}" dt="2023-12-25T11:56:06.978" v="4626" actId="47"/>
        <pc:sldMkLst>
          <pc:docMk/>
          <pc:sldMk cId="1498060418" sldId="802"/>
        </pc:sldMkLst>
      </pc:sldChg>
      <pc:sldChg chg="del">
        <pc:chgData name="Koksrud Andreas" userId="9d9beba6-c052-407a-8599-c781a677a996" providerId="ADAL" clId="{99DCF58A-61FD-4A82-B407-E5D0DF551B20}" dt="2023-12-25T11:56:06.978" v="4626" actId="47"/>
        <pc:sldMkLst>
          <pc:docMk/>
          <pc:sldMk cId="4143839114" sldId="803"/>
        </pc:sldMkLst>
      </pc:sldChg>
      <pc:sldChg chg="del">
        <pc:chgData name="Koksrud Andreas" userId="9d9beba6-c052-407a-8599-c781a677a996" providerId="ADAL" clId="{99DCF58A-61FD-4A82-B407-E5D0DF551B20}" dt="2023-12-25T11:55:47.592" v="4623" actId="47"/>
        <pc:sldMkLst>
          <pc:docMk/>
          <pc:sldMk cId="650945980" sldId="804"/>
        </pc:sldMkLst>
      </pc:sldChg>
      <pc:sldChg chg="addSp delSp modSp mod">
        <pc:chgData name="Koksrud Andreas" userId="9d9beba6-c052-407a-8599-c781a677a996" providerId="ADAL" clId="{99DCF58A-61FD-4A82-B407-E5D0DF551B20}" dt="2023-12-23T16:57:18.903" v="1803" actId="732"/>
        <pc:sldMkLst>
          <pc:docMk/>
          <pc:sldMk cId="2074140981" sldId="806"/>
        </pc:sldMkLst>
        <pc:spChg chg="add mod">
          <ac:chgData name="Koksrud Andreas" userId="9d9beba6-c052-407a-8599-c781a677a996" providerId="ADAL" clId="{99DCF58A-61FD-4A82-B407-E5D0DF551B20}" dt="2023-12-23T16:54:28.615" v="1792" actId="20577"/>
          <ac:spMkLst>
            <pc:docMk/>
            <pc:sldMk cId="2074140981" sldId="806"/>
            <ac:spMk id="2" creationId="{9796E8C1-5924-9DB3-B51B-75296717F89F}"/>
          </ac:spMkLst>
        </pc:spChg>
        <pc:spChg chg="mod">
          <ac:chgData name="Koksrud Andreas" userId="9d9beba6-c052-407a-8599-c781a677a996" providerId="ADAL" clId="{99DCF58A-61FD-4A82-B407-E5D0DF551B20}" dt="2023-12-23T16:49:15.453" v="1603" actId="20577"/>
          <ac:spMkLst>
            <pc:docMk/>
            <pc:sldMk cId="2074140981" sldId="806"/>
            <ac:spMk id="180" creationId="{00000000-0000-0000-0000-000000000000}"/>
          </ac:spMkLst>
        </pc:spChg>
        <pc:picChg chg="del">
          <ac:chgData name="Koksrud Andreas" userId="9d9beba6-c052-407a-8599-c781a677a996" providerId="ADAL" clId="{99DCF58A-61FD-4A82-B407-E5D0DF551B20}" dt="2023-12-23T16:48:44.945" v="1550" actId="478"/>
          <ac:picMkLst>
            <pc:docMk/>
            <pc:sldMk cId="2074140981" sldId="806"/>
            <ac:picMk id="3" creationId="{CD99786B-35E2-BD35-7C6B-DEDF65490D16}"/>
          </ac:picMkLst>
        </pc:picChg>
        <pc:picChg chg="add mod modCrop">
          <ac:chgData name="Koksrud Andreas" userId="9d9beba6-c052-407a-8599-c781a677a996" providerId="ADAL" clId="{99DCF58A-61FD-4A82-B407-E5D0DF551B20}" dt="2023-12-23T16:56:11.410" v="1795" actId="1076"/>
          <ac:picMkLst>
            <pc:docMk/>
            <pc:sldMk cId="2074140981" sldId="806"/>
            <ac:picMk id="5" creationId="{632AF46E-F399-6B2B-6C7D-7AC32B6F15B1}"/>
          </ac:picMkLst>
        </pc:picChg>
        <pc:picChg chg="add mod modCrop">
          <ac:chgData name="Koksrud Andreas" userId="9d9beba6-c052-407a-8599-c781a677a996" providerId="ADAL" clId="{99DCF58A-61FD-4A82-B407-E5D0DF551B20}" dt="2023-12-23T16:57:18.903" v="1803" actId="732"/>
          <ac:picMkLst>
            <pc:docMk/>
            <pc:sldMk cId="2074140981" sldId="806"/>
            <ac:picMk id="7" creationId="{3D52F378-4BF7-C53D-61E4-B2111DE11E58}"/>
          </ac:picMkLst>
        </pc:picChg>
      </pc:sldChg>
      <pc:sldChg chg="del">
        <pc:chgData name="Koksrud Andreas" userId="9d9beba6-c052-407a-8599-c781a677a996" providerId="ADAL" clId="{99DCF58A-61FD-4A82-B407-E5D0DF551B20}" dt="2023-12-23T17:02:46.402" v="1897" actId="47"/>
        <pc:sldMkLst>
          <pc:docMk/>
          <pc:sldMk cId="3317680748" sldId="807"/>
        </pc:sldMkLst>
      </pc:sldChg>
      <pc:sldChg chg="del">
        <pc:chgData name="Koksrud Andreas" userId="9d9beba6-c052-407a-8599-c781a677a996" providerId="ADAL" clId="{99DCF58A-61FD-4A82-B407-E5D0DF551B20}" dt="2023-12-23T17:02:48.958" v="1898" actId="47"/>
        <pc:sldMkLst>
          <pc:docMk/>
          <pc:sldMk cId="197388729" sldId="808"/>
        </pc:sldMkLst>
      </pc:sldChg>
      <pc:sldChg chg="addSp delSp modSp mod">
        <pc:chgData name="Koksrud Andreas" userId="9d9beba6-c052-407a-8599-c781a677a996" providerId="ADAL" clId="{99DCF58A-61FD-4A82-B407-E5D0DF551B20}" dt="2023-12-23T16:51:44.527" v="1615" actId="13822"/>
        <pc:sldMkLst>
          <pc:docMk/>
          <pc:sldMk cId="1335476865" sldId="813"/>
        </pc:sldMkLst>
        <pc:spChg chg="add mod">
          <ac:chgData name="Koksrud Andreas" userId="9d9beba6-c052-407a-8599-c781a677a996" providerId="ADAL" clId="{99DCF58A-61FD-4A82-B407-E5D0DF551B20}" dt="2023-12-23T16:45:38.756" v="1509" actId="6549"/>
          <ac:spMkLst>
            <pc:docMk/>
            <pc:sldMk cId="1335476865" sldId="813"/>
            <ac:spMk id="5" creationId="{4544DAF9-645F-44E3-08C5-45A5700AF33A}"/>
          </ac:spMkLst>
        </pc:spChg>
        <pc:spChg chg="add mod">
          <ac:chgData name="Koksrud Andreas" userId="9d9beba6-c052-407a-8599-c781a677a996" providerId="ADAL" clId="{99DCF58A-61FD-4A82-B407-E5D0DF551B20}" dt="2023-12-23T16:50:58.385" v="1612" actId="14100"/>
          <ac:spMkLst>
            <pc:docMk/>
            <pc:sldMk cId="1335476865" sldId="813"/>
            <ac:spMk id="6" creationId="{8CB466B1-5D8D-577F-167C-F0D8E426E805}"/>
          </ac:spMkLst>
        </pc:spChg>
        <pc:spChg chg="add mod">
          <ac:chgData name="Koksrud Andreas" userId="9d9beba6-c052-407a-8599-c781a677a996" providerId="ADAL" clId="{99DCF58A-61FD-4A82-B407-E5D0DF551B20}" dt="2023-12-23T16:50:50.293" v="1610" actId="14100"/>
          <ac:spMkLst>
            <pc:docMk/>
            <pc:sldMk cId="1335476865" sldId="813"/>
            <ac:spMk id="7" creationId="{0A2971D7-73A6-15C4-DF47-BE19C2977C19}"/>
          </ac:spMkLst>
        </pc:spChg>
        <pc:spChg chg="add mod">
          <ac:chgData name="Koksrud Andreas" userId="9d9beba6-c052-407a-8599-c781a677a996" providerId="ADAL" clId="{99DCF58A-61FD-4A82-B407-E5D0DF551B20}" dt="2023-12-23T16:50:54.028" v="1611" actId="14100"/>
          <ac:spMkLst>
            <pc:docMk/>
            <pc:sldMk cId="1335476865" sldId="813"/>
            <ac:spMk id="8" creationId="{BC37532E-4FDD-8095-35D0-D09AA5F7FFD9}"/>
          </ac:spMkLst>
        </pc:spChg>
        <pc:spChg chg="mod">
          <ac:chgData name="Koksrud Andreas" userId="9d9beba6-c052-407a-8599-c781a677a996" providerId="ADAL" clId="{99DCF58A-61FD-4A82-B407-E5D0DF551B20}" dt="2023-12-23T13:52:12.996" v="1034" actId="20577"/>
          <ac:spMkLst>
            <pc:docMk/>
            <pc:sldMk cId="1335476865" sldId="813"/>
            <ac:spMk id="180" creationId="{00000000-0000-0000-0000-000000000000}"/>
          </ac:spMkLst>
        </pc:spChg>
        <pc:picChg chg="del">
          <ac:chgData name="Koksrud Andreas" userId="9d9beba6-c052-407a-8599-c781a677a996" providerId="ADAL" clId="{99DCF58A-61FD-4A82-B407-E5D0DF551B20}" dt="2023-12-23T15:55:27.556" v="1035" actId="478"/>
          <ac:picMkLst>
            <pc:docMk/>
            <pc:sldMk cId="1335476865" sldId="813"/>
            <ac:picMk id="2" creationId="{6CD256E6-0C7C-B0D1-6B31-4088F40945C9}"/>
          </ac:picMkLst>
        </pc:picChg>
        <pc:picChg chg="del">
          <ac:chgData name="Koksrud Andreas" userId="9d9beba6-c052-407a-8599-c781a677a996" providerId="ADAL" clId="{99DCF58A-61FD-4A82-B407-E5D0DF551B20}" dt="2023-12-23T15:55:29.244" v="1036" actId="478"/>
          <ac:picMkLst>
            <pc:docMk/>
            <pc:sldMk cId="1335476865" sldId="813"/>
            <ac:picMk id="3" creationId="{057FBA2D-1860-A8AE-0DCA-82E5436510A4}"/>
          </ac:picMkLst>
        </pc:picChg>
        <pc:picChg chg="del">
          <ac:chgData name="Koksrud Andreas" userId="9d9beba6-c052-407a-8599-c781a677a996" providerId="ADAL" clId="{99DCF58A-61FD-4A82-B407-E5D0DF551B20}" dt="2023-12-23T15:55:30.854" v="1037" actId="478"/>
          <ac:picMkLst>
            <pc:docMk/>
            <pc:sldMk cId="1335476865" sldId="813"/>
            <ac:picMk id="4" creationId="{E555DF2B-41C1-BC0F-6C1E-AE908DB7088B}"/>
          </ac:picMkLst>
        </pc:picChg>
        <pc:picChg chg="add mod modCrop">
          <ac:chgData name="Koksrud Andreas" userId="9d9beba6-c052-407a-8599-c781a677a996" providerId="ADAL" clId="{99DCF58A-61FD-4A82-B407-E5D0DF551B20}" dt="2023-12-23T16:51:00.335" v="1613" actId="1076"/>
          <ac:picMkLst>
            <pc:docMk/>
            <pc:sldMk cId="1335476865" sldId="813"/>
            <ac:picMk id="10" creationId="{AA68FF74-1E71-8AC5-422F-D994FA0F2BEE}"/>
          </ac:picMkLst>
        </pc:picChg>
        <pc:cxnChg chg="add mod">
          <ac:chgData name="Koksrud Andreas" userId="9d9beba6-c052-407a-8599-c781a677a996" providerId="ADAL" clId="{99DCF58A-61FD-4A82-B407-E5D0DF551B20}" dt="2023-12-23T16:51:44.527" v="1615" actId="13822"/>
          <ac:cxnSpMkLst>
            <pc:docMk/>
            <pc:sldMk cId="1335476865" sldId="813"/>
            <ac:cxnSpMk id="12" creationId="{571881FC-D844-8847-6B92-E6A6B16E93ED}"/>
          </ac:cxnSpMkLst>
        </pc:cxnChg>
      </pc:sldChg>
      <pc:sldChg chg="del">
        <pc:chgData name="Koksrud Andreas" userId="9d9beba6-c052-407a-8599-c781a677a996" providerId="ADAL" clId="{99DCF58A-61FD-4A82-B407-E5D0DF551B20}" dt="2023-12-25T11:55:46.922" v="4622" actId="47"/>
        <pc:sldMkLst>
          <pc:docMk/>
          <pc:sldMk cId="248187023" sldId="814"/>
        </pc:sldMkLst>
      </pc:sldChg>
      <pc:sldChg chg="del">
        <pc:chgData name="Koksrud Andreas" userId="9d9beba6-c052-407a-8599-c781a677a996" providerId="ADAL" clId="{99DCF58A-61FD-4A82-B407-E5D0DF551B20}" dt="2023-12-25T11:55:48.894" v="4624" actId="47"/>
        <pc:sldMkLst>
          <pc:docMk/>
          <pc:sldMk cId="2920848915" sldId="815"/>
        </pc:sldMkLst>
      </pc:sldChg>
      <pc:sldChg chg="del">
        <pc:chgData name="Koksrud Andreas" userId="9d9beba6-c052-407a-8599-c781a677a996" providerId="ADAL" clId="{99DCF58A-61FD-4A82-B407-E5D0DF551B20}" dt="2023-12-25T11:55:49.889" v="4625" actId="47"/>
        <pc:sldMkLst>
          <pc:docMk/>
          <pc:sldMk cId="2825686732" sldId="816"/>
        </pc:sldMkLst>
      </pc:sldChg>
      <pc:sldChg chg="del">
        <pc:chgData name="Koksrud Andreas" userId="9d9beba6-c052-407a-8599-c781a677a996" providerId="ADAL" clId="{99DCF58A-61FD-4A82-B407-E5D0DF551B20}" dt="2023-12-25T11:56:06.978" v="4626" actId="47"/>
        <pc:sldMkLst>
          <pc:docMk/>
          <pc:sldMk cId="3012956304" sldId="817"/>
        </pc:sldMkLst>
      </pc:sldChg>
      <pc:sldChg chg="del">
        <pc:chgData name="Koksrud Andreas" userId="9d9beba6-c052-407a-8599-c781a677a996" providerId="ADAL" clId="{99DCF58A-61FD-4A82-B407-E5D0DF551B20}" dt="2023-12-25T11:56:06.978" v="4626" actId="47"/>
        <pc:sldMkLst>
          <pc:docMk/>
          <pc:sldMk cId="958133851" sldId="818"/>
        </pc:sldMkLst>
      </pc:sldChg>
      <pc:sldChg chg="del">
        <pc:chgData name="Koksrud Andreas" userId="9d9beba6-c052-407a-8599-c781a677a996" providerId="ADAL" clId="{99DCF58A-61FD-4A82-B407-E5D0DF551B20}" dt="2023-12-25T11:56:06.978" v="4626" actId="47"/>
        <pc:sldMkLst>
          <pc:docMk/>
          <pc:sldMk cId="3123567294" sldId="819"/>
        </pc:sldMkLst>
      </pc:sldChg>
      <pc:sldChg chg="del">
        <pc:chgData name="Koksrud Andreas" userId="9d9beba6-c052-407a-8599-c781a677a996" providerId="ADAL" clId="{99DCF58A-61FD-4A82-B407-E5D0DF551B20}" dt="2023-12-25T11:56:06.978" v="4626" actId="47"/>
        <pc:sldMkLst>
          <pc:docMk/>
          <pc:sldMk cId="2810975730" sldId="820"/>
        </pc:sldMkLst>
      </pc:sldChg>
      <pc:sldChg chg="del">
        <pc:chgData name="Koksrud Andreas" userId="9d9beba6-c052-407a-8599-c781a677a996" providerId="ADAL" clId="{99DCF58A-61FD-4A82-B407-E5D0DF551B20}" dt="2023-12-25T11:56:06.978" v="4626" actId="47"/>
        <pc:sldMkLst>
          <pc:docMk/>
          <pc:sldMk cId="484354108" sldId="821"/>
        </pc:sldMkLst>
      </pc:sldChg>
      <pc:sldChg chg="del">
        <pc:chgData name="Koksrud Andreas" userId="9d9beba6-c052-407a-8599-c781a677a996" providerId="ADAL" clId="{99DCF58A-61FD-4A82-B407-E5D0DF551B20}" dt="2023-12-25T11:56:06.978" v="4626" actId="47"/>
        <pc:sldMkLst>
          <pc:docMk/>
          <pc:sldMk cId="1297674930" sldId="822"/>
        </pc:sldMkLst>
      </pc:sldChg>
      <pc:sldChg chg="del">
        <pc:chgData name="Koksrud Andreas" userId="9d9beba6-c052-407a-8599-c781a677a996" providerId="ADAL" clId="{99DCF58A-61FD-4A82-B407-E5D0DF551B20}" dt="2023-12-25T11:56:06.978" v="4626" actId="47"/>
        <pc:sldMkLst>
          <pc:docMk/>
          <pc:sldMk cId="3521479601" sldId="823"/>
        </pc:sldMkLst>
      </pc:sldChg>
      <pc:sldChg chg="del">
        <pc:chgData name="Koksrud Andreas" userId="9d9beba6-c052-407a-8599-c781a677a996" providerId="ADAL" clId="{99DCF58A-61FD-4A82-B407-E5D0DF551B20}" dt="2023-12-25T11:56:06.978" v="4626" actId="47"/>
        <pc:sldMkLst>
          <pc:docMk/>
          <pc:sldMk cId="2832886649" sldId="824"/>
        </pc:sldMkLst>
      </pc:sldChg>
      <pc:sldChg chg="del">
        <pc:chgData name="Koksrud Andreas" userId="9d9beba6-c052-407a-8599-c781a677a996" providerId="ADAL" clId="{99DCF58A-61FD-4A82-B407-E5D0DF551B20}" dt="2023-12-25T11:56:06.978" v="4626" actId="47"/>
        <pc:sldMkLst>
          <pc:docMk/>
          <pc:sldMk cId="3060428227" sldId="825"/>
        </pc:sldMkLst>
      </pc:sldChg>
      <pc:sldChg chg="del">
        <pc:chgData name="Koksrud Andreas" userId="9d9beba6-c052-407a-8599-c781a677a996" providerId="ADAL" clId="{99DCF58A-61FD-4A82-B407-E5D0DF551B20}" dt="2023-12-25T11:56:06.978" v="4626" actId="47"/>
        <pc:sldMkLst>
          <pc:docMk/>
          <pc:sldMk cId="4106763092" sldId="826"/>
        </pc:sldMkLst>
      </pc:sldChg>
      <pc:sldChg chg="del">
        <pc:chgData name="Koksrud Andreas" userId="9d9beba6-c052-407a-8599-c781a677a996" providerId="ADAL" clId="{99DCF58A-61FD-4A82-B407-E5D0DF551B20}" dt="2023-12-25T11:56:06.978" v="4626" actId="47"/>
        <pc:sldMkLst>
          <pc:docMk/>
          <pc:sldMk cId="3993021773" sldId="827"/>
        </pc:sldMkLst>
      </pc:sldChg>
      <pc:sldChg chg="del">
        <pc:chgData name="Koksrud Andreas" userId="9d9beba6-c052-407a-8599-c781a677a996" providerId="ADAL" clId="{99DCF58A-61FD-4A82-B407-E5D0DF551B20}" dt="2023-12-25T11:56:06.978" v="4626" actId="47"/>
        <pc:sldMkLst>
          <pc:docMk/>
          <pc:sldMk cId="4152257816" sldId="828"/>
        </pc:sldMkLst>
      </pc:sldChg>
      <pc:sldChg chg="del">
        <pc:chgData name="Koksrud Andreas" userId="9d9beba6-c052-407a-8599-c781a677a996" providerId="ADAL" clId="{99DCF58A-61FD-4A82-B407-E5D0DF551B20}" dt="2023-12-25T11:56:06.978" v="4626" actId="47"/>
        <pc:sldMkLst>
          <pc:docMk/>
          <pc:sldMk cId="1118305278" sldId="829"/>
        </pc:sldMkLst>
      </pc:sldChg>
      <pc:sldChg chg="del">
        <pc:chgData name="Koksrud Andreas" userId="9d9beba6-c052-407a-8599-c781a677a996" providerId="ADAL" clId="{99DCF58A-61FD-4A82-B407-E5D0DF551B20}" dt="2023-12-25T11:56:06.978" v="4626" actId="47"/>
        <pc:sldMkLst>
          <pc:docMk/>
          <pc:sldMk cId="1212745208" sldId="830"/>
        </pc:sldMkLst>
      </pc:sldChg>
      <pc:sldChg chg="del">
        <pc:chgData name="Koksrud Andreas" userId="9d9beba6-c052-407a-8599-c781a677a996" providerId="ADAL" clId="{99DCF58A-61FD-4A82-B407-E5D0DF551B20}" dt="2023-12-25T11:56:06.978" v="4626" actId="47"/>
        <pc:sldMkLst>
          <pc:docMk/>
          <pc:sldMk cId="67928958" sldId="831"/>
        </pc:sldMkLst>
      </pc:sldChg>
      <pc:sldChg chg="del">
        <pc:chgData name="Koksrud Andreas" userId="9d9beba6-c052-407a-8599-c781a677a996" providerId="ADAL" clId="{99DCF58A-61FD-4A82-B407-E5D0DF551B20}" dt="2023-12-25T11:56:06.978" v="4626" actId="47"/>
        <pc:sldMkLst>
          <pc:docMk/>
          <pc:sldMk cId="1745852061" sldId="832"/>
        </pc:sldMkLst>
      </pc:sldChg>
      <pc:sldChg chg="del">
        <pc:chgData name="Koksrud Andreas" userId="9d9beba6-c052-407a-8599-c781a677a996" providerId="ADAL" clId="{99DCF58A-61FD-4A82-B407-E5D0DF551B20}" dt="2023-12-25T11:56:06.978" v="4626" actId="47"/>
        <pc:sldMkLst>
          <pc:docMk/>
          <pc:sldMk cId="1408972888" sldId="833"/>
        </pc:sldMkLst>
      </pc:sldChg>
      <pc:sldChg chg="del">
        <pc:chgData name="Koksrud Andreas" userId="9d9beba6-c052-407a-8599-c781a677a996" providerId="ADAL" clId="{99DCF58A-61FD-4A82-B407-E5D0DF551B20}" dt="2023-12-25T11:56:06.978" v="4626" actId="47"/>
        <pc:sldMkLst>
          <pc:docMk/>
          <pc:sldMk cId="4111253885" sldId="834"/>
        </pc:sldMkLst>
      </pc:sldChg>
      <pc:sldChg chg="del">
        <pc:chgData name="Koksrud Andreas" userId="9d9beba6-c052-407a-8599-c781a677a996" providerId="ADAL" clId="{99DCF58A-61FD-4A82-B407-E5D0DF551B20}" dt="2023-12-25T11:56:06.978" v="4626" actId="47"/>
        <pc:sldMkLst>
          <pc:docMk/>
          <pc:sldMk cId="1712697486" sldId="835"/>
        </pc:sldMkLst>
      </pc:sldChg>
      <pc:sldChg chg="del">
        <pc:chgData name="Koksrud Andreas" userId="9d9beba6-c052-407a-8599-c781a677a996" providerId="ADAL" clId="{99DCF58A-61FD-4A82-B407-E5D0DF551B20}" dt="2023-12-25T11:56:06.978" v="4626" actId="47"/>
        <pc:sldMkLst>
          <pc:docMk/>
          <pc:sldMk cId="1864085447" sldId="836"/>
        </pc:sldMkLst>
      </pc:sldChg>
      <pc:sldChg chg="del">
        <pc:chgData name="Koksrud Andreas" userId="9d9beba6-c052-407a-8599-c781a677a996" providerId="ADAL" clId="{99DCF58A-61FD-4A82-B407-E5D0DF551B20}" dt="2023-12-25T11:56:06.978" v="4626" actId="47"/>
        <pc:sldMkLst>
          <pc:docMk/>
          <pc:sldMk cId="2778952537" sldId="837"/>
        </pc:sldMkLst>
      </pc:sldChg>
      <pc:sldChg chg="del">
        <pc:chgData name="Koksrud Andreas" userId="9d9beba6-c052-407a-8599-c781a677a996" providerId="ADAL" clId="{99DCF58A-61FD-4A82-B407-E5D0DF551B20}" dt="2023-12-25T11:56:06.978" v="4626" actId="47"/>
        <pc:sldMkLst>
          <pc:docMk/>
          <pc:sldMk cId="1436840472" sldId="838"/>
        </pc:sldMkLst>
      </pc:sldChg>
      <pc:sldChg chg="del">
        <pc:chgData name="Koksrud Andreas" userId="9d9beba6-c052-407a-8599-c781a677a996" providerId="ADAL" clId="{99DCF58A-61FD-4A82-B407-E5D0DF551B20}" dt="2023-12-25T11:56:06.978" v="4626" actId="47"/>
        <pc:sldMkLst>
          <pc:docMk/>
          <pc:sldMk cId="1070812493" sldId="839"/>
        </pc:sldMkLst>
      </pc:sldChg>
      <pc:sldChg chg="del">
        <pc:chgData name="Koksrud Andreas" userId="9d9beba6-c052-407a-8599-c781a677a996" providerId="ADAL" clId="{99DCF58A-61FD-4A82-B407-E5D0DF551B20}" dt="2023-12-25T11:56:06.978" v="4626" actId="47"/>
        <pc:sldMkLst>
          <pc:docMk/>
          <pc:sldMk cId="2685798531" sldId="840"/>
        </pc:sldMkLst>
      </pc:sldChg>
      <pc:sldChg chg="del">
        <pc:chgData name="Koksrud Andreas" userId="9d9beba6-c052-407a-8599-c781a677a996" providerId="ADAL" clId="{99DCF58A-61FD-4A82-B407-E5D0DF551B20}" dt="2023-12-25T11:56:06.978" v="4626" actId="47"/>
        <pc:sldMkLst>
          <pc:docMk/>
          <pc:sldMk cId="2309282967" sldId="841"/>
        </pc:sldMkLst>
      </pc:sldChg>
      <pc:sldChg chg="del">
        <pc:chgData name="Koksrud Andreas" userId="9d9beba6-c052-407a-8599-c781a677a996" providerId="ADAL" clId="{99DCF58A-61FD-4A82-B407-E5D0DF551B20}" dt="2023-12-25T11:56:06.978" v="4626" actId="47"/>
        <pc:sldMkLst>
          <pc:docMk/>
          <pc:sldMk cId="685011829" sldId="842"/>
        </pc:sldMkLst>
      </pc:sldChg>
      <pc:sldChg chg="modSp mod">
        <pc:chgData name="Koksrud Andreas" userId="9d9beba6-c052-407a-8599-c781a677a996" providerId="ADAL" clId="{99DCF58A-61FD-4A82-B407-E5D0DF551B20}" dt="2023-12-23T17:03:37.350" v="1959" actId="20577"/>
        <pc:sldMkLst>
          <pc:docMk/>
          <pc:sldMk cId="798825500" sldId="844"/>
        </pc:sldMkLst>
        <pc:spChg chg="mod">
          <ac:chgData name="Koksrud Andreas" userId="9d9beba6-c052-407a-8599-c781a677a996" providerId="ADAL" clId="{99DCF58A-61FD-4A82-B407-E5D0DF551B20}" dt="2023-12-23T17:03:37.350" v="1959" actId="20577"/>
          <ac:spMkLst>
            <pc:docMk/>
            <pc:sldMk cId="798825500" sldId="844"/>
            <ac:spMk id="2" creationId="{244AF8B4-0676-DA57-A478-7C2D0FFFC8AA}"/>
          </ac:spMkLst>
        </pc:spChg>
      </pc:sldChg>
      <pc:sldChg chg="del">
        <pc:chgData name="Koksrud Andreas" userId="9d9beba6-c052-407a-8599-c781a677a996" providerId="ADAL" clId="{99DCF58A-61FD-4A82-B407-E5D0DF551B20}" dt="2023-12-25T11:56:06.978" v="4626" actId="47"/>
        <pc:sldMkLst>
          <pc:docMk/>
          <pc:sldMk cId="3245717989" sldId="845"/>
        </pc:sldMkLst>
      </pc:sldChg>
      <pc:sldChg chg="del">
        <pc:chgData name="Koksrud Andreas" userId="9d9beba6-c052-407a-8599-c781a677a996" providerId="ADAL" clId="{99DCF58A-61FD-4A82-B407-E5D0DF551B20}" dt="2023-12-25T11:56:06.978" v="4626" actId="47"/>
        <pc:sldMkLst>
          <pc:docMk/>
          <pc:sldMk cId="3805266284" sldId="846"/>
        </pc:sldMkLst>
      </pc:sldChg>
      <pc:sldChg chg="del">
        <pc:chgData name="Koksrud Andreas" userId="9d9beba6-c052-407a-8599-c781a677a996" providerId="ADAL" clId="{99DCF58A-61FD-4A82-B407-E5D0DF551B20}" dt="2023-12-25T11:56:06.978" v="4626" actId="47"/>
        <pc:sldMkLst>
          <pc:docMk/>
          <pc:sldMk cId="1521086367" sldId="847"/>
        </pc:sldMkLst>
      </pc:sldChg>
      <pc:sldChg chg="modSp add mod">
        <pc:chgData name="Koksrud Andreas" userId="9d9beba6-c052-407a-8599-c781a677a996" providerId="ADAL" clId="{99DCF58A-61FD-4A82-B407-E5D0DF551B20}" dt="2023-12-23T17:02:19.096" v="1896" actId="20577"/>
        <pc:sldMkLst>
          <pc:docMk/>
          <pc:sldMk cId="2885639092" sldId="848"/>
        </pc:sldMkLst>
        <pc:spChg chg="mod">
          <ac:chgData name="Koksrud Andreas" userId="9d9beba6-c052-407a-8599-c781a677a996" providerId="ADAL" clId="{99DCF58A-61FD-4A82-B407-E5D0DF551B20}" dt="2023-12-23T13:50:49.769" v="898" actId="20577"/>
          <ac:spMkLst>
            <pc:docMk/>
            <pc:sldMk cId="2885639092" sldId="848"/>
            <ac:spMk id="180" creationId="{00000000-0000-0000-0000-000000000000}"/>
          </ac:spMkLst>
        </pc:spChg>
        <pc:spChg chg="mod">
          <ac:chgData name="Koksrud Andreas" userId="9d9beba6-c052-407a-8599-c781a677a996" providerId="ADAL" clId="{99DCF58A-61FD-4A82-B407-E5D0DF551B20}" dt="2023-12-23T17:02:19.096" v="1896" actId="20577"/>
          <ac:spMkLst>
            <pc:docMk/>
            <pc:sldMk cId="2885639092" sldId="848"/>
            <ac:spMk id="181" creationId="{00000000-0000-0000-0000-000000000000}"/>
          </ac:spMkLst>
        </pc:spChg>
      </pc:sldChg>
      <pc:sldChg chg="addSp delSp modSp add mod">
        <pc:chgData name="Koksrud Andreas" userId="9d9beba6-c052-407a-8599-c781a677a996" providerId="ADAL" clId="{99DCF58A-61FD-4A82-B407-E5D0DF551B20}" dt="2023-12-23T16:59:59.967" v="1815" actId="1076"/>
        <pc:sldMkLst>
          <pc:docMk/>
          <pc:sldMk cId="1110680622" sldId="849"/>
        </pc:sldMkLst>
        <pc:spChg chg="add del mod">
          <ac:chgData name="Koksrud Andreas" userId="9d9beba6-c052-407a-8599-c781a677a996" providerId="ADAL" clId="{99DCF58A-61FD-4A82-B407-E5D0DF551B20}" dt="2023-12-23T16:59:57.116" v="1813" actId="478"/>
          <ac:spMkLst>
            <pc:docMk/>
            <pc:sldMk cId="1110680622" sldId="849"/>
            <ac:spMk id="3" creationId="{F3DDEA5A-FF9D-F283-0D33-DBFF55611C70}"/>
          </ac:spMkLst>
        </pc:spChg>
        <pc:spChg chg="del mod">
          <ac:chgData name="Koksrud Andreas" userId="9d9beba6-c052-407a-8599-c781a677a996" providerId="ADAL" clId="{99DCF58A-61FD-4A82-B407-E5D0DF551B20}" dt="2023-12-23T16:59:52.556" v="1812" actId="478"/>
          <ac:spMkLst>
            <pc:docMk/>
            <pc:sldMk cId="1110680622" sldId="849"/>
            <ac:spMk id="5" creationId="{4544DAF9-645F-44E3-08C5-45A5700AF33A}"/>
          </ac:spMkLst>
        </pc:spChg>
        <pc:spChg chg="del">
          <ac:chgData name="Koksrud Andreas" userId="9d9beba6-c052-407a-8599-c781a677a996" providerId="ADAL" clId="{99DCF58A-61FD-4A82-B407-E5D0DF551B20}" dt="2023-12-23T16:58:25.552" v="1809" actId="478"/>
          <ac:spMkLst>
            <pc:docMk/>
            <pc:sldMk cId="1110680622" sldId="849"/>
            <ac:spMk id="6" creationId="{8CB466B1-5D8D-577F-167C-F0D8E426E805}"/>
          </ac:spMkLst>
        </pc:spChg>
        <pc:spChg chg="del mod">
          <ac:chgData name="Koksrud Andreas" userId="9d9beba6-c052-407a-8599-c781a677a996" providerId="ADAL" clId="{99DCF58A-61FD-4A82-B407-E5D0DF551B20}" dt="2023-12-23T16:58:22.443" v="1808" actId="478"/>
          <ac:spMkLst>
            <pc:docMk/>
            <pc:sldMk cId="1110680622" sldId="849"/>
            <ac:spMk id="7" creationId="{0A2971D7-73A6-15C4-DF47-BE19C2977C19}"/>
          </ac:spMkLst>
        </pc:spChg>
        <pc:spChg chg="del">
          <ac:chgData name="Koksrud Andreas" userId="9d9beba6-c052-407a-8599-c781a677a996" providerId="ADAL" clId="{99DCF58A-61FD-4A82-B407-E5D0DF551B20}" dt="2023-12-23T16:58:30.427" v="1811" actId="478"/>
          <ac:spMkLst>
            <pc:docMk/>
            <pc:sldMk cId="1110680622" sldId="849"/>
            <ac:spMk id="8" creationId="{BC37532E-4FDD-8095-35D0-D09AA5F7FFD9}"/>
          </ac:spMkLst>
        </pc:spChg>
        <pc:picChg chg="add mod">
          <ac:chgData name="Koksrud Andreas" userId="9d9beba6-c052-407a-8599-c781a677a996" providerId="ADAL" clId="{99DCF58A-61FD-4A82-B407-E5D0DF551B20}" dt="2023-12-23T16:59:59.967" v="1815" actId="1076"/>
          <ac:picMkLst>
            <pc:docMk/>
            <pc:sldMk cId="1110680622" sldId="849"/>
            <ac:picMk id="9" creationId="{A1B7BC37-9C76-1716-BADE-08A1125AAD07}"/>
          </ac:picMkLst>
        </pc:picChg>
        <pc:picChg chg="del">
          <ac:chgData name="Koksrud Andreas" userId="9d9beba6-c052-407a-8599-c781a677a996" providerId="ADAL" clId="{99DCF58A-61FD-4A82-B407-E5D0DF551B20}" dt="2023-12-23T16:58:12.868" v="1806" actId="478"/>
          <ac:picMkLst>
            <pc:docMk/>
            <pc:sldMk cId="1110680622" sldId="849"/>
            <ac:picMk id="10" creationId="{AA68FF74-1E71-8AC5-422F-D994FA0F2BEE}"/>
          </ac:picMkLst>
        </pc:picChg>
        <pc:cxnChg chg="del mod">
          <ac:chgData name="Koksrud Andreas" userId="9d9beba6-c052-407a-8599-c781a677a996" providerId="ADAL" clId="{99DCF58A-61FD-4A82-B407-E5D0DF551B20}" dt="2023-12-23T16:58:28.171" v="1810" actId="478"/>
          <ac:cxnSpMkLst>
            <pc:docMk/>
            <pc:sldMk cId="1110680622" sldId="849"/>
            <ac:cxnSpMk id="12" creationId="{571881FC-D844-8847-6B92-E6A6B16E93ED}"/>
          </ac:cxnSpMkLst>
        </pc:cxnChg>
      </pc:sldChg>
      <pc:sldChg chg="addSp modSp add mod">
        <pc:chgData name="Koksrud Andreas" userId="9d9beba6-c052-407a-8599-c781a677a996" providerId="ADAL" clId="{99DCF58A-61FD-4A82-B407-E5D0DF551B20}" dt="2023-12-25T12:19:14.875" v="4726" actId="20577"/>
        <pc:sldMkLst>
          <pc:docMk/>
          <pc:sldMk cId="468106742" sldId="850"/>
        </pc:sldMkLst>
        <pc:spChg chg="mod">
          <ac:chgData name="Koksrud Andreas" userId="9d9beba6-c052-407a-8599-c781a677a996" providerId="ADAL" clId="{99DCF58A-61FD-4A82-B407-E5D0DF551B20}" dt="2023-12-25T12:19:14.875" v="4726" actId="20577"/>
          <ac:spMkLst>
            <pc:docMk/>
            <pc:sldMk cId="468106742" sldId="850"/>
            <ac:spMk id="2" creationId="{E5D5B057-1D39-AC88-396C-0D888288A2E9}"/>
          </ac:spMkLst>
        </pc:spChg>
        <pc:spChg chg="mod">
          <ac:chgData name="Koksrud Andreas" userId="9d9beba6-c052-407a-8599-c781a677a996" providerId="ADAL" clId="{99DCF58A-61FD-4A82-B407-E5D0DF551B20}" dt="2023-12-23T17:05:30.370" v="2036" actId="20577"/>
          <ac:spMkLst>
            <pc:docMk/>
            <pc:sldMk cId="468106742" sldId="850"/>
            <ac:spMk id="181" creationId="{00000000-0000-0000-0000-000000000000}"/>
          </ac:spMkLst>
        </pc:spChg>
        <pc:picChg chg="add mod">
          <ac:chgData name="Koksrud Andreas" userId="9d9beba6-c052-407a-8599-c781a677a996" providerId="ADAL" clId="{99DCF58A-61FD-4A82-B407-E5D0DF551B20}" dt="2023-12-25T10:31:46.505" v="2947" actId="1076"/>
          <ac:picMkLst>
            <pc:docMk/>
            <pc:sldMk cId="468106742" sldId="850"/>
            <ac:picMk id="4" creationId="{DAFB24D8-8A72-E60E-7452-B30CE6AA11AA}"/>
          </ac:picMkLst>
        </pc:picChg>
      </pc:sldChg>
      <pc:sldChg chg="addSp delSp modSp add mod">
        <pc:chgData name="Koksrud Andreas" userId="9d9beba6-c052-407a-8599-c781a677a996" providerId="ADAL" clId="{99DCF58A-61FD-4A82-B407-E5D0DF551B20}" dt="2023-12-23T17:15:41.989" v="2232" actId="20577"/>
        <pc:sldMkLst>
          <pc:docMk/>
          <pc:sldMk cId="111200460" sldId="851"/>
        </pc:sldMkLst>
        <pc:spChg chg="mod">
          <ac:chgData name="Koksrud Andreas" userId="9d9beba6-c052-407a-8599-c781a677a996" providerId="ADAL" clId="{99DCF58A-61FD-4A82-B407-E5D0DF551B20}" dt="2023-12-23T17:15:41.989" v="2232" actId="20577"/>
          <ac:spMkLst>
            <pc:docMk/>
            <pc:sldMk cId="111200460" sldId="851"/>
            <ac:spMk id="2" creationId="{9796E8C1-5924-9DB3-B51B-75296717F89F}"/>
          </ac:spMkLst>
        </pc:spChg>
        <pc:spChg chg="mod">
          <ac:chgData name="Koksrud Andreas" userId="9d9beba6-c052-407a-8599-c781a677a996" providerId="ADAL" clId="{99DCF58A-61FD-4A82-B407-E5D0DF551B20}" dt="2023-12-23T17:06:36.540" v="2078" actId="20577"/>
          <ac:spMkLst>
            <pc:docMk/>
            <pc:sldMk cId="111200460" sldId="851"/>
            <ac:spMk id="180" creationId="{00000000-0000-0000-0000-000000000000}"/>
          </ac:spMkLst>
        </pc:spChg>
        <pc:picChg chg="add mod">
          <ac:chgData name="Koksrud Andreas" userId="9d9beba6-c052-407a-8599-c781a677a996" providerId="ADAL" clId="{99DCF58A-61FD-4A82-B407-E5D0DF551B20}" dt="2023-12-23T17:07:48.134" v="2148" actId="1076"/>
          <ac:picMkLst>
            <pc:docMk/>
            <pc:sldMk cId="111200460" sldId="851"/>
            <ac:picMk id="4" creationId="{A117DACA-C1A6-275A-7BD1-2360ECC4082D}"/>
          </ac:picMkLst>
        </pc:picChg>
        <pc:picChg chg="del">
          <ac:chgData name="Koksrud Andreas" userId="9d9beba6-c052-407a-8599-c781a677a996" providerId="ADAL" clId="{99DCF58A-61FD-4A82-B407-E5D0DF551B20}" dt="2023-12-23T17:08:06.239" v="2151" actId="478"/>
          <ac:picMkLst>
            <pc:docMk/>
            <pc:sldMk cId="111200460" sldId="851"/>
            <ac:picMk id="5" creationId="{632AF46E-F399-6B2B-6C7D-7AC32B6F15B1}"/>
          </ac:picMkLst>
        </pc:picChg>
        <pc:picChg chg="del">
          <ac:chgData name="Koksrud Andreas" userId="9d9beba6-c052-407a-8599-c781a677a996" providerId="ADAL" clId="{99DCF58A-61FD-4A82-B407-E5D0DF551B20}" dt="2023-12-23T17:06:54.579" v="2146" actId="478"/>
          <ac:picMkLst>
            <pc:docMk/>
            <pc:sldMk cId="111200460" sldId="851"/>
            <ac:picMk id="7" creationId="{3D52F378-4BF7-C53D-61E4-B2111DE11E58}"/>
          </ac:picMkLst>
        </pc:picChg>
        <pc:picChg chg="add mod">
          <ac:chgData name="Koksrud Andreas" userId="9d9beba6-c052-407a-8599-c781a677a996" providerId="ADAL" clId="{99DCF58A-61FD-4A82-B407-E5D0DF551B20}" dt="2023-12-23T17:08:01.911" v="2150" actId="1076"/>
          <ac:picMkLst>
            <pc:docMk/>
            <pc:sldMk cId="111200460" sldId="851"/>
            <ac:picMk id="8" creationId="{4F2E0746-AB7E-8FFA-5EB8-27DC59896E78}"/>
          </ac:picMkLst>
        </pc:picChg>
        <pc:picChg chg="add mod">
          <ac:chgData name="Koksrud Andreas" userId="9d9beba6-c052-407a-8599-c781a677a996" providerId="ADAL" clId="{99DCF58A-61FD-4A82-B407-E5D0DF551B20}" dt="2023-12-23T17:08:34.319" v="2176" actId="1076"/>
          <ac:picMkLst>
            <pc:docMk/>
            <pc:sldMk cId="111200460" sldId="851"/>
            <ac:picMk id="10" creationId="{84B4AB2F-BDD5-CCF8-5A86-07DB001AD76E}"/>
          </ac:picMkLst>
        </pc:picChg>
        <pc:picChg chg="add mod">
          <ac:chgData name="Koksrud Andreas" userId="9d9beba6-c052-407a-8599-c781a677a996" providerId="ADAL" clId="{99DCF58A-61FD-4A82-B407-E5D0DF551B20}" dt="2023-12-23T17:08:58.788" v="2178" actId="1076"/>
          <ac:picMkLst>
            <pc:docMk/>
            <pc:sldMk cId="111200460" sldId="851"/>
            <ac:picMk id="12" creationId="{CFB3BDB7-C0DA-4534-744D-5D638A243444}"/>
          </ac:picMkLst>
        </pc:picChg>
      </pc:sldChg>
      <pc:sldChg chg="addSp delSp modSp add mod">
        <pc:chgData name="Koksrud Andreas" userId="9d9beba6-c052-407a-8599-c781a677a996" providerId="ADAL" clId="{99DCF58A-61FD-4A82-B407-E5D0DF551B20}" dt="2023-12-23T17:24:35.235" v="2689" actId="14100"/>
        <pc:sldMkLst>
          <pc:docMk/>
          <pc:sldMk cId="82959561" sldId="852"/>
        </pc:sldMkLst>
        <pc:spChg chg="mod">
          <ac:chgData name="Koksrud Andreas" userId="9d9beba6-c052-407a-8599-c781a677a996" providerId="ADAL" clId="{99DCF58A-61FD-4A82-B407-E5D0DF551B20}" dt="2023-12-23T17:21:46.912" v="2654" actId="20577"/>
          <ac:spMkLst>
            <pc:docMk/>
            <pc:sldMk cId="82959561" sldId="852"/>
            <ac:spMk id="2" creationId="{9796E8C1-5924-9DB3-B51B-75296717F89F}"/>
          </ac:spMkLst>
        </pc:spChg>
        <pc:spChg chg="add mod">
          <ac:chgData name="Koksrud Andreas" userId="9d9beba6-c052-407a-8599-c781a677a996" providerId="ADAL" clId="{99DCF58A-61FD-4A82-B407-E5D0DF551B20}" dt="2023-12-23T17:20:57.492" v="2650" actId="1036"/>
          <ac:spMkLst>
            <pc:docMk/>
            <pc:sldMk cId="82959561" sldId="852"/>
            <ac:spMk id="3" creationId="{E2FC66EE-6574-DE84-F5EB-CE41D3D9BD4D}"/>
          </ac:spMkLst>
        </pc:spChg>
        <pc:spChg chg="add mod">
          <ac:chgData name="Koksrud Andreas" userId="9d9beba6-c052-407a-8599-c781a677a996" providerId="ADAL" clId="{99DCF58A-61FD-4A82-B407-E5D0DF551B20}" dt="2023-12-23T17:22:26.373" v="2686" actId="1036"/>
          <ac:spMkLst>
            <pc:docMk/>
            <pc:sldMk cId="82959561" sldId="852"/>
            <ac:spMk id="5" creationId="{7036E668-80F1-72C2-4389-0D23C3EB29AE}"/>
          </ac:spMkLst>
        </pc:spChg>
        <pc:spChg chg="mod">
          <ac:chgData name="Koksrud Andreas" userId="9d9beba6-c052-407a-8599-c781a677a996" providerId="ADAL" clId="{99DCF58A-61FD-4A82-B407-E5D0DF551B20}" dt="2023-12-23T17:15:54.295" v="2254" actId="20577"/>
          <ac:spMkLst>
            <pc:docMk/>
            <pc:sldMk cId="82959561" sldId="852"/>
            <ac:spMk id="180" creationId="{00000000-0000-0000-0000-000000000000}"/>
          </ac:spMkLst>
        </pc:spChg>
        <pc:picChg chg="del">
          <ac:chgData name="Koksrud Andreas" userId="9d9beba6-c052-407a-8599-c781a677a996" providerId="ADAL" clId="{99DCF58A-61FD-4A82-B407-E5D0DF551B20}" dt="2023-12-23T17:16:09.388" v="2288" actId="478"/>
          <ac:picMkLst>
            <pc:docMk/>
            <pc:sldMk cId="82959561" sldId="852"/>
            <ac:picMk id="4" creationId="{A117DACA-C1A6-275A-7BD1-2360ECC4082D}"/>
          </ac:picMkLst>
        </pc:picChg>
        <pc:picChg chg="add mod">
          <ac:chgData name="Koksrud Andreas" userId="9d9beba6-c052-407a-8599-c781a677a996" providerId="ADAL" clId="{99DCF58A-61FD-4A82-B407-E5D0DF551B20}" dt="2023-12-23T17:20:49.245" v="2615" actId="1035"/>
          <ac:picMkLst>
            <pc:docMk/>
            <pc:sldMk cId="82959561" sldId="852"/>
            <ac:picMk id="7" creationId="{7AA2FE90-E597-17D6-B03C-47B9566EA174}"/>
          </ac:picMkLst>
        </pc:picChg>
        <pc:picChg chg="del">
          <ac:chgData name="Koksrud Andreas" userId="9d9beba6-c052-407a-8599-c781a677a996" providerId="ADAL" clId="{99DCF58A-61FD-4A82-B407-E5D0DF551B20}" dt="2023-12-23T17:16:07.676" v="2287" actId="478"/>
          <ac:picMkLst>
            <pc:docMk/>
            <pc:sldMk cId="82959561" sldId="852"/>
            <ac:picMk id="8" creationId="{4F2E0746-AB7E-8FFA-5EB8-27DC59896E78}"/>
          </ac:picMkLst>
        </pc:picChg>
        <pc:picChg chg="del">
          <ac:chgData name="Koksrud Andreas" userId="9d9beba6-c052-407a-8599-c781a677a996" providerId="ADAL" clId="{99DCF58A-61FD-4A82-B407-E5D0DF551B20}" dt="2023-12-23T17:16:53.403" v="2289" actId="478"/>
          <ac:picMkLst>
            <pc:docMk/>
            <pc:sldMk cId="82959561" sldId="852"/>
            <ac:picMk id="10" creationId="{84B4AB2F-BDD5-CCF8-5A86-07DB001AD76E}"/>
          </ac:picMkLst>
        </pc:picChg>
        <pc:picChg chg="add mod modCrop">
          <ac:chgData name="Koksrud Andreas" userId="9d9beba6-c052-407a-8599-c781a677a996" providerId="ADAL" clId="{99DCF58A-61FD-4A82-B407-E5D0DF551B20}" dt="2023-12-23T17:22:16.049" v="2667" actId="1036"/>
          <ac:picMkLst>
            <pc:docMk/>
            <pc:sldMk cId="82959561" sldId="852"/>
            <ac:picMk id="11" creationId="{2868BE7C-4B81-D511-B4A8-04F15B2052D0}"/>
          </ac:picMkLst>
        </pc:picChg>
        <pc:picChg chg="del">
          <ac:chgData name="Koksrud Andreas" userId="9d9beba6-c052-407a-8599-c781a677a996" providerId="ADAL" clId="{99DCF58A-61FD-4A82-B407-E5D0DF551B20}" dt="2023-12-23T17:17:13.290" v="2334" actId="478"/>
          <ac:picMkLst>
            <pc:docMk/>
            <pc:sldMk cId="82959561" sldId="852"/>
            <ac:picMk id="12" creationId="{CFB3BDB7-C0DA-4534-744D-5D638A243444}"/>
          </ac:picMkLst>
        </pc:picChg>
        <pc:picChg chg="add mod">
          <ac:chgData name="Koksrud Andreas" userId="9d9beba6-c052-407a-8599-c781a677a996" providerId="ADAL" clId="{99DCF58A-61FD-4A82-B407-E5D0DF551B20}" dt="2023-12-23T17:24:35.235" v="2689" actId="14100"/>
          <ac:picMkLst>
            <pc:docMk/>
            <pc:sldMk cId="82959561" sldId="852"/>
            <ac:picMk id="14" creationId="{03B59CC9-E249-2BE7-157B-EBAF15A10EC7}"/>
          </ac:picMkLst>
        </pc:picChg>
      </pc:sldChg>
      <pc:sldChg chg="addSp delSp modSp add mod ord">
        <pc:chgData name="Koksrud Andreas" userId="9d9beba6-c052-407a-8599-c781a677a996" providerId="ADAL" clId="{99DCF58A-61FD-4A82-B407-E5D0DF551B20}" dt="2023-12-25T11:02:43.820" v="3674" actId="14100"/>
        <pc:sldMkLst>
          <pc:docMk/>
          <pc:sldMk cId="911993613" sldId="853"/>
        </pc:sldMkLst>
        <pc:spChg chg="mod">
          <ac:chgData name="Koksrud Andreas" userId="9d9beba6-c052-407a-8599-c781a677a996" providerId="ADAL" clId="{99DCF58A-61FD-4A82-B407-E5D0DF551B20}" dt="2023-12-25T10:16:44.707" v="2879" actId="6549"/>
          <ac:spMkLst>
            <pc:docMk/>
            <pc:sldMk cId="911993613" sldId="853"/>
            <ac:spMk id="2" creationId="{9796E8C1-5924-9DB3-B51B-75296717F89F}"/>
          </ac:spMkLst>
        </pc:spChg>
        <pc:spChg chg="add mod">
          <ac:chgData name="Koksrud Andreas" userId="9d9beba6-c052-407a-8599-c781a677a996" providerId="ADAL" clId="{99DCF58A-61FD-4A82-B407-E5D0DF551B20}" dt="2023-12-25T11:01:12.508" v="3619" actId="14100"/>
          <ac:spMkLst>
            <pc:docMk/>
            <pc:sldMk cId="911993613" sldId="853"/>
            <ac:spMk id="10" creationId="{54FB830F-DBF4-1B20-3C76-0E40DC07965B}"/>
          </ac:spMkLst>
        </pc:spChg>
        <pc:spChg chg="add mod">
          <ac:chgData name="Koksrud Andreas" userId="9d9beba6-c052-407a-8599-c781a677a996" providerId="ADAL" clId="{99DCF58A-61FD-4A82-B407-E5D0DF551B20}" dt="2023-12-25T11:01:37.348" v="3642" actId="14100"/>
          <ac:spMkLst>
            <pc:docMk/>
            <pc:sldMk cId="911993613" sldId="853"/>
            <ac:spMk id="13" creationId="{252FE080-F115-3517-B2CA-BD200A8AADA8}"/>
          </ac:spMkLst>
        </pc:spChg>
        <pc:spChg chg="add mod">
          <ac:chgData name="Koksrud Andreas" userId="9d9beba6-c052-407a-8599-c781a677a996" providerId="ADAL" clId="{99DCF58A-61FD-4A82-B407-E5D0DF551B20}" dt="2023-12-25T11:02:28.389" v="3670" actId="14100"/>
          <ac:spMkLst>
            <pc:docMk/>
            <pc:sldMk cId="911993613" sldId="853"/>
            <ac:spMk id="18" creationId="{689B3815-DD1B-BFC6-4AC3-949A67D41B7D}"/>
          </ac:spMkLst>
        </pc:spChg>
        <pc:spChg chg="mod">
          <ac:chgData name="Koksrud Andreas" userId="9d9beba6-c052-407a-8599-c781a677a996" providerId="ADAL" clId="{99DCF58A-61FD-4A82-B407-E5D0DF551B20}" dt="2023-12-25T10:16:06.602" v="2875" actId="20577"/>
          <ac:spMkLst>
            <pc:docMk/>
            <pc:sldMk cId="911993613" sldId="853"/>
            <ac:spMk id="180" creationId="{00000000-0000-0000-0000-000000000000}"/>
          </ac:spMkLst>
        </pc:spChg>
        <pc:picChg chg="add del mod">
          <ac:chgData name="Koksrud Andreas" userId="9d9beba6-c052-407a-8599-c781a677a996" providerId="ADAL" clId="{99DCF58A-61FD-4A82-B407-E5D0DF551B20}" dt="2023-12-25T10:18:59.640" v="2885" actId="21"/>
          <ac:picMkLst>
            <pc:docMk/>
            <pc:sldMk cId="911993613" sldId="853"/>
            <ac:picMk id="4" creationId="{B7C7F98A-F1E5-1B87-7A46-311BE4B59810}"/>
          </ac:picMkLst>
        </pc:picChg>
        <pc:picChg chg="del">
          <ac:chgData name="Koksrud Andreas" userId="9d9beba6-c052-407a-8599-c781a677a996" providerId="ADAL" clId="{99DCF58A-61FD-4A82-B407-E5D0DF551B20}" dt="2023-12-25T10:16:47.034" v="2881" actId="478"/>
          <ac:picMkLst>
            <pc:docMk/>
            <pc:sldMk cId="911993613" sldId="853"/>
            <ac:picMk id="5" creationId="{632AF46E-F399-6B2B-6C7D-7AC32B6F15B1}"/>
          </ac:picMkLst>
        </pc:picChg>
        <pc:picChg chg="add del mod">
          <ac:chgData name="Koksrud Andreas" userId="9d9beba6-c052-407a-8599-c781a677a996" providerId="ADAL" clId="{99DCF58A-61FD-4A82-B407-E5D0DF551B20}" dt="2023-12-25T10:19:10.793" v="2888" actId="478"/>
          <ac:picMkLst>
            <pc:docMk/>
            <pc:sldMk cId="911993613" sldId="853"/>
            <ac:picMk id="6" creationId="{E8F7C5EA-972A-1B1C-EE7A-DA3C4CD80932}"/>
          </ac:picMkLst>
        </pc:picChg>
        <pc:picChg chg="del">
          <ac:chgData name="Koksrud Andreas" userId="9d9beba6-c052-407a-8599-c781a677a996" providerId="ADAL" clId="{99DCF58A-61FD-4A82-B407-E5D0DF551B20}" dt="2023-12-25T10:16:46.467" v="2880" actId="478"/>
          <ac:picMkLst>
            <pc:docMk/>
            <pc:sldMk cId="911993613" sldId="853"/>
            <ac:picMk id="7" creationId="{3D52F378-4BF7-C53D-61E4-B2111DE11E58}"/>
          </ac:picMkLst>
        </pc:picChg>
        <pc:picChg chg="add mod">
          <ac:chgData name="Koksrud Andreas" userId="9d9beba6-c052-407a-8599-c781a677a996" providerId="ADAL" clId="{99DCF58A-61FD-4A82-B407-E5D0DF551B20}" dt="2023-12-25T10:58:38.809" v="3505" actId="1076"/>
          <ac:picMkLst>
            <pc:docMk/>
            <pc:sldMk cId="911993613" sldId="853"/>
            <ac:picMk id="9" creationId="{E632C49C-0402-44E0-7A4D-52ABC0883461}"/>
          </ac:picMkLst>
        </pc:picChg>
        <pc:cxnChg chg="add mod">
          <ac:chgData name="Koksrud Andreas" userId="9d9beba6-c052-407a-8599-c781a677a996" providerId="ADAL" clId="{99DCF58A-61FD-4A82-B407-E5D0DF551B20}" dt="2023-12-25T11:01:48.618" v="3646" actId="14100"/>
          <ac:cxnSpMkLst>
            <pc:docMk/>
            <pc:sldMk cId="911993613" sldId="853"/>
            <ac:cxnSpMk id="12" creationId="{9B6E8DAF-67C9-ED70-3B04-3C8637A4A1DF}"/>
          </ac:cxnSpMkLst>
        </pc:cxnChg>
        <pc:cxnChg chg="add mod">
          <ac:chgData name="Koksrud Andreas" userId="9d9beba6-c052-407a-8599-c781a677a996" providerId="ADAL" clId="{99DCF58A-61FD-4A82-B407-E5D0DF551B20}" dt="2023-12-25T11:01:46.567" v="3645" actId="14100"/>
          <ac:cxnSpMkLst>
            <pc:docMk/>
            <pc:sldMk cId="911993613" sldId="853"/>
            <ac:cxnSpMk id="14" creationId="{DBF7F714-869C-033E-BBE2-33225E14A83C}"/>
          </ac:cxnSpMkLst>
        </pc:cxnChg>
        <pc:cxnChg chg="add mod">
          <ac:chgData name="Koksrud Andreas" userId="9d9beba6-c052-407a-8599-c781a677a996" providerId="ADAL" clId="{99DCF58A-61FD-4A82-B407-E5D0DF551B20}" dt="2023-12-25T11:02:43.820" v="3674" actId="14100"/>
          <ac:cxnSpMkLst>
            <pc:docMk/>
            <pc:sldMk cId="911993613" sldId="853"/>
            <ac:cxnSpMk id="19" creationId="{9C699369-623A-3E79-0C3E-04851F5A9734}"/>
          </ac:cxnSpMkLst>
        </pc:cxnChg>
      </pc:sldChg>
      <pc:sldChg chg="delSp modSp add mod ord">
        <pc:chgData name="Koksrud Andreas" userId="9d9beba6-c052-407a-8599-c781a677a996" providerId="ADAL" clId="{99DCF58A-61FD-4A82-B407-E5D0DF551B20}" dt="2023-12-25T10:56:50.771" v="3501" actId="20577"/>
        <pc:sldMkLst>
          <pc:docMk/>
          <pc:sldMk cId="3385289181" sldId="854"/>
        </pc:sldMkLst>
        <pc:spChg chg="del">
          <ac:chgData name="Koksrud Andreas" userId="9d9beba6-c052-407a-8599-c781a677a996" providerId="ADAL" clId="{99DCF58A-61FD-4A82-B407-E5D0DF551B20}" dt="2023-12-25T10:31:02.600" v="2941" actId="478"/>
          <ac:spMkLst>
            <pc:docMk/>
            <pc:sldMk cId="3385289181" sldId="854"/>
            <ac:spMk id="2" creationId="{E5D5B057-1D39-AC88-396C-0D888288A2E9}"/>
          </ac:spMkLst>
        </pc:spChg>
        <pc:spChg chg="mod">
          <ac:chgData name="Koksrud Andreas" userId="9d9beba6-c052-407a-8599-c781a677a996" providerId="ADAL" clId="{99DCF58A-61FD-4A82-B407-E5D0DF551B20}" dt="2023-12-25T10:56:50.771" v="3501" actId="20577"/>
          <ac:spMkLst>
            <pc:docMk/>
            <pc:sldMk cId="3385289181" sldId="854"/>
            <ac:spMk id="181" creationId="{00000000-0000-0000-0000-000000000000}"/>
          </ac:spMkLst>
        </pc:spChg>
      </pc:sldChg>
      <pc:sldChg chg="addSp delSp modSp add mod">
        <pc:chgData name="Koksrud Andreas" userId="9d9beba6-c052-407a-8599-c781a677a996" providerId="ADAL" clId="{99DCF58A-61FD-4A82-B407-E5D0DF551B20}" dt="2023-12-25T10:35:07.436" v="3053" actId="6549"/>
        <pc:sldMkLst>
          <pc:docMk/>
          <pc:sldMk cId="1250772557" sldId="855"/>
        </pc:sldMkLst>
        <pc:spChg chg="add del mod">
          <ac:chgData name="Koksrud Andreas" userId="9d9beba6-c052-407a-8599-c781a677a996" providerId="ADAL" clId="{99DCF58A-61FD-4A82-B407-E5D0DF551B20}" dt="2023-12-25T10:33:38.748" v="3035" actId="478"/>
          <ac:spMkLst>
            <pc:docMk/>
            <pc:sldMk cId="1250772557" sldId="855"/>
            <ac:spMk id="2" creationId="{45A1751D-708A-A648-ACED-AF82E0B5B60E}"/>
          </ac:spMkLst>
        </pc:spChg>
        <pc:spChg chg="mod">
          <ac:chgData name="Koksrud Andreas" userId="9d9beba6-c052-407a-8599-c781a677a996" providerId="ADAL" clId="{99DCF58A-61FD-4A82-B407-E5D0DF551B20}" dt="2023-12-25T10:35:07.436" v="3053" actId="6549"/>
          <ac:spMkLst>
            <pc:docMk/>
            <pc:sldMk cId="1250772557" sldId="855"/>
            <ac:spMk id="181" creationId="{00000000-0000-0000-0000-000000000000}"/>
          </ac:spMkLst>
        </pc:spChg>
        <pc:picChg chg="add mod">
          <ac:chgData name="Koksrud Andreas" userId="9d9beba6-c052-407a-8599-c781a677a996" providerId="ADAL" clId="{99DCF58A-61FD-4A82-B407-E5D0DF551B20}" dt="2023-12-25T10:34:45.547" v="3047" actId="1036"/>
          <ac:picMkLst>
            <pc:docMk/>
            <pc:sldMk cId="1250772557" sldId="855"/>
            <ac:picMk id="4" creationId="{B4BCA014-59EA-FBC9-531C-B503DB7A1835}"/>
          </ac:picMkLst>
        </pc:picChg>
        <pc:picChg chg="add mod">
          <ac:chgData name="Koksrud Andreas" userId="9d9beba6-c052-407a-8599-c781a677a996" providerId="ADAL" clId="{99DCF58A-61FD-4A82-B407-E5D0DF551B20}" dt="2023-12-25T10:34:00.389" v="3039" actId="1076"/>
          <ac:picMkLst>
            <pc:docMk/>
            <pc:sldMk cId="1250772557" sldId="855"/>
            <ac:picMk id="6" creationId="{5CC57537-A1FA-9DB1-6188-74325E50CE93}"/>
          </ac:picMkLst>
        </pc:picChg>
      </pc:sldChg>
      <pc:sldChg chg="addSp delSp modSp add mod">
        <pc:chgData name="Koksrud Andreas" userId="9d9beba6-c052-407a-8599-c781a677a996" providerId="ADAL" clId="{99DCF58A-61FD-4A82-B407-E5D0DF551B20}" dt="2023-12-25T10:46:24.090" v="3078" actId="14100"/>
        <pc:sldMkLst>
          <pc:docMk/>
          <pc:sldMk cId="879097217" sldId="856"/>
        </pc:sldMkLst>
        <pc:picChg chg="add mod modCrop">
          <ac:chgData name="Koksrud Andreas" userId="9d9beba6-c052-407a-8599-c781a677a996" providerId="ADAL" clId="{99DCF58A-61FD-4A82-B407-E5D0DF551B20}" dt="2023-12-25T10:41:02.806" v="3060" actId="732"/>
          <ac:picMkLst>
            <pc:docMk/>
            <pc:sldMk cId="879097217" sldId="856"/>
            <ac:picMk id="3" creationId="{239ACFC8-173D-DC74-B0A3-696A2B66F272}"/>
          </ac:picMkLst>
        </pc:picChg>
        <pc:picChg chg="del">
          <ac:chgData name="Koksrud Andreas" userId="9d9beba6-c052-407a-8599-c781a677a996" providerId="ADAL" clId="{99DCF58A-61FD-4A82-B407-E5D0DF551B20}" dt="2023-12-25T10:40:15.673" v="3055" actId="478"/>
          <ac:picMkLst>
            <pc:docMk/>
            <pc:sldMk cId="879097217" sldId="856"/>
            <ac:picMk id="4" creationId="{B4BCA014-59EA-FBC9-531C-B503DB7A1835}"/>
          </ac:picMkLst>
        </pc:picChg>
        <pc:picChg chg="del">
          <ac:chgData name="Koksrud Andreas" userId="9d9beba6-c052-407a-8599-c781a677a996" providerId="ADAL" clId="{99DCF58A-61FD-4A82-B407-E5D0DF551B20}" dt="2023-12-25T10:40:16.304" v="3056" actId="478"/>
          <ac:picMkLst>
            <pc:docMk/>
            <pc:sldMk cId="879097217" sldId="856"/>
            <ac:picMk id="6" creationId="{5CC57537-A1FA-9DB1-6188-74325E50CE93}"/>
          </ac:picMkLst>
        </pc:picChg>
        <pc:picChg chg="add mod">
          <ac:chgData name="Koksrud Andreas" userId="9d9beba6-c052-407a-8599-c781a677a996" providerId="ADAL" clId="{99DCF58A-61FD-4A82-B407-E5D0DF551B20}" dt="2023-12-25T10:41:59.346" v="3063" actId="1076"/>
          <ac:picMkLst>
            <pc:docMk/>
            <pc:sldMk cId="879097217" sldId="856"/>
            <ac:picMk id="7" creationId="{52A60F10-AEF6-ED03-3095-C22AC630EA84}"/>
          </ac:picMkLst>
        </pc:picChg>
        <pc:picChg chg="add mod">
          <ac:chgData name="Koksrud Andreas" userId="9d9beba6-c052-407a-8599-c781a677a996" providerId="ADAL" clId="{99DCF58A-61FD-4A82-B407-E5D0DF551B20}" dt="2023-12-25T10:44:50.779" v="3066" actId="1076"/>
          <ac:picMkLst>
            <pc:docMk/>
            <pc:sldMk cId="879097217" sldId="856"/>
            <ac:picMk id="9" creationId="{6CFEA48C-1BC9-4C25-2592-55C133B06764}"/>
          </ac:picMkLst>
        </pc:picChg>
        <pc:picChg chg="add mod">
          <ac:chgData name="Koksrud Andreas" userId="9d9beba6-c052-407a-8599-c781a677a996" providerId="ADAL" clId="{99DCF58A-61FD-4A82-B407-E5D0DF551B20}" dt="2023-12-25T10:45:15.375" v="3069" actId="1076"/>
          <ac:picMkLst>
            <pc:docMk/>
            <pc:sldMk cId="879097217" sldId="856"/>
            <ac:picMk id="11" creationId="{048B6A1A-FB79-E01C-84F4-801DB33B13E3}"/>
          </ac:picMkLst>
        </pc:picChg>
        <pc:cxnChg chg="add mod">
          <ac:chgData name="Koksrud Andreas" userId="9d9beba6-c052-407a-8599-c781a677a996" providerId="ADAL" clId="{99DCF58A-61FD-4A82-B407-E5D0DF551B20}" dt="2023-12-25T10:45:45.019" v="3071" actId="13822"/>
          <ac:cxnSpMkLst>
            <pc:docMk/>
            <pc:sldMk cId="879097217" sldId="856"/>
            <ac:cxnSpMk id="13" creationId="{043FDF76-650E-664A-6950-61FF8B625ECD}"/>
          </ac:cxnSpMkLst>
        </pc:cxnChg>
        <pc:cxnChg chg="add mod">
          <ac:chgData name="Koksrud Andreas" userId="9d9beba6-c052-407a-8599-c781a677a996" providerId="ADAL" clId="{99DCF58A-61FD-4A82-B407-E5D0DF551B20}" dt="2023-12-25T10:46:06.685" v="3075" actId="14100"/>
          <ac:cxnSpMkLst>
            <pc:docMk/>
            <pc:sldMk cId="879097217" sldId="856"/>
            <ac:cxnSpMk id="14" creationId="{91DF3D52-1978-598A-4AA7-4F713D9A4DDF}"/>
          </ac:cxnSpMkLst>
        </pc:cxnChg>
        <pc:cxnChg chg="add mod">
          <ac:chgData name="Koksrud Andreas" userId="9d9beba6-c052-407a-8599-c781a677a996" providerId="ADAL" clId="{99DCF58A-61FD-4A82-B407-E5D0DF551B20}" dt="2023-12-25T10:46:24.090" v="3078" actId="14100"/>
          <ac:cxnSpMkLst>
            <pc:docMk/>
            <pc:sldMk cId="879097217" sldId="856"/>
            <ac:cxnSpMk id="18" creationId="{78BF0BEF-AD42-B279-AE4A-B511D401801C}"/>
          </ac:cxnSpMkLst>
        </pc:cxnChg>
      </pc:sldChg>
      <pc:sldChg chg="addSp delSp modSp add mod">
        <pc:chgData name="Koksrud Andreas" userId="9d9beba6-c052-407a-8599-c781a677a996" providerId="ADAL" clId="{99DCF58A-61FD-4A82-B407-E5D0DF551B20}" dt="2023-12-25T11:28:03.533" v="3909" actId="14100"/>
        <pc:sldMkLst>
          <pc:docMk/>
          <pc:sldMk cId="2690209780" sldId="857"/>
        </pc:sldMkLst>
        <pc:spChg chg="mod">
          <ac:chgData name="Koksrud Andreas" userId="9d9beba6-c052-407a-8599-c781a677a996" providerId="ADAL" clId="{99DCF58A-61FD-4A82-B407-E5D0DF551B20}" dt="2023-12-25T11:27:55.188" v="3907" actId="6549"/>
          <ac:spMkLst>
            <pc:docMk/>
            <pc:sldMk cId="2690209780" sldId="857"/>
            <ac:spMk id="2" creationId="{9796E8C1-5924-9DB3-B51B-75296717F89F}"/>
          </ac:spMkLst>
        </pc:spChg>
        <pc:spChg chg="del">
          <ac:chgData name="Koksrud Andreas" userId="9d9beba6-c052-407a-8599-c781a677a996" providerId="ADAL" clId="{99DCF58A-61FD-4A82-B407-E5D0DF551B20}" dt="2023-12-25T11:24:05.924" v="3729" actId="478"/>
          <ac:spMkLst>
            <pc:docMk/>
            <pc:sldMk cId="2690209780" sldId="857"/>
            <ac:spMk id="10" creationId="{54FB830F-DBF4-1B20-3C76-0E40DC07965B}"/>
          </ac:spMkLst>
        </pc:spChg>
        <pc:spChg chg="del">
          <ac:chgData name="Koksrud Andreas" userId="9d9beba6-c052-407a-8599-c781a677a996" providerId="ADAL" clId="{99DCF58A-61FD-4A82-B407-E5D0DF551B20}" dt="2023-12-25T11:24:07.281" v="3730" actId="478"/>
          <ac:spMkLst>
            <pc:docMk/>
            <pc:sldMk cId="2690209780" sldId="857"/>
            <ac:spMk id="13" creationId="{252FE080-F115-3517-B2CA-BD200A8AADA8}"/>
          </ac:spMkLst>
        </pc:spChg>
        <pc:spChg chg="del">
          <ac:chgData name="Koksrud Andreas" userId="9d9beba6-c052-407a-8599-c781a677a996" providerId="ADAL" clId="{99DCF58A-61FD-4A82-B407-E5D0DF551B20}" dt="2023-12-25T11:24:09.168" v="3731" actId="478"/>
          <ac:spMkLst>
            <pc:docMk/>
            <pc:sldMk cId="2690209780" sldId="857"/>
            <ac:spMk id="18" creationId="{689B3815-DD1B-BFC6-4AC3-949A67D41B7D}"/>
          </ac:spMkLst>
        </pc:spChg>
        <pc:picChg chg="add mod">
          <ac:chgData name="Koksrud Andreas" userId="9d9beba6-c052-407a-8599-c781a677a996" providerId="ADAL" clId="{99DCF58A-61FD-4A82-B407-E5D0DF551B20}" dt="2023-12-25T11:24:13.351" v="3734" actId="1076"/>
          <ac:picMkLst>
            <pc:docMk/>
            <pc:sldMk cId="2690209780" sldId="857"/>
            <ac:picMk id="4" creationId="{EE49B416-6D45-D9BB-9236-660E9EFE010E}"/>
          </ac:picMkLst>
        </pc:picChg>
        <pc:picChg chg="del mod">
          <ac:chgData name="Koksrud Andreas" userId="9d9beba6-c052-407a-8599-c781a677a996" providerId="ADAL" clId="{99DCF58A-61FD-4A82-B407-E5D0DF551B20}" dt="2023-12-25T11:24:01.823" v="3726" actId="478"/>
          <ac:picMkLst>
            <pc:docMk/>
            <pc:sldMk cId="2690209780" sldId="857"/>
            <ac:picMk id="9" creationId="{E632C49C-0402-44E0-7A4D-52ABC0883461}"/>
          </ac:picMkLst>
        </pc:picChg>
        <pc:picChg chg="add mod">
          <ac:chgData name="Koksrud Andreas" userId="9d9beba6-c052-407a-8599-c781a677a996" providerId="ADAL" clId="{99DCF58A-61FD-4A82-B407-E5D0DF551B20}" dt="2023-12-25T11:25:40.151" v="3744" actId="14100"/>
          <ac:picMkLst>
            <pc:docMk/>
            <pc:sldMk cId="2690209780" sldId="857"/>
            <ac:picMk id="15" creationId="{1BF73C7B-00A5-0A7B-F9E4-3746C6B79854}"/>
          </ac:picMkLst>
        </pc:picChg>
        <pc:picChg chg="add mod">
          <ac:chgData name="Koksrud Andreas" userId="9d9beba6-c052-407a-8599-c781a677a996" providerId="ADAL" clId="{99DCF58A-61FD-4A82-B407-E5D0DF551B20}" dt="2023-12-25T11:27:09.938" v="3875" actId="1076"/>
          <ac:picMkLst>
            <pc:docMk/>
            <pc:sldMk cId="2690209780" sldId="857"/>
            <ac:picMk id="24" creationId="{6263DC7D-E065-789D-21C4-A9E428D8B9F4}"/>
          </ac:picMkLst>
        </pc:picChg>
        <pc:cxnChg chg="add mod">
          <ac:chgData name="Koksrud Andreas" userId="9d9beba6-c052-407a-8599-c781a677a996" providerId="ADAL" clId="{99DCF58A-61FD-4A82-B407-E5D0DF551B20}" dt="2023-12-25T11:24:31.004" v="3738" actId="14100"/>
          <ac:cxnSpMkLst>
            <pc:docMk/>
            <pc:sldMk cId="2690209780" sldId="857"/>
            <ac:cxnSpMk id="5" creationId="{99EDF0DF-3AE9-13BB-D977-80F04527045E}"/>
          </ac:cxnSpMkLst>
        </pc:cxnChg>
        <pc:cxnChg chg="del">
          <ac:chgData name="Koksrud Andreas" userId="9d9beba6-c052-407a-8599-c781a677a996" providerId="ADAL" clId="{99DCF58A-61FD-4A82-B407-E5D0DF551B20}" dt="2023-12-25T11:24:04.289" v="3728" actId="478"/>
          <ac:cxnSpMkLst>
            <pc:docMk/>
            <pc:sldMk cId="2690209780" sldId="857"/>
            <ac:cxnSpMk id="12" creationId="{9B6E8DAF-67C9-ED70-3B04-3C8637A4A1DF}"/>
          </ac:cxnSpMkLst>
        </pc:cxnChg>
        <pc:cxnChg chg="del">
          <ac:chgData name="Koksrud Andreas" userId="9d9beba6-c052-407a-8599-c781a677a996" providerId="ADAL" clId="{99DCF58A-61FD-4A82-B407-E5D0DF551B20}" dt="2023-12-25T11:24:02.997" v="3727" actId="478"/>
          <ac:cxnSpMkLst>
            <pc:docMk/>
            <pc:sldMk cId="2690209780" sldId="857"/>
            <ac:cxnSpMk id="14" creationId="{DBF7F714-869C-033E-BBE2-33225E14A83C}"/>
          </ac:cxnSpMkLst>
        </pc:cxnChg>
        <pc:cxnChg chg="add mod">
          <ac:chgData name="Koksrud Andreas" userId="9d9beba6-c052-407a-8599-c781a677a996" providerId="ADAL" clId="{99DCF58A-61FD-4A82-B407-E5D0DF551B20}" dt="2023-12-25T11:25:45.048" v="3746" actId="14100"/>
          <ac:cxnSpMkLst>
            <pc:docMk/>
            <pc:sldMk cId="2690209780" sldId="857"/>
            <ac:cxnSpMk id="16" creationId="{7EFC93E0-25A6-B0B4-FB10-D2643CD67A77}"/>
          </ac:cxnSpMkLst>
        </pc:cxnChg>
        <pc:cxnChg chg="del">
          <ac:chgData name="Koksrud Andreas" userId="9d9beba6-c052-407a-8599-c781a677a996" providerId="ADAL" clId="{99DCF58A-61FD-4A82-B407-E5D0DF551B20}" dt="2023-12-25T11:24:09.953" v="3732" actId="478"/>
          <ac:cxnSpMkLst>
            <pc:docMk/>
            <pc:sldMk cId="2690209780" sldId="857"/>
            <ac:cxnSpMk id="19" creationId="{9C699369-623A-3E79-0C3E-04851F5A9734}"/>
          </ac:cxnSpMkLst>
        </pc:cxnChg>
        <pc:cxnChg chg="add mod">
          <ac:chgData name="Koksrud Andreas" userId="9d9beba6-c052-407a-8599-c781a677a996" providerId="ADAL" clId="{99DCF58A-61FD-4A82-B407-E5D0DF551B20}" dt="2023-12-25T11:27:41.909" v="3901" actId="14100"/>
          <ac:cxnSpMkLst>
            <pc:docMk/>
            <pc:sldMk cId="2690209780" sldId="857"/>
            <ac:cxnSpMk id="25" creationId="{B3F0B22A-B8D3-2FF7-FC9C-8A25D093249B}"/>
          </ac:cxnSpMkLst>
        </pc:cxnChg>
        <pc:cxnChg chg="add mod">
          <ac:chgData name="Koksrud Andreas" userId="9d9beba6-c052-407a-8599-c781a677a996" providerId="ADAL" clId="{99DCF58A-61FD-4A82-B407-E5D0DF551B20}" dt="2023-12-25T11:28:03.533" v="3909" actId="14100"/>
          <ac:cxnSpMkLst>
            <pc:docMk/>
            <pc:sldMk cId="2690209780" sldId="857"/>
            <ac:cxnSpMk id="29" creationId="{0600D195-BEEC-493C-C0A2-CE3AD60141DA}"/>
          </ac:cxnSpMkLst>
        </pc:cxnChg>
      </pc:sldChg>
      <pc:sldChg chg="addSp delSp modSp add mod ord">
        <pc:chgData name="Koksrud Andreas" userId="9d9beba6-c052-407a-8599-c781a677a996" providerId="ADAL" clId="{99DCF58A-61FD-4A82-B407-E5D0DF551B20}" dt="2023-12-25T11:35:57.243" v="4158"/>
        <pc:sldMkLst>
          <pc:docMk/>
          <pc:sldMk cId="1987049343" sldId="858"/>
        </pc:sldMkLst>
        <pc:spChg chg="mod">
          <ac:chgData name="Koksrud Andreas" userId="9d9beba6-c052-407a-8599-c781a677a996" providerId="ADAL" clId="{99DCF58A-61FD-4A82-B407-E5D0DF551B20}" dt="2023-12-25T11:34:25.051" v="4153" actId="20577"/>
          <ac:spMkLst>
            <pc:docMk/>
            <pc:sldMk cId="1987049343" sldId="858"/>
            <ac:spMk id="2" creationId="{9796E8C1-5924-9DB3-B51B-75296717F89F}"/>
          </ac:spMkLst>
        </pc:spChg>
        <pc:spChg chg="del">
          <ac:chgData name="Koksrud Andreas" userId="9d9beba6-c052-407a-8599-c781a677a996" providerId="ADAL" clId="{99DCF58A-61FD-4A82-B407-E5D0DF551B20}" dt="2023-12-25T11:31:46.785" v="4053" actId="478"/>
          <ac:spMkLst>
            <pc:docMk/>
            <pc:sldMk cId="1987049343" sldId="858"/>
            <ac:spMk id="3" creationId="{E2FC66EE-6574-DE84-F5EB-CE41D3D9BD4D}"/>
          </ac:spMkLst>
        </pc:spChg>
        <pc:spChg chg="del mod">
          <ac:chgData name="Koksrud Andreas" userId="9d9beba6-c052-407a-8599-c781a677a996" providerId="ADAL" clId="{99DCF58A-61FD-4A82-B407-E5D0DF551B20}" dt="2023-12-25T11:31:53.005" v="4057" actId="478"/>
          <ac:spMkLst>
            <pc:docMk/>
            <pc:sldMk cId="1987049343" sldId="858"/>
            <ac:spMk id="5" creationId="{7036E668-80F1-72C2-4389-0D23C3EB29AE}"/>
          </ac:spMkLst>
        </pc:spChg>
        <pc:spChg chg="mod">
          <ac:chgData name="Koksrud Andreas" userId="9d9beba6-c052-407a-8599-c781a677a996" providerId="ADAL" clId="{99DCF58A-61FD-4A82-B407-E5D0DF551B20}" dt="2023-12-25T11:29:25.293" v="4002" actId="20577"/>
          <ac:spMkLst>
            <pc:docMk/>
            <pc:sldMk cId="1987049343" sldId="858"/>
            <ac:spMk id="180" creationId="{00000000-0000-0000-0000-000000000000}"/>
          </ac:spMkLst>
        </pc:spChg>
        <pc:picChg chg="add mod">
          <ac:chgData name="Koksrud Andreas" userId="9d9beba6-c052-407a-8599-c781a677a996" providerId="ADAL" clId="{99DCF58A-61FD-4A82-B407-E5D0DF551B20}" dt="2023-12-25T11:31:43.314" v="4051" actId="1076"/>
          <ac:picMkLst>
            <pc:docMk/>
            <pc:sldMk cId="1987049343" sldId="858"/>
            <ac:picMk id="6" creationId="{78645D45-8769-81CB-2821-560F3CFF9CBE}"/>
          </ac:picMkLst>
        </pc:picChg>
        <pc:picChg chg="del">
          <ac:chgData name="Koksrud Andreas" userId="9d9beba6-c052-407a-8599-c781a677a996" providerId="ADAL" clId="{99DCF58A-61FD-4A82-B407-E5D0DF551B20}" dt="2023-12-25T11:31:37.700" v="4049" actId="478"/>
          <ac:picMkLst>
            <pc:docMk/>
            <pc:sldMk cId="1987049343" sldId="858"/>
            <ac:picMk id="7" creationId="{7AA2FE90-E597-17D6-B03C-47B9566EA174}"/>
          </ac:picMkLst>
        </pc:picChg>
        <pc:picChg chg="add mod modCrop">
          <ac:chgData name="Koksrud Andreas" userId="9d9beba6-c052-407a-8599-c781a677a996" providerId="ADAL" clId="{99DCF58A-61FD-4A82-B407-E5D0DF551B20}" dt="2023-12-25T11:33:09.111" v="4065" actId="732"/>
          <ac:picMkLst>
            <pc:docMk/>
            <pc:sldMk cId="1987049343" sldId="858"/>
            <ac:picMk id="9" creationId="{C3019131-6227-C544-E712-F688CDF664B9}"/>
          </ac:picMkLst>
        </pc:picChg>
        <pc:picChg chg="del">
          <ac:chgData name="Koksrud Andreas" userId="9d9beba6-c052-407a-8599-c781a677a996" providerId="ADAL" clId="{99DCF58A-61FD-4A82-B407-E5D0DF551B20}" dt="2023-12-25T11:31:47.967" v="4054" actId="478"/>
          <ac:picMkLst>
            <pc:docMk/>
            <pc:sldMk cId="1987049343" sldId="858"/>
            <ac:picMk id="11" creationId="{2868BE7C-4B81-D511-B4A8-04F15B2052D0}"/>
          </ac:picMkLst>
        </pc:picChg>
        <pc:picChg chg="add mod">
          <ac:chgData name="Koksrud Andreas" userId="9d9beba6-c052-407a-8599-c781a677a996" providerId="ADAL" clId="{99DCF58A-61FD-4A82-B407-E5D0DF551B20}" dt="2023-12-25T11:33:18.387" v="4068" actId="1076"/>
          <ac:picMkLst>
            <pc:docMk/>
            <pc:sldMk cId="1987049343" sldId="858"/>
            <ac:picMk id="12" creationId="{DEE12C32-E793-5A48-C960-3987827D3176}"/>
          </ac:picMkLst>
        </pc:picChg>
        <pc:picChg chg="del">
          <ac:chgData name="Koksrud Andreas" userId="9d9beba6-c052-407a-8599-c781a677a996" providerId="ADAL" clId="{99DCF58A-61FD-4A82-B407-E5D0DF551B20}" dt="2023-12-25T11:31:49.692" v="4055" actId="478"/>
          <ac:picMkLst>
            <pc:docMk/>
            <pc:sldMk cId="1987049343" sldId="858"/>
            <ac:picMk id="14" creationId="{03B59CC9-E249-2BE7-157B-EBAF15A10EC7}"/>
          </ac:picMkLst>
        </pc:picChg>
        <pc:picChg chg="add mod">
          <ac:chgData name="Koksrud Andreas" userId="9d9beba6-c052-407a-8599-c781a677a996" providerId="ADAL" clId="{99DCF58A-61FD-4A82-B407-E5D0DF551B20}" dt="2023-12-25T11:35:07.333" v="4156" actId="1076"/>
          <ac:picMkLst>
            <pc:docMk/>
            <pc:sldMk cId="1987049343" sldId="858"/>
            <ac:picMk id="15" creationId="{DD1F7884-9A7C-5891-012A-EE057168166C}"/>
          </ac:picMkLst>
        </pc:picChg>
        <pc:picChg chg="add del mod">
          <ac:chgData name="Koksrud Andreas" userId="9d9beba6-c052-407a-8599-c781a677a996" providerId="ADAL" clId="{99DCF58A-61FD-4A82-B407-E5D0DF551B20}" dt="2023-12-25T11:35:57.243" v="4158"/>
          <ac:picMkLst>
            <pc:docMk/>
            <pc:sldMk cId="1987049343" sldId="858"/>
            <ac:picMk id="16" creationId="{B676FE33-5397-8BEA-B3CD-9C265CB31B39}"/>
          </ac:picMkLst>
        </pc:picChg>
      </pc:sldChg>
      <pc:sldChg chg="addSp delSp modSp add mod">
        <pc:chgData name="Koksrud Andreas" userId="9d9beba6-c052-407a-8599-c781a677a996" providerId="ADAL" clId="{99DCF58A-61FD-4A82-B407-E5D0DF551B20}" dt="2023-12-25T11:41:23.196" v="4382" actId="14100"/>
        <pc:sldMkLst>
          <pc:docMk/>
          <pc:sldMk cId="2034020006" sldId="859"/>
        </pc:sldMkLst>
        <pc:spChg chg="mod">
          <ac:chgData name="Koksrud Andreas" userId="9d9beba6-c052-407a-8599-c781a677a996" providerId="ADAL" clId="{99DCF58A-61FD-4A82-B407-E5D0DF551B20}" dt="2023-12-25T11:39:01.192" v="4357" actId="20577"/>
          <ac:spMkLst>
            <pc:docMk/>
            <pc:sldMk cId="2034020006" sldId="859"/>
            <ac:spMk id="2" creationId="{9796E8C1-5924-9DB3-B51B-75296717F89F}"/>
          </ac:spMkLst>
        </pc:spChg>
        <pc:spChg chg="mod">
          <ac:chgData name="Koksrud Andreas" userId="9d9beba6-c052-407a-8599-c781a677a996" providerId="ADAL" clId="{99DCF58A-61FD-4A82-B407-E5D0DF551B20}" dt="2023-12-25T11:36:20.804" v="4228" actId="20577"/>
          <ac:spMkLst>
            <pc:docMk/>
            <pc:sldMk cId="2034020006" sldId="859"/>
            <ac:spMk id="180" creationId="{00000000-0000-0000-0000-000000000000}"/>
          </ac:spMkLst>
        </pc:spChg>
        <pc:picChg chg="add mod modCrop">
          <ac:chgData name="Koksrud Andreas" userId="9d9beba6-c052-407a-8599-c781a677a996" providerId="ADAL" clId="{99DCF58A-61FD-4A82-B407-E5D0DF551B20}" dt="2023-12-25T11:39:10.531" v="4362" actId="1036"/>
          <ac:picMkLst>
            <pc:docMk/>
            <pc:sldMk cId="2034020006" sldId="859"/>
            <ac:picMk id="4" creationId="{FDD42404-EF64-D2C3-11DA-3A932B4CFCB8}"/>
          </ac:picMkLst>
        </pc:picChg>
        <pc:picChg chg="del">
          <ac:chgData name="Koksrud Andreas" userId="9d9beba6-c052-407a-8599-c781a677a996" providerId="ADAL" clId="{99DCF58A-61FD-4A82-B407-E5D0DF551B20}" dt="2023-12-25T11:36:22.820" v="4229" actId="478"/>
          <ac:picMkLst>
            <pc:docMk/>
            <pc:sldMk cId="2034020006" sldId="859"/>
            <ac:picMk id="6" creationId="{78645D45-8769-81CB-2821-560F3CFF9CBE}"/>
          </ac:picMkLst>
        </pc:picChg>
        <pc:picChg chg="add del mod">
          <ac:chgData name="Koksrud Andreas" userId="9d9beba6-c052-407a-8599-c781a677a996" providerId="ADAL" clId="{99DCF58A-61FD-4A82-B407-E5D0DF551B20}" dt="2023-12-25T11:39:27.166" v="4365" actId="478"/>
          <ac:picMkLst>
            <pc:docMk/>
            <pc:sldMk cId="2034020006" sldId="859"/>
            <ac:picMk id="7" creationId="{FF1C2B15-FDBC-95D0-9372-E75C0B39A703}"/>
          </ac:picMkLst>
        </pc:picChg>
        <pc:picChg chg="del">
          <ac:chgData name="Koksrud Andreas" userId="9d9beba6-c052-407a-8599-c781a677a996" providerId="ADAL" clId="{99DCF58A-61FD-4A82-B407-E5D0DF551B20}" dt="2023-12-25T11:36:23.406" v="4230" actId="478"/>
          <ac:picMkLst>
            <pc:docMk/>
            <pc:sldMk cId="2034020006" sldId="859"/>
            <ac:picMk id="9" creationId="{C3019131-6227-C544-E712-F688CDF664B9}"/>
          </ac:picMkLst>
        </pc:picChg>
        <pc:picChg chg="add mod">
          <ac:chgData name="Koksrud Andreas" userId="9d9beba6-c052-407a-8599-c781a677a996" providerId="ADAL" clId="{99DCF58A-61FD-4A82-B407-E5D0DF551B20}" dt="2023-12-25T11:39:36.957" v="4367" actId="1076"/>
          <ac:picMkLst>
            <pc:docMk/>
            <pc:sldMk cId="2034020006" sldId="859"/>
            <ac:picMk id="10" creationId="{89AD7208-33E1-786F-68C4-B07CE69D9B90}"/>
          </ac:picMkLst>
        </pc:picChg>
        <pc:picChg chg="del">
          <ac:chgData name="Koksrud Andreas" userId="9d9beba6-c052-407a-8599-c781a677a996" providerId="ADAL" clId="{99DCF58A-61FD-4A82-B407-E5D0DF551B20}" dt="2023-12-25T11:36:24.780" v="4232" actId="478"/>
          <ac:picMkLst>
            <pc:docMk/>
            <pc:sldMk cId="2034020006" sldId="859"/>
            <ac:picMk id="12" creationId="{DEE12C32-E793-5A48-C960-3987827D3176}"/>
          </ac:picMkLst>
        </pc:picChg>
        <pc:picChg chg="add mod">
          <ac:chgData name="Koksrud Andreas" userId="9d9beba6-c052-407a-8599-c781a677a996" providerId="ADAL" clId="{99DCF58A-61FD-4A82-B407-E5D0DF551B20}" dt="2023-12-25T11:39:49.713" v="4369" actId="1076"/>
          <ac:picMkLst>
            <pc:docMk/>
            <pc:sldMk cId="2034020006" sldId="859"/>
            <ac:picMk id="13" creationId="{64C063CB-5F33-4B77-965C-B90C6AE27B39}"/>
          </ac:picMkLst>
        </pc:picChg>
        <pc:picChg chg="del">
          <ac:chgData name="Koksrud Andreas" userId="9d9beba6-c052-407a-8599-c781a677a996" providerId="ADAL" clId="{99DCF58A-61FD-4A82-B407-E5D0DF551B20}" dt="2023-12-25T11:36:24.126" v="4231" actId="478"/>
          <ac:picMkLst>
            <pc:docMk/>
            <pc:sldMk cId="2034020006" sldId="859"/>
            <ac:picMk id="15" creationId="{DD1F7884-9A7C-5891-012A-EE057168166C}"/>
          </ac:picMkLst>
        </pc:picChg>
        <pc:picChg chg="add mod">
          <ac:chgData name="Koksrud Andreas" userId="9d9beba6-c052-407a-8599-c781a677a996" providerId="ADAL" clId="{99DCF58A-61FD-4A82-B407-E5D0DF551B20}" dt="2023-12-25T11:40:47.216" v="4374" actId="1076"/>
          <ac:picMkLst>
            <pc:docMk/>
            <pc:sldMk cId="2034020006" sldId="859"/>
            <ac:picMk id="19" creationId="{16102E3D-30A8-E8EE-D800-B326185287B8}"/>
          </ac:picMkLst>
        </pc:picChg>
        <pc:picChg chg="add mod">
          <ac:chgData name="Koksrud Andreas" userId="9d9beba6-c052-407a-8599-c781a677a996" providerId="ADAL" clId="{99DCF58A-61FD-4A82-B407-E5D0DF551B20}" dt="2023-12-25T11:41:04.721" v="4376" actId="1076"/>
          <ac:picMkLst>
            <pc:docMk/>
            <pc:sldMk cId="2034020006" sldId="859"/>
            <ac:picMk id="21" creationId="{F22CFF74-063D-C7C7-71BA-43C9544244B5}"/>
          </ac:picMkLst>
        </pc:picChg>
        <pc:cxnChg chg="add mod">
          <ac:chgData name="Koksrud Andreas" userId="9d9beba6-c052-407a-8599-c781a677a996" providerId="ADAL" clId="{99DCF58A-61FD-4A82-B407-E5D0DF551B20}" dt="2023-12-25T11:40:02.521" v="4372" actId="14100"/>
          <ac:cxnSpMkLst>
            <pc:docMk/>
            <pc:sldMk cId="2034020006" sldId="859"/>
            <ac:cxnSpMk id="14" creationId="{EBD79003-BA5F-9EC4-AB1E-B169474A75BA}"/>
          </ac:cxnSpMkLst>
        </pc:cxnChg>
        <pc:cxnChg chg="add mod">
          <ac:chgData name="Koksrud Andreas" userId="9d9beba6-c052-407a-8599-c781a677a996" providerId="ADAL" clId="{99DCF58A-61FD-4A82-B407-E5D0DF551B20}" dt="2023-12-25T11:41:16.576" v="4379" actId="14100"/>
          <ac:cxnSpMkLst>
            <pc:docMk/>
            <pc:sldMk cId="2034020006" sldId="859"/>
            <ac:cxnSpMk id="22" creationId="{21009E25-D8DE-E975-55FA-12227386461E}"/>
          </ac:cxnSpMkLst>
        </pc:cxnChg>
        <pc:cxnChg chg="add mod">
          <ac:chgData name="Koksrud Andreas" userId="9d9beba6-c052-407a-8599-c781a677a996" providerId="ADAL" clId="{99DCF58A-61FD-4A82-B407-E5D0DF551B20}" dt="2023-12-25T11:41:23.196" v="4382" actId="14100"/>
          <ac:cxnSpMkLst>
            <pc:docMk/>
            <pc:sldMk cId="2034020006" sldId="859"/>
            <ac:cxnSpMk id="25" creationId="{F5E02325-17FA-2F47-48A7-150B22E29FA9}"/>
          </ac:cxnSpMkLst>
        </pc:cxnChg>
      </pc:sldChg>
      <pc:sldChg chg="addSp delSp modSp add mod">
        <pc:chgData name="Koksrud Andreas" userId="9d9beba6-c052-407a-8599-c781a677a996" providerId="ADAL" clId="{99DCF58A-61FD-4A82-B407-E5D0DF551B20}" dt="2023-12-25T11:54:33.223" v="4621" actId="14100"/>
        <pc:sldMkLst>
          <pc:docMk/>
          <pc:sldMk cId="1439612205" sldId="860"/>
        </pc:sldMkLst>
        <pc:spChg chg="mod">
          <ac:chgData name="Koksrud Andreas" userId="9d9beba6-c052-407a-8599-c781a677a996" providerId="ADAL" clId="{99DCF58A-61FD-4A82-B407-E5D0DF551B20}" dt="2023-12-25T11:51:41.810" v="4521" actId="14100"/>
          <ac:spMkLst>
            <pc:docMk/>
            <pc:sldMk cId="1439612205" sldId="860"/>
            <ac:spMk id="2" creationId="{9796E8C1-5924-9DB3-B51B-75296717F89F}"/>
          </ac:spMkLst>
        </pc:spChg>
        <pc:spChg chg="add mod">
          <ac:chgData name="Koksrud Andreas" userId="9d9beba6-c052-407a-8599-c781a677a996" providerId="ADAL" clId="{99DCF58A-61FD-4A82-B407-E5D0DF551B20}" dt="2023-12-25T11:53:09.735" v="4613" actId="20577"/>
          <ac:spMkLst>
            <pc:docMk/>
            <pc:sldMk cId="1439612205" sldId="860"/>
            <ac:spMk id="16" creationId="{0BF20D48-2782-8A09-2215-91CD21C56EFC}"/>
          </ac:spMkLst>
        </pc:spChg>
        <pc:spChg chg="mod">
          <ac:chgData name="Koksrud Andreas" userId="9d9beba6-c052-407a-8599-c781a677a996" providerId="ADAL" clId="{99DCF58A-61FD-4A82-B407-E5D0DF551B20}" dt="2023-12-25T11:50:49.459" v="4471" actId="20577"/>
          <ac:spMkLst>
            <pc:docMk/>
            <pc:sldMk cId="1439612205" sldId="860"/>
            <ac:spMk id="180" creationId="{00000000-0000-0000-0000-000000000000}"/>
          </ac:spMkLst>
        </pc:spChg>
        <pc:picChg chg="del">
          <ac:chgData name="Koksrud Andreas" userId="9d9beba6-c052-407a-8599-c781a677a996" providerId="ADAL" clId="{99DCF58A-61FD-4A82-B407-E5D0DF551B20}" dt="2023-12-25T11:42:19.138" v="4425" actId="478"/>
          <ac:picMkLst>
            <pc:docMk/>
            <pc:sldMk cId="1439612205" sldId="860"/>
            <ac:picMk id="4" creationId="{FDD42404-EF64-D2C3-11DA-3A932B4CFCB8}"/>
          </ac:picMkLst>
        </pc:picChg>
        <pc:picChg chg="add del mod">
          <ac:chgData name="Koksrud Andreas" userId="9d9beba6-c052-407a-8599-c781a677a996" providerId="ADAL" clId="{99DCF58A-61FD-4A82-B407-E5D0DF551B20}" dt="2023-12-25T11:51:07.576" v="4511" actId="478"/>
          <ac:picMkLst>
            <pc:docMk/>
            <pc:sldMk cId="1439612205" sldId="860"/>
            <ac:picMk id="5" creationId="{BA0F6610-8D6A-ACFB-0475-F273EB8CF5F9}"/>
          </ac:picMkLst>
        </pc:picChg>
        <pc:picChg chg="add del mod">
          <ac:chgData name="Koksrud Andreas" userId="9d9beba6-c052-407a-8599-c781a677a996" providerId="ADAL" clId="{99DCF58A-61FD-4A82-B407-E5D0DF551B20}" dt="2023-12-25T11:51:08.658" v="4512" actId="478"/>
          <ac:picMkLst>
            <pc:docMk/>
            <pc:sldMk cId="1439612205" sldId="860"/>
            <ac:picMk id="7" creationId="{FF286106-3A39-9208-0739-1F2684C004C5}"/>
          </ac:picMkLst>
        </pc:picChg>
        <pc:picChg chg="del">
          <ac:chgData name="Koksrud Andreas" userId="9d9beba6-c052-407a-8599-c781a677a996" providerId="ADAL" clId="{99DCF58A-61FD-4A82-B407-E5D0DF551B20}" dt="2023-12-25T11:43:46.765" v="4434" actId="478"/>
          <ac:picMkLst>
            <pc:docMk/>
            <pc:sldMk cId="1439612205" sldId="860"/>
            <ac:picMk id="10" creationId="{89AD7208-33E1-786F-68C4-B07CE69D9B90}"/>
          </ac:picMkLst>
        </pc:picChg>
        <pc:picChg chg="del">
          <ac:chgData name="Koksrud Andreas" userId="9d9beba6-c052-407a-8599-c781a677a996" providerId="ADAL" clId="{99DCF58A-61FD-4A82-B407-E5D0DF551B20}" dt="2023-12-25T11:43:47.283" v="4435" actId="478"/>
          <ac:picMkLst>
            <pc:docMk/>
            <pc:sldMk cId="1439612205" sldId="860"/>
            <ac:picMk id="13" creationId="{64C063CB-5F33-4B77-965C-B90C6AE27B39}"/>
          </ac:picMkLst>
        </pc:picChg>
        <pc:picChg chg="add mod modCrop">
          <ac:chgData name="Koksrud Andreas" userId="9d9beba6-c052-407a-8599-c781a677a996" providerId="ADAL" clId="{99DCF58A-61FD-4A82-B407-E5D0DF551B20}" dt="2023-12-25T11:51:28.903" v="4520" actId="1076"/>
          <ac:picMkLst>
            <pc:docMk/>
            <pc:sldMk cId="1439612205" sldId="860"/>
            <ac:picMk id="15" creationId="{F22105F0-9669-D1EE-A5AB-151AEE19E7D3}"/>
          </ac:picMkLst>
        </pc:picChg>
        <pc:picChg chg="add del mod">
          <ac:chgData name="Koksrud Andreas" userId="9d9beba6-c052-407a-8599-c781a677a996" providerId="ADAL" clId="{99DCF58A-61FD-4A82-B407-E5D0DF551B20}" dt="2023-12-25T11:52:58.416" v="4587" actId="478"/>
          <ac:picMkLst>
            <pc:docMk/>
            <pc:sldMk cId="1439612205" sldId="860"/>
            <ac:picMk id="18" creationId="{1B29BA6E-4C98-07FD-0127-595453AA9B60}"/>
          </ac:picMkLst>
        </pc:picChg>
        <pc:picChg chg="del">
          <ac:chgData name="Koksrud Andreas" userId="9d9beba6-c052-407a-8599-c781a677a996" providerId="ADAL" clId="{99DCF58A-61FD-4A82-B407-E5D0DF551B20}" dt="2023-12-25T11:43:49.366" v="4438" actId="478"/>
          <ac:picMkLst>
            <pc:docMk/>
            <pc:sldMk cId="1439612205" sldId="860"/>
            <ac:picMk id="19" creationId="{16102E3D-30A8-E8EE-D800-B326185287B8}"/>
          </ac:picMkLst>
        </pc:picChg>
        <pc:picChg chg="del">
          <ac:chgData name="Koksrud Andreas" userId="9d9beba6-c052-407a-8599-c781a677a996" providerId="ADAL" clId="{99DCF58A-61FD-4A82-B407-E5D0DF551B20}" dt="2023-12-25T11:43:49.911" v="4439" actId="478"/>
          <ac:picMkLst>
            <pc:docMk/>
            <pc:sldMk cId="1439612205" sldId="860"/>
            <ac:picMk id="21" creationId="{F22CFF74-063D-C7C7-71BA-43C9544244B5}"/>
          </ac:picMkLst>
        </pc:picChg>
        <pc:picChg chg="add mod">
          <ac:chgData name="Koksrud Andreas" userId="9d9beba6-c052-407a-8599-c781a677a996" providerId="ADAL" clId="{99DCF58A-61FD-4A82-B407-E5D0DF551B20}" dt="2023-12-25T11:54:21.352" v="4617" actId="14100"/>
          <ac:picMkLst>
            <pc:docMk/>
            <pc:sldMk cId="1439612205" sldId="860"/>
            <ac:picMk id="23" creationId="{A92DC332-3E85-1F8C-ED9A-B06A412AF841}"/>
          </ac:picMkLst>
        </pc:picChg>
        <pc:cxnChg chg="add mod ord">
          <ac:chgData name="Koksrud Andreas" userId="9d9beba6-c052-407a-8599-c781a677a996" providerId="ADAL" clId="{99DCF58A-61FD-4A82-B407-E5D0DF551B20}" dt="2023-12-25T11:54:33.223" v="4621" actId="14100"/>
          <ac:cxnSpMkLst>
            <pc:docMk/>
            <pc:sldMk cId="1439612205" sldId="860"/>
            <ac:cxnSpMk id="8" creationId="{87407839-F583-F4F8-6870-7596EB34EDF4}"/>
          </ac:cxnSpMkLst>
        </pc:cxnChg>
        <pc:cxnChg chg="del">
          <ac:chgData name="Koksrud Andreas" userId="9d9beba6-c052-407a-8599-c781a677a996" providerId="ADAL" clId="{99DCF58A-61FD-4A82-B407-E5D0DF551B20}" dt="2023-12-25T11:43:48.077" v="4436" actId="478"/>
          <ac:cxnSpMkLst>
            <pc:docMk/>
            <pc:sldMk cId="1439612205" sldId="860"/>
            <ac:cxnSpMk id="14" creationId="{EBD79003-BA5F-9EC4-AB1E-B169474A75BA}"/>
          </ac:cxnSpMkLst>
        </pc:cxnChg>
        <pc:cxnChg chg="del">
          <ac:chgData name="Koksrud Andreas" userId="9d9beba6-c052-407a-8599-c781a677a996" providerId="ADAL" clId="{99DCF58A-61FD-4A82-B407-E5D0DF551B20}" dt="2023-12-25T11:43:48.839" v="4437" actId="478"/>
          <ac:cxnSpMkLst>
            <pc:docMk/>
            <pc:sldMk cId="1439612205" sldId="860"/>
            <ac:cxnSpMk id="22" creationId="{21009E25-D8DE-E975-55FA-12227386461E}"/>
          </ac:cxnSpMkLst>
        </pc:cxnChg>
        <pc:cxnChg chg="del">
          <ac:chgData name="Koksrud Andreas" userId="9d9beba6-c052-407a-8599-c781a677a996" providerId="ADAL" clId="{99DCF58A-61FD-4A82-B407-E5D0DF551B20}" dt="2023-12-25T11:43:50.642" v="4440" actId="478"/>
          <ac:cxnSpMkLst>
            <pc:docMk/>
            <pc:sldMk cId="1439612205" sldId="860"/>
            <ac:cxnSpMk id="25" creationId="{F5E02325-17FA-2F47-48A7-150B22E29FA9}"/>
          </ac:cxnSpMkLst>
        </pc:cxnChg>
      </pc:sldChg>
      <pc:sldChg chg="add del">
        <pc:chgData name="Koksrud Andreas" userId="9d9beba6-c052-407a-8599-c781a677a996" providerId="ADAL" clId="{99DCF58A-61FD-4A82-B407-E5D0DF551B20}" dt="2023-12-25T11:42:35.068" v="4429" actId="47"/>
        <pc:sldMkLst>
          <pc:docMk/>
          <pc:sldMk cId="236572082" sldId="861"/>
        </pc:sldMkLst>
      </pc:sldChg>
      <pc:sldChg chg="add">
        <pc:chgData name="Koksrud Andreas" userId="9d9beba6-c052-407a-8599-c781a677a996" providerId="ADAL" clId="{99DCF58A-61FD-4A82-B407-E5D0DF551B20}" dt="2023-12-25T11:50:40.153" v="4444" actId="2890"/>
        <pc:sldMkLst>
          <pc:docMk/>
          <pc:sldMk cId="2554802186" sldId="861"/>
        </pc:sldMkLst>
      </pc:sldChg>
      <pc:sldChg chg="add del">
        <pc:chgData name="Koksrud Andreas" userId="9d9beba6-c052-407a-8599-c781a677a996" providerId="ADAL" clId="{99DCF58A-61FD-4A82-B407-E5D0DF551B20}" dt="2023-12-25T11:42:23.343" v="4427"/>
        <pc:sldMkLst>
          <pc:docMk/>
          <pc:sldMk cId="2608200818" sldId="861"/>
        </pc:sldMkLst>
      </pc:sldChg>
      <pc:sldChg chg="addSp delSp modSp add mod">
        <pc:chgData name="Koksrud Andreas" userId="9d9beba6-c052-407a-8599-c781a677a996" providerId="ADAL" clId="{99DCF58A-61FD-4A82-B407-E5D0DF551B20}" dt="2023-12-25T20:52:24.826" v="4737" actId="21"/>
        <pc:sldMkLst>
          <pc:docMk/>
          <pc:sldMk cId="575130139" sldId="862"/>
        </pc:sldMkLst>
        <pc:spChg chg="del">
          <ac:chgData name="Koksrud Andreas" userId="9d9beba6-c052-407a-8599-c781a677a996" providerId="ADAL" clId="{99DCF58A-61FD-4A82-B407-E5D0DF551B20}" dt="2023-12-25T11:57:13.749" v="4645" actId="478"/>
          <ac:spMkLst>
            <pc:docMk/>
            <pc:sldMk cId="575130139" sldId="862"/>
            <ac:spMk id="2" creationId="{244AF8B4-0676-DA57-A478-7C2D0FFFC8AA}"/>
          </ac:spMkLst>
        </pc:spChg>
        <pc:spChg chg="add mod">
          <ac:chgData name="Koksrud Andreas" userId="9d9beba6-c052-407a-8599-c781a677a996" providerId="ADAL" clId="{99DCF58A-61FD-4A82-B407-E5D0DF551B20}" dt="2023-12-25T12:15:15.822" v="4671" actId="14100"/>
          <ac:spMkLst>
            <pc:docMk/>
            <pc:sldMk cId="575130139" sldId="862"/>
            <ac:spMk id="4" creationId="{FEFDFE44-611E-8625-FC2E-FCBBCCD3961B}"/>
          </ac:spMkLst>
        </pc:spChg>
        <pc:spChg chg="mod">
          <ac:chgData name="Koksrud Andreas" userId="9d9beba6-c052-407a-8599-c781a677a996" providerId="ADAL" clId="{99DCF58A-61FD-4A82-B407-E5D0DF551B20}" dt="2023-12-25T12:16:02.143" v="4680" actId="20577"/>
          <ac:spMkLst>
            <pc:docMk/>
            <pc:sldMk cId="575130139" sldId="862"/>
            <ac:spMk id="180" creationId="{00000000-0000-0000-0000-000000000000}"/>
          </ac:spMkLst>
        </pc:spChg>
        <pc:picChg chg="add del mod">
          <ac:chgData name="Koksrud Andreas" userId="9d9beba6-c052-407a-8599-c781a677a996" providerId="ADAL" clId="{99DCF58A-61FD-4A82-B407-E5D0DF551B20}" dt="2023-12-25T20:52:24.826" v="4737" actId="21"/>
          <ac:picMkLst>
            <pc:docMk/>
            <pc:sldMk cId="575130139" sldId="862"/>
            <ac:picMk id="6" creationId="{B28A0A82-08AC-0360-DA39-CEB01F3A103E}"/>
          </ac:picMkLst>
        </pc:picChg>
      </pc:sldChg>
      <pc:sldChg chg="addSp delSp modSp add mod">
        <pc:chgData name="Koksrud Andreas" userId="9d9beba6-c052-407a-8599-c781a677a996" providerId="ADAL" clId="{99DCF58A-61FD-4A82-B407-E5D0DF551B20}" dt="2023-12-25T20:55:22.392" v="4860" actId="20577"/>
        <pc:sldMkLst>
          <pc:docMk/>
          <pc:sldMk cId="3027998341" sldId="863"/>
        </pc:sldMkLst>
        <pc:spChg chg="del">
          <ac:chgData name="Koksrud Andreas" userId="9d9beba6-c052-407a-8599-c781a677a996" providerId="ADAL" clId="{99DCF58A-61FD-4A82-B407-E5D0DF551B20}" dt="2023-12-25T12:16:12.871" v="4704" actId="478"/>
          <ac:spMkLst>
            <pc:docMk/>
            <pc:sldMk cId="3027998341" sldId="863"/>
            <ac:spMk id="4" creationId="{FEFDFE44-611E-8625-FC2E-FCBBCCD3961B}"/>
          </ac:spMkLst>
        </pc:spChg>
        <pc:spChg chg="add mod">
          <ac:chgData name="Koksrud Andreas" userId="9d9beba6-c052-407a-8599-c781a677a996" providerId="ADAL" clId="{99DCF58A-61FD-4A82-B407-E5D0DF551B20}" dt="2023-12-25T20:55:11.760" v="4838" actId="1076"/>
          <ac:spMkLst>
            <pc:docMk/>
            <pc:sldMk cId="3027998341" sldId="863"/>
            <ac:spMk id="14" creationId="{C85A9E99-AA4E-C194-FF2A-6C5AC5C1CF94}"/>
          </ac:spMkLst>
        </pc:spChg>
        <pc:spChg chg="mod">
          <ac:chgData name="Koksrud Andreas" userId="9d9beba6-c052-407a-8599-c781a677a996" providerId="ADAL" clId="{99DCF58A-61FD-4A82-B407-E5D0DF551B20}" dt="2023-12-25T20:55:22.392" v="4860" actId="20577"/>
          <ac:spMkLst>
            <pc:docMk/>
            <pc:sldMk cId="3027998341" sldId="863"/>
            <ac:spMk id="180" creationId="{00000000-0000-0000-0000-000000000000}"/>
          </ac:spMkLst>
        </pc:spChg>
        <pc:picChg chg="add del mod">
          <ac:chgData name="Koksrud Andreas" userId="9d9beba6-c052-407a-8599-c781a677a996" providerId="ADAL" clId="{99DCF58A-61FD-4A82-B407-E5D0DF551B20}" dt="2023-12-25T20:51:51.069" v="4734" actId="478"/>
          <ac:picMkLst>
            <pc:docMk/>
            <pc:sldMk cId="3027998341" sldId="863"/>
            <ac:picMk id="3" creationId="{77907BC8-2492-5154-F6AB-FEF15AD4A76D}"/>
          </ac:picMkLst>
        </pc:picChg>
        <pc:picChg chg="del">
          <ac:chgData name="Koksrud Andreas" userId="9d9beba6-c052-407a-8599-c781a677a996" providerId="ADAL" clId="{99DCF58A-61FD-4A82-B407-E5D0DF551B20}" dt="2023-12-25T12:16:14.524" v="4705" actId="478"/>
          <ac:picMkLst>
            <pc:docMk/>
            <pc:sldMk cId="3027998341" sldId="863"/>
            <ac:picMk id="6" creationId="{B28A0A82-08AC-0360-DA39-CEB01F3A103E}"/>
          </ac:picMkLst>
        </pc:picChg>
        <pc:picChg chg="add del mod">
          <ac:chgData name="Koksrud Andreas" userId="9d9beba6-c052-407a-8599-c781a677a996" providerId="ADAL" clId="{99DCF58A-61FD-4A82-B407-E5D0DF551B20}" dt="2023-12-25T20:51:45.027" v="4733" actId="478"/>
          <ac:picMkLst>
            <pc:docMk/>
            <pc:sldMk cId="3027998341" sldId="863"/>
            <ac:picMk id="7" creationId="{6BFC406C-2157-87E6-03BD-F84EC5759415}"/>
          </ac:picMkLst>
        </pc:picChg>
        <pc:picChg chg="add mod">
          <ac:chgData name="Koksrud Andreas" userId="9d9beba6-c052-407a-8599-c781a677a996" providerId="ADAL" clId="{99DCF58A-61FD-4A82-B407-E5D0DF551B20}" dt="2023-12-25T20:55:03.676" v="4837" actId="1076"/>
          <ac:picMkLst>
            <pc:docMk/>
            <pc:sldMk cId="3027998341" sldId="863"/>
            <ac:picMk id="9" creationId="{B39AEE37-E5E1-FD33-5317-53FB4A2C1415}"/>
          </ac:picMkLst>
        </pc:picChg>
        <pc:picChg chg="add mod">
          <ac:chgData name="Koksrud Andreas" userId="9d9beba6-c052-407a-8599-c781a677a996" providerId="ADAL" clId="{99DCF58A-61FD-4A82-B407-E5D0DF551B20}" dt="2023-12-25T20:55:03.676" v="4837" actId="1076"/>
          <ac:picMkLst>
            <pc:docMk/>
            <pc:sldMk cId="3027998341" sldId="863"/>
            <ac:picMk id="10" creationId="{D53ABFBC-DDEE-E0B1-EBD7-A03E15A1AD96}"/>
          </ac:picMkLst>
        </pc:picChg>
        <pc:picChg chg="add mod">
          <ac:chgData name="Koksrud Andreas" userId="9d9beba6-c052-407a-8599-c781a677a996" providerId="ADAL" clId="{99DCF58A-61FD-4A82-B407-E5D0DF551B20}" dt="2023-12-25T20:55:03.676" v="4837" actId="1076"/>
          <ac:picMkLst>
            <pc:docMk/>
            <pc:sldMk cId="3027998341" sldId="863"/>
            <ac:picMk id="12" creationId="{36E36D84-4DF4-898C-B0E4-F15DFC15B501}"/>
          </ac:picMkLst>
        </pc:picChg>
      </pc:sldChg>
      <pc:sldChg chg="modSp add del mod">
        <pc:chgData name="Koksrud Andreas" userId="9d9beba6-c052-407a-8599-c781a677a996" providerId="ADAL" clId="{99DCF58A-61FD-4A82-B407-E5D0DF551B20}" dt="2023-12-25T20:55:25.638" v="4861" actId="47"/>
        <pc:sldMkLst>
          <pc:docMk/>
          <pc:sldMk cId="2270815265" sldId="864"/>
        </pc:sldMkLst>
        <pc:spChg chg="mod">
          <ac:chgData name="Koksrud Andreas" userId="9d9beba6-c052-407a-8599-c781a677a996" providerId="ADAL" clId="{99DCF58A-61FD-4A82-B407-E5D0DF551B20}" dt="2023-12-25T20:54:29.040" v="4830" actId="20577"/>
          <ac:spMkLst>
            <pc:docMk/>
            <pc:sldMk cId="2270815265" sldId="864"/>
            <ac:spMk id="180" creationId="{00000000-0000-0000-0000-000000000000}"/>
          </ac:spMkLst>
        </pc:spChg>
      </pc:sldChg>
      <pc:sldChg chg="addSp delSp modSp add mod">
        <pc:chgData name="Koksrud Andreas" userId="9d9beba6-c052-407a-8599-c781a677a996" providerId="ADAL" clId="{99DCF58A-61FD-4A82-B407-E5D0DF551B20}" dt="2023-12-25T20:57:00.829" v="4889" actId="1036"/>
        <pc:sldMkLst>
          <pc:docMk/>
          <pc:sldMk cId="2970237999" sldId="864"/>
        </pc:sldMkLst>
        <pc:spChg chg="mod">
          <ac:chgData name="Koksrud Andreas" userId="9d9beba6-c052-407a-8599-c781a677a996" providerId="ADAL" clId="{99DCF58A-61FD-4A82-B407-E5D0DF551B20}" dt="2023-12-25T20:55:38.074" v="4880" actId="20577"/>
          <ac:spMkLst>
            <pc:docMk/>
            <pc:sldMk cId="2970237999" sldId="864"/>
            <ac:spMk id="14" creationId="{C85A9E99-AA4E-C194-FF2A-6C5AC5C1CF94}"/>
          </ac:spMkLst>
        </pc:spChg>
        <pc:picChg chg="add mod modCrop">
          <ac:chgData name="Koksrud Andreas" userId="9d9beba6-c052-407a-8599-c781a677a996" providerId="ADAL" clId="{99DCF58A-61FD-4A82-B407-E5D0DF551B20}" dt="2023-12-25T20:57:00.829" v="4889" actId="1036"/>
          <ac:picMkLst>
            <pc:docMk/>
            <pc:sldMk cId="2970237999" sldId="864"/>
            <ac:picMk id="3" creationId="{08CDF2F7-7F69-D3A5-6F46-C3549070755D}"/>
          </ac:picMkLst>
        </pc:picChg>
        <pc:picChg chg="del">
          <ac:chgData name="Koksrud Andreas" userId="9d9beba6-c052-407a-8599-c781a677a996" providerId="ADAL" clId="{99DCF58A-61FD-4A82-B407-E5D0DF551B20}" dt="2023-12-25T20:55:42.988" v="4882" actId="478"/>
          <ac:picMkLst>
            <pc:docMk/>
            <pc:sldMk cId="2970237999" sldId="864"/>
            <ac:picMk id="9" creationId="{B39AEE37-E5E1-FD33-5317-53FB4A2C1415}"/>
          </ac:picMkLst>
        </pc:picChg>
        <pc:picChg chg="del">
          <ac:chgData name="Koksrud Andreas" userId="9d9beba6-c052-407a-8599-c781a677a996" providerId="ADAL" clId="{99DCF58A-61FD-4A82-B407-E5D0DF551B20}" dt="2023-12-25T20:55:41.073" v="4881" actId="478"/>
          <ac:picMkLst>
            <pc:docMk/>
            <pc:sldMk cId="2970237999" sldId="864"/>
            <ac:picMk id="10" creationId="{D53ABFBC-DDEE-E0B1-EBD7-A03E15A1AD96}"/>
          </ac:picMkLst>
        </pc:picChg>
        <pc:picChg chg="del">
          <ac:chgData name="Koksrud Andreas" userId="9d9beba6-c052-407a-8599-c781a677a996" providerId="ADAL" clId="{99DCF58A-61FD-4A82-B407-E5D0DF551B20}" dt="2023-12-25T20:55:44.450" v="4883" actId="478"/>
          <ac:picMkLst>
            <pc:docMk/>
            <pc:sldMk cId="2970237999" sldId="864"/>
            <ac:picMk id="12" creationId="{36E36D84-4DF4-898C-B0E4-F15DFC15B501}"/>
          </ac:picMkLst>
        </pc:picChg>
      </pc:sldChg>
      <pc:sldChg chg="addSp delSp modSp add mod">
        <pc:chgData name="Koksrud Andreas" userId="9d9beba6-c052-407a-8599-c781a677a996" providerId="ADAL" clId="{99DCF58A-61FD-4A82-B407-E5D0DF551B20}" dt="2023-12-25T20:58:37.812" v="4932" actId="1076"/>
        <pc:sldMkLst>
          <pc:docMk/>
          <pc:sldMk cId="1445178992" sldId="865"/>
        </pc:sldMkLst>
        <pc:spChg chg="mod">
          <ac:chgData name="Koksrud Andreas" userId="9d9beba6-c052-407a-8599-c781a677a996" providerId="ADAL" clId="{99DCF58A-61FD-4A82-B407-E5D0DF551B20}" dt="2023-12-25T20:58:08.087" v="4929" actId="20577"/>
          <ac:spMkLst>
            <pc:docMk/>
            <pc:sldMk cId="1445178992" sldId="865"/>
            <ac:spMk id="14" creationId="{C85A9E99-AA4E-C194-FF2A-6C5AC5C1CF94}"/>
          </ac:spMkLst>
        </pc:spChg>
        <pc:picChg chg="del">
          <ac:chgData name="Koksrud Andreas" userId="9d9beba6-c052-407a-8599-c781a677a996" providerId="ADAL" clId="{99DCF58A-61FD-4A82-B407-E5D0DF551B20}" dt="2023-12-25T20:58:09.829" v="4930" actId="478"/>
          <ac:picMkLst>
            <pc:docMk/>
            <pc:sldMk cId="1445178992" sldId="865"/>
            <ac:picMk id="3" creationId="{08CDF2F7-7F69-D3A5-6F46-C3549070755D}"/>
          </ac:picMkLst>
        </pc:picChg>
        <pc:picChg chg="add mod">
          <ac:chgData name="Koksrud Andreas" userId="9d9beba6-c052-407a-8599-c781a677a996" providerId="ADAL" clId="{99DCF58A-61FD-4A82-B407-E5D0DF551B20}" dt="2023-12-25T20:58:37.812" v="4932" actId="1076"/>
          <ac:picMkLst>
            <pc:docMk/>
            <pc:sldMk cId="1445178992" sldId="865"/>
            <ac:picMk id="4" creationId="{0EDB0BA9-55B4-EA3B-1D41-37B08DC75373}"/>
          </ac:picMkLst>
        </pc:picChg>
      </pc:sldChg>
      <pc:sldChg chg="delSp modSp add mod">
        <pc:chgData name="Koksrud Andreas" userId="9d9beba6-c052-407a-8599-c781a677a996" providerId="ADAL" clId="{99DCF58A-61FD-4A82-B407-E5D0DF551B20}" dt="2024-01-09T05:39:04.324" v="5203" actId="20577"/>
        <pc:sldMkLst>
          <pc:docMk/>
          <pc:sldMk cId="141793938" sldId="866"/>
        </pc:sldMkLst>
        <pc:spChg chg="mod">
          <ac:chgData name="Koksrud Andreas" userId="9d9beba6-c052-407a-8599-c781a677a996" providerId="ADAL" clId="{99DCF58A-61FD-4A82-B407-E5D0DF551B20}" dt="2024-01-09T05:39:04.324" v="5203" actId="20577"/>
          <ac:spMkLst>
            <pc:docMk/>
            <pc:sldMk cId="141793938" sldId="866"/>
            <ac:spMk id="14" creationId="{C85A9E99-AA4E-C194-FF2A-6C5AC5C1CF94}"/>
          </ac:spMkLst>
        </pc:spChg>
        <pc:picChg chg="del">
          <ac:chgData name="Koksrud Andreas" userId="9d9beba6-c052-407a-8599-c781a677a996" providerId="ADAL" clId="{99DCF58A-61FD-4A82-B407-E5D0DF551B20}" dt="2023-12-25T20:59:18.830" v="5014" actId="478"/>
          <ac:picMkLst>
            <pc:docMk/>
            <pc:sldMk cId="141793938" sldId="866"/>
            <ac:picMk id="4" creationId="{0EDB0BA9-55B4-EA3B-1D41-37B08DC75373}"/>
          </ac:picMkLst>
        </pc:picChg>
      </pc:sldChg>
      <pc:sldChg chg="modSp add mod ord">
        <pc:chgData name="Koksrud Andreas" userId="9d9beba6-c052-407a-8599-c781a677a996" providerId="ADAL" clId="{99DCF58A-61FD-4A82-B407-E5D0DF551B20}" dt="2024-01-09T05:38:40.167" v="5152"/>
        <pc:sldMkLst>
          <pc:docMk/>
          <pc:sldMk cId="3994882627" sldId="867"/>
        </pc:sldMkLst>
        <pc:spChg chg="mod">
          <ac:chgData name="Koksrud Andreas" userId="9d9beba6-c052-407a-8599-c781a677a996" providerId="ADAL" clId="{99DCF58A-61FD-4A82-B407-E5D0DF551B20}" dt="2023-12-25T20:59:59.394" v="5077" actId="20577"/>
          <ac:spMkLst>
            <pc:docMk/>
            <pc:sldMk cId="3994882627" sldId="867"/>
            <ac:spMk id="14" creationId="{C85A9E99-AA4E-C194-FF2A-6C5AC5C1CF94}"/>
          </ac:spMkLst>
        </pc:spChg>
      </pc:sldChg>
      <pc:sldChg chg="new del">
        <pc:chgData name="Koksrud Andreas" userId="9d9beba6-c052-407a-8599-c781a677a996" providerId="ADAL" clId="{99DCF58A-61FD-4A82-B407-E5D0DF551B20}" dt="2024-01-08T15:29:38.016" v="5091" actId="47"/>
        <pc:sldMkLst>
          <pc:docMk/>
          <pc:sldMk cId="2443261058" sldId="868"/>
        </pc:sldMkLst>
      </pc:sldChg>
      <pc:sldChg chg="addSp modSp add mod">
        <pc:chgData name="Koksrud Andreas" userId="9d9beba6-c052-407a-8599-c781a677a996" providerId="ADAL" clId="{99DCF58A-61FD-4A82-B407-E5D0DF551B20}" dt="2024-01-09T05:41:58.607" v="5484" actId="20577"/>
        <pc:sldMkLst>
          <pc:docMk/>
          <pc:sldMk cId="612492956" sldId="869"/>
        </pc:sldMkLst>
        <pc:spChg chg="add mod">
          <ac:chgData name="Koksrud Andreas" userId="9d9beba6-c052-407a-8599-c781a677a996" providerId="ADAL" clId="{99DCF58A-61FD-4A82-B407-E5D0DF551B20}" dt="2024-01-09T05:41:12.484" v="5444" actId="1076"/>
          <ac:spMkLst>
            <pc:docMk/>
            <pc:sldMk cId="612492956" sldId="869"/>
            <ac:spMk id="3" creationId="{F8C25FDC-57EE-1DDE-CCC5-273A2149FEAB}"/>
          </ac:spMkLst>
        </pc:spChg>
        <pc:spChg chg="mod">
          <ac:chgData name="Koksrud Andreas" userId="9d9beba6-c052-407a-8599-c781a677a996" providerId="ADAL" clId="{99DCF58A-61FD-4A82-B407-E5D0DF551B20}" dt="2024-01-09T05:41:53.484" v="5482" actId="20577"/>
          <ac:spMkLst>
            <pc:docMk/>
            <pc:sldMk cId="612492956" sldId="869"/>
            <ac:spMk id="14" creationId="{C85A9E99-AA4E-C194-FF2A-6C5AC5C1CF94}"/>
          </ac:spMkLst>
        </pc:spChg>
        <pc:spChg chg="mod">
          <ac:chgData name="Koksrud Andreas" userId="9d9beba6-c052-407a-8599-c781a677a996" providerId="ADAL" clId="{99DCF58A-61FD-4A82-B407-E5D0DF551B20}" dt="2024-01-09T05:41:58.607" v="5484" actId="20577"/>
          <ac:spMkLst>
            <pc:docMk/>
            <pc:sldMk cId="612492956" sldId="869"/>
            <ac:spMk id="180" creationId="{00000000-0000-0000-0000-000000000000}"/>
          </ac:spMkLst>
        </pc:spChg>
      </pc:sldChg>
      <pc:sldChg chg="modSp add mod">
        <pc:chgData name="Koksrud Andreas" userId="9d9beba6-c052-407a-8599-c781a677a996" providerId="ADAL" clId="{99DCF58A-61FD-4A82-B407-E5D0DF551B20}" dt="2024-01-09T05:40:31.423" v="5409" actId="20577"/>
        <pc:sldMkLst>
          <pc:docMk/>
          <pc:sldMk cId="118550550" sldId="870"/>
        </pc:sldMkLst>
        <pc:spChg chg="mod">
          <ac:chgData name="Koksrud Andreas" userId="9d9beba6-c052-407a-8599-c781a677a996" providerId="ADAL" clId="{99DCF58A-61FD-4A82-B407-E5D0DF551B20}" dt="2024-01-09T05:40:31.423" v="5409" actId="20577"/>
          <ac:spMkLst>
            <pc:docMk/>
            <pc:sldMk cId="118550550" sldId="870"/>
            <ac:spMk id="14" creationId="{C85A9E99-AA4E-C194-FF2A-6C5AC5C1CF94}"/>
          </ac:spMkLst>
        </pc:spChg>
        <pc:spChg chg="mod">
          <ac:chgData name="Koksrud Andreas" userId="9d9beba6-c052-407a-8599-c781a677a996" providerId="ADAL" clId="{99DCF58A-61FD-4A82-B407-E5D0DF551B20}" dt="2024-01-09T05:39:39.616" v="5278" actId="20577"/>
          <ac:spMkLst>
            <pc:docMk/>
            <pc:sldMk cId="118550550" sldId="870"/>
            <ac:spMk id="180" creationId="{00000000-0000-0000-0000-000000000000}"/>
          </ac:spMkLst>
        </pc:spChg>
      </pc:sldChg>
      <pc:sldChg chg="modSp add mod">
        <pc:chgData name="Koksrud Andreas" userId="9d9beba6-c052-407a-8599-c781a677a996" providerId="ADAL" clId="{99DCF58A-61FD-4A82-B407-E5D0DF551B20}" dt="2024-01-09T05:44:07.475" v="5614" actId="20577"/>
        <pc:sldMkLst>
          <pc:docMk/>
          <pc:sldMk cId="548472017" sldId="871"/>
        </pc:sldMkLst>
        <pc:spChg chg="mod">
          <ac:chgData name="Koksrud Andreas" userId="9d9beba6-c052-407a-8599-c781a677a996" providerId="ADAL" clId="{99DCF58A-61FD-4A82-B407-E5D0DF551B20}" dt="2024-01-09T05:43:03.572" v="5584"/>
          <ac:spMkLst>
            <pc:docMk/>
            <pc:sldMk cId="548472017" sldId="871"/>
            <ac:spMk id="3" creationId="{F8C25FDC-57EE-1DDE-CCC5-273A2149FEAB}"/>
          </ac:spMkLst>
        </pc:spChg>
        <pc:spChg chg="mod">
          <ac:chgData name="Koksrud Andreas" userId="9d9beba6-c052-407a-8599-c781a677a996" providerId="ADAL" clId="{99DCF58A-61FD-4A82-B407-E5D0DF551B20}" dt="2024-01-09T05:44:07.475" v="5614" actId="20577"/>
          <ac:spMkLst>
            <pc:docMk/>
            <pc:sldMk cId="548472017" sldId="871"/>
            <ac:spMk id="14" creationId="{C85A9E99-AA4E-C194-FF2A-6C5AC5C1CF94}"/>
          </ac:spMkLst>
        </pc:spChg>
        <pc:spChg chg="mod">
          <ac:chgData name="Koksrud Andreas" userId="9d9beba6-c052-407a-8599-c781a677a996" providerId="ADAL" clId="{99DCF58A-61FD-4A82-B407-E5D0DF551B20}" dt="2024-01-09T05:42:12.723" v="5508" actId="6549"/>
          <ac:spMkLst>
            <pc:docMk/>
            <pc:sldMk cId="548472017" sldId="871"/>
            <ac:spMk id="180"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irtualBox</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Cisco 9800-CL</a:t>
          </a:r>
          <a:endParaRPr lang="en-US" sz="1400"/>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64950520-C93D-4988-812D-5ACB1AD6714C}">
      <dgm:prSet custT="1"/>
      <dgm:spPr>
        <a:solidFill>
          <a:schemeClr val="bg2">
            <a:alpha val="90000"/>
          </a:schemeClr>
        </a:solidFill>
        <a:ln>
          <a:noFill/>
        </a:ln>
      </dgm:spPr>
      <dgm:t>
        <a:bodyPr/>
        <a:lstStyle/>
        <a:p>
          <a:pPr>
            <a:buFont typeface="Arial" panose="020B0604020202020204" pitchFamily="34" charset="0"/>
            <a:buChar char="•"/>
          </a:pPr>
          <a:r>
            <a:rPr lang="nb-NO" sz="1400" b="0" i="0" dirty="0" err="1"/>
            <a:t>Get</a:t>
          </a:r>
          <a:r>
            <a:rPr lang="nb-NO" sz="1400" b="0" i="0" dirty="0"/>
            <a:t> to </a:t>
          </a:r>
          <a:r>
            <a:rPr lang="nb-NO" sz="1400" b="0" i="0" dirty="0" err="1"/>
            <a:t>know</a:t>
          </a:r>
          <a:r>
            <a:rPr lang="nb-NO" sz="1400" b="0" i="0" dirty="0"/>
            <a:t> </a:t>
          </a:r>
          <a:r>
            <a:rPr lang="nb-NO" sz="1400" b="0" i="0" dirty="0" err="1"/>
            <a:t>the</a:t>
          </a:r>
          <a:r>
            <a:rPr lang="nb-NO" sz="1400" b="0" i="0" dirty="0"/>
            <a:t> lab </a:t>
          </a:r>
          <a:r>
            <a:rPr lang="nb-NO" sz="1400" b="0" i="0" dirty="0" err="1"/>
            <a:t>environment</a:t>
          </a:r>
          <a:endParaRPr lang="en-US" sz="1400" dirty="0"/>
        </a:p>
      </dgm:t>
    </dgm:pt>
    <dgm:pt modelId="{63EF03F0-1C9A-4F0F-A8A4-F84EC8D84D87}" type="parTrans" cxnId="{9E718BBB-1F79-495D-9CDC-0A5C52FC4F77}">
      <dgm:prSet/>
      <dgm:spPr/>
      <dgm:t>
        <a:bodyPr/>
        <a:lstStyle/>
        <a:p>
          <a:endParaRPr lang="en-US"/>
        </a:p>
      </dgm:t>
    </dgm:pt>
    <dgm:pt modelId="{4EC32282-578A-4C3F-819D-F2728A150B08}" type="sibTrans" cxnId="{9E718BBB-1F79-495D-9CDC-0A5C52FC4F77}">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en-US" sz="1400" dirty="0"/>
            <a:t>Finish the pre-lab tasks</a:t>
          </a:r>
        </a:p>
      </dgm:t>
    </dgm:pt>
    <dgm:pt modelId="{4B1FCEC9-0E53-47B9-A763-CFDC09129998}" type="parTrans" cxnId="{EC220732-0B39-46D4-8B21-D69F970BDAA1}">
      <dgm:prSet/>
      <dgm:spPr/>
      <dgm:t>
        <a:bodyPr/>
        <a:lstStyle/>
        <a:p>
          <a:endParaRPr lang="nb-NO"/>
        </a:p>
      </dgm:t>
    </dgm:pt>
    <dgm:pt modelId="{3F09F83A-7B23-480C-8977-8F84A5569196}" type="sibTrans" cxnId="{EC220732-0B39-46D4-8B21-D69F970BDAA1}">
      <dgm:prSet/>
      <dgm:spPr/>
      <dgm:t>
        <a:bodyPr/>
        <a:lstStyle/>
        <a:p>
          <a:endParaRPr lang="nb-NO"/>
        </a:p>
      </dgm:t>
    </dgm:pt>
    <dgm:pt modelId="{DC378913-C20F-43DD-975E-FF436C43D2DD}">
      <dgm:prSet custT="1"/>
      <dgm:spPr>
        <a:solidFill>
          <a:schemeClr val="bg2">
            <a:alpha val="90000"/>
          </a:schemeClr>
        </a:solidFill>
        <a:ln>
          <a:noFill/>
        </a:ln>
      </dgm:spPr>
      <dgm:t>
        <a:bodyPr/>
        <a:lstStyle/>
        <a:p>
          <a:pPr>
            <a:buFont typeface="Arial" panose="020B0604020202020204" pitchFamily="34" charset="0"/>
            <a:buChar char="•"/>
          </a:pPr>
          <a:r>
            <a:rPr lang="en-US" sz="1400"/>
            <a:t>Configure your AP</a:t>
          </a:r>
        </a:p>
      </dgm:t>
    </dgm:pt>
    <dgm:pt modelId="{DD195994-7A27-47E6-95EE-E97F854A567E}" type="parTrans" cxnId="{F39EB9D6-CAEF-4639-A214-5AE5B47A6299}">
      <dgm:prSet/>
      <dgm:spPr/>
      <dgm:t>
        <a:bodyPr/>
        <a:lstStyle/>
        <a:p>
          <a:endParaRPr lang="nb-NO"/>
        </a:p>
      </dgm:t>
    </dgm:pt>
    <dgm:pt modelId="{A7064838-1A26-4C35-B050-466B53D9A23B}" type="sibTrans" cxnId="{F39EB9D6-CAEF-4639-A214-5AE5B47A6299}">
      <dgm:prSet/>
      <dgm:spPr/>
      <dgm:t>
        <a:bodyPr/>
        <a:lstStyle/>
        <a:p>
          <a:endParaRPr lang="nb-NO"/>
        </a:p>
      </dgm:t>
    </dgm:pt>
    <dgm:pt modelId="{2975D02D-8416-42D5-80C1-7DBE52C68B0C}">
      <dgm:prSet custT="1"/>
      <dgm:spPr>
        <a:solidFill>
          <a:schemeClr val="bg2">
            <a:alpha val="90000"/>
          </a:schemeClr>
        </a:solidFill>
        <a:ln>
          <a:noFill/>
        </a:ln>
      </dgm:spPr>
      <dgm:t>
        <a:bodyPr/>
        <a:lstStyle/>
        <a:p>
          <a:pPr>
            <a:buFont typeface="Arial" panose="020B0604020202020204" pitchFamily="34" charset="0"/>
            <a:buChar char="•"/>
          </a:pPr>
          <a:r>
            <a:rPr lang="en-US" sz="1400" dirty="0"/>
            <a:t>Explore Postman</a:t>
          </a:r>
        </a:p>
      </dgm:t>
    </dgm:pt>
    <dgm:pt modelId="{CB33D5D9-E399-4236-928C-518F85721CFC}" type="parTrans" cxnId="{432419BB-1521-49EC-91FC-4B3036C2BFF3}">
      <dgm:prSet/>
      <dgm:spPr/>
      <dgm:t>
        <a:bodyPr/>
        <a:lstStyle/>
        <a:p>
          <a:endParaRPr lang="nb-NO"/>
        </a:p>
      </dgm:t>
    </dgm:pt>
    <dgm:pt modelId="{44AD649D-2808-4F31-9EA1-55E154E380FC}" type="sibTrans" cxnId="{432419BB-1521-49EC-91FC-4B3036C2BFF3}">
      <dgm:prSet/>
      <dgm:spPr/>
      <dgm:t>
        <a:bodyPr/>
        <a:lstStyle/>
        <a:p>
          <a:endParaRPr lang="nb-NO"/>
        </a:p>
      </dgm:t>
    </dgm:pt>
    <dgm:pt modelId="{C855847A-084C-4518-8659-EEDD7C50C25E}">
      <dgm:prSet custT="1"/>
      <dgm:spPr>
        <a:solidFill>
          <a:schemeClr val="bg2">
            <a:alpha val="90000"/>
          </a:schemeClr>
        </a:solidFill>
        <a:ln>
          <a:noFill/>
        </a:ln>
      </dgm:spPr>
      <dgm:t>
        <a:bodyPr/>
        <a:lstStyle/>
        <a:p>
          <a:pPr>
            <a:buFont typeface="Arial" panose="020B0604020202020204" pitchFamily="34" charset="0"/>
            <a:buChar char="•"/>
          </a:pPr>
          <a:r>
            <a:rPr lang="en-US" sz="1400" dirty="0"/>
            <a:t>Install and explore Grafana</a:t>
          </a:r>
        </a:p>
      </dgm:t>
    </dgm:pt>
    <dgm:pt modelId="{F9EBE88B-35CC-48FA-9682-4E4EB18193F0}" type="parTrans" cxnId="{CC7BF4AE-D239-472D-9C2B-F98C83EA0A56}">
      <dgm:prSet/>
      <dgm:spPr/>
      <dgm:t>
        <a:bodyPr/>
        <a:lstStyle/>
        <a:p>
          <a:endParaRPr lang="nb-NO"/>
        </a:p>
      </dgm:t>
    </dgm:pt>
    <dgm:pt modelId="{FEBA4653-D8EA-4D24-9FDB-5839A23C8089}" type="sibTrans" cxnId="{CC7BF4AE-D239-472D-9C2B-F98C83EA0A56}">
      <dgm:prSet/>
      <dgm:spPr/>
      <dgm:t>
        <a:bodyPr/>
        <a:lstStyle/>
        <a:p>
          <a:endParaRPr lang="nb-NO"/>
        </a:p>
      </dgm:t>
    </dgm:pt>
    <dgm:pt modelId="{5A3A818B-4C32-4718-A58B-8604E9C4D300}">
      <dgm:prSet custT="1"/>
      <dgm:spPr>
        <a:solidFill>
          <a:schemeClr val="bg2">
            <a:alpha val="90000"/>
          </a:schemeClr>
        </a:solidFill>
        <a:ln>
          <a:noFill/>
        </a:ln>
      </dgm:spPr>
      <dgm:t>
        <a:bodyPr/>
        <a:lstStyle/>
        <a:p>
          <a:pPr>
            <a:buFont typeface="Arial" panose="020B0604020202020204" pitchFamily="34" charset="0"/>
            <a:buChar char="•"/>
          </a:pPr>
          <a:endParaRPr lang="en-US" sz="1400" dirty="0"/>
        </a:p>
      </dgm:t>
    </dgm:pt>
    <dgm:pt modelId="{4964E7BD-3E3A-4E17-BBBF-F7C031EF2D26}" type="parTrans" cxnId="{0E8E3DE8-4708-4CC2-9051-9516AAA0461E}">
      <dgm:prSet/>
      <dgm:spPr/>
      <dgm:t>
        <a:bodyPr/>
        <a:lstStyle/>
        <a:p>
          <a:endParaRPr lang="nb-NO"/>
        </a:p>
      </dgm:t>
    </dgm:pt>
    <dgm:pt modelId="{290E545C-E418-4126-896E-2A8D8FEE12CA}" type="sibTrans" cxnId="{0E8E3DE8-4708-4CC2-9051-9516AAA0461E}">
      <dgm:prSet/>
      <dgm:spPr/>
      <dgm:t>
        <a:bodyPr/>
        <a:lstStyle/>
        <a:p>
          <a:endParaRPr lang="nb-NO"/>
        </a:p>
      </dgm:t>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t>
        <a:bodyPr/>
        <a:lstStyle/>
        <a:p>
          <a:endParaRPr lang="nb-NO"/>
        </a:p>
      </dgm:t>
    </dgm:pt>
    <dgm:pt modelId="{802857AE-3EA6-413A-8D63-20C71311AF2E}" type="sibTrans" cxnId="{7DDFC2F2-7251-4D2A-A760-FC9536D49238}">
      <dgm:prSet/>
      <dgm:spPr/>
      <dgm:t>
        <a:bodyPr/>
        <a:lstStyle/>
        <a:p>
          <a:endParaRPr lang="nb-NO"/>
        </a:p>
      </dgm:t>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t>
        <a:bodyPr/>
        <a:lstStyle/>
        <a:p>
          <a:endParaRPr lang="nb-NO"/>
        </a:p>
      </dgm:t>
    </dgm:pt>
    <dgm:pt modelId="{3AC6BCC5-CDB5-4EF1-95FE-DE298F508A26}" type="sibTrans" cxnId="{65F93183-DC02-449D-B1CB-6F38E094D6EE}">
      <dgm:prSet/>
      <dgm:spPr/>
      <dgm:t>
        <a:bodyPr/>
        <a:lstStyle/>
        <a:p>
          <a:endParaRPr lang="nb-NO"/>
        </a:p>
      </dgm:t>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t>
        <a:bodyPr/>
        <a:lstStyle/>
        <a:p>
          <a:endParaRPr lang="nb-NO"/>
        </a:p>
      </dgm:t>
    </dgm:pt>
    <dgm:pt modelId="{B4588A4A-4864-4886-9DB2-E397A5983FF9}" type="sibTrans" cxnId="{BFA91DF8-2620-4CD8-A7FD-BE9DF3DA8464}">
      <dgm:prSet/>
      <dgm:spPr/>
      <dgm:t>
        <a:bodyPr/>
        <a:lstStyle/>
        <a:p>
          <a:endParaRPr lang="nb-NO"/>
        </a:p>
      </dgm:t>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t>
        <a:bodyPr/>
        <a:lstStyle/>
        <a:p>
          <a:endParaRPr lang="nb-NO"/>
        </a:p>
      </dgm:t>
    </dgm:pt>
    <dgm:pt modelId="{248E8744-143D-4A0C-9FC3-F10769FE99F3}" type="sibTrans" cxnId="{09399753-53FE-4E7C-8BEC-4C3CB3A7F5C3}">
      <dgm:prSet/>
      <dgm:spPr/>
      <dgm:t>
        <a:bodyPr/>
        <a:lstStyle/>
        <a:p>
          <a:endParaRPr lang="nb-NO"/>
        </a:p>
      </dgm:t>
    </dgm:pt>
    <dgm:pt modelId="{9F84514E-BB33-443A-B632-581CEE10071C}">
      <dgm:prSet custT="1"/>
      <dgm:spPr>
        <a:solidFill>
          <a:schemeClr val="bg2">
            <a:alpha val="90000"/>
          </a:schemeClr>
        </a:solidFill>
        <a:ln>
          <a:noFill/>
        </a:ln>
      </dgm:spPr>
      <dgm:t>
        <a:bodyPr/>
        <a:lstStyle/>
        <a:p>
          <a:r>
            <a:rPr lang="en-US" sz="1400"/>
            <a:t>Other vendors (MIST? Meraki?)</a:t>
          </a:r>
        </a:p>
      </dgm:t>
    </dgm:pt>
    <dgm:pt modelId="{BB9FF251-ED60-498F-8B6E-714105D07086}" type="parTrans" cxnId="{62DA6E95-3A66-40EF-8CD1-75DA718CE469}">
      <dgm:prSet/>
      <dgm:spPr/>
      <dgm:t>
        <a:bodyPr/>
        <a:lstStyle/>
        <a:p>
          <a:endParaRPr lang="nb-NO"/>
        </a:p>
      </dgm:t>
    </dgm:pt>
    <dgm:pt modelId="{19B41A15-02EC-4299-9D45-8D0095607E19}" type="sibTrans" cxnId="{62DA6E95-3A66-40EF-8CD1-75DA718CE469}">
      <dgm:prSet/>
      <dgm:spPr/>
      <dgm:t>
        <a:bodyPr/>
        <a:lstStyle/>
        <a:p>
          <a:endParaRPr lang="nb-NO"/>
        </a:p>
      </dgm:t>
    </dgm:pt>
    <dgm:pt modelId="{E23980E9-7180-4CD0-A03E-54FB9F5A76CB}">
      <dgm:prSet custT="1"/>
      <dgm:spPr>
        <a:solidFill>
          <a:schemeClr val="bg2">
            <a:alpha val="90000"/>
          </a:schemeClr>
        </a:solidFill>
        <a:ln>
          <a:noFill/>
        </a:ln>
      </dgm:spPr>
      <dgm:t>
        <a:bodyPr/>
        <a:lstStyle/>
        <a:p>
          <a:pPr>
            <a:buFont typeface="Arial" panose="020B0604020202020204" pitchFamily="34" charset="0"/>
            <a:buChar char="•"/>
          </a:pPr>
          <a:r>
            <a:rPr lang="en-US" sz="1400" dirty="0"/>
            <a:t>Connect VS Code to Ubuntu</a:t>
          </a:r>
        </a:p>
      </dgm:t>
    </dgm:pt>
    <dgm:pt modelId="{8A58353D-9B5C-47AF-8000-17E3B9BAACEF}" type="parTrans" cxnId="{E9EBD511-EBDA-4D46-ADFC-99ABEC4C47DE}">
      <dgm:prSet/>
      <dgm:spPr/>
      <dgm:t>
        <a:bodyPr/>
        <a:lstStyle/>
        <a:p>
          <a:endParaRPr lang="nb-NO"/>
        </a:p>
      </dgm:t>
    </dgm:pt>
    <dgm:pt modelId="{CA87922D-FBF8-45F5-ABF2-550597941418}" type="sibTrans" cxnId="{E9EBD511-EBDA-4D46-ADFC-99ABEC4C47DE}">
      <dgm:prSet/>
      <dgm:spPr/>
      <dgm:t>
        <a:bodyPr/>
        <a:lstStyle/>
        <a:p>
          <a:endParaRPr lang="nb-NO"/>
        </a:p>
      </dgm:t>
    </dgm:pt>
    <dgm:pt modelId="{F7550252-4A9E-49A9-B1A6-C04A833840B8}">
      <dgm:prSet custT="1"/>
      <dgm:spPr/>
      <dgm:t>
        <a:bodyPr/>
        <a:lstStyle/>
        <a:p>
          <a:pPr>
            <a:buFont typeface="Arial" panose="020B0604020202020204" pitchFamily="34" charset="0"/>
            <a:buChar char="•"/>
          </a:pPr>
          <a:r>
            <a:rPr lang="nb-NO" sz="1400" dirty="0"/>
            <a:t>Install and explore Ansible</a:t>
          </a:r>
        </a:p>
      </dgm:t>
    </dgm:pt>
    <dgm:pt modelId="{DFBEC150-0F62-4617-8058-8D84262B7394}" type="parTrans" cxnId="{254F50C7-F020-4FE8-B63C-7B6019894F56}">
      <dgm:prSet/>
      <dgm:spPr/>
      <dgm:t>
        <a:bodyPr/>
        <a:lstStyle/>
        <a:p>
          <a:endParaRPr lang="nb-NO"/>
        </a:p>
      </dgm:t>
    </dgm:pt>
    <dgm:pt modelId="{0201FAE3-AB26-4334-9C2C-B2D631D4877D}" type="sibTrans" cxnId="{254F50C7-F020-4FE8-B63C-7B6019894F56}">
      <dgm:prSet/>
      <dgm:spPr/>
      <dgm:t>
        <a:bodyPr/>
        <a:lstStyle/>
        <a:p>
          <a:endParaRPr lang="nb-NO"/>
        </a:p>
      </dgm:t>
    </dgm:pt>
    <dgm:pt modelId="{CD0A67B6-4DB9-43F1-9EEF-E692CAAF583C}">
      <dgm:prSet custT="1"/>
      <dgm:spPr/>
      <dgm:t>
        <a:bodyPr/>
        <a:lstStyle/>
        <a:p>
          <a:pPr>
            <a:buFont typeface="Arial" panose="020B0604020202020204" pitchFamily="34" charset="0"/>
            <a:buChar char="•"/>
          </a:pPr>
          <a:r>
            <a:rPr lang="nb-NO" sz="1400" dirty="0"/>
            <a:t>Explore Python automation</a:t>
          </a:r>
        </a:p>
      </dgm:t>
    </dgm:pt>
    <dgm:pt modelId="{3D0801BD-1038-4F6B-909C-347988AA0C5B}" type="parTrans" cxnId="{EB429E28-FD81-4955-B56E-993FCC5ADE4E}">
      <dgm:prSet/>
      <dgm:spPr/>
      <dgm:t>
        <a:bodyPr/>
        <a:lstStyle/>
        <a:p>
          <a:endParaRPr lang="nb-NO"/>
        </a:p>
      </dgm:t>
    </dgm:pt>
    <dgm:pt modelId="{E53181F6-63FA-4A6F-B1D1-36C810C1EAC5}" type="sibTrans" cxnId="{EB429E28-FD81-4955-B56E-993FCC5ADE4E}">
      <dgm:prSet/>
      <dgm:spPr/>
      <dgm:t>
        <a:bodyPr/>
        <a:lstStyle/>
        <a:p>
          <a:endParaRPr lang="nb-NO"/>
        </a:p>
      </dgm:t>
    </dgm:pt>
    <dgm:pt modelId="{82B88E80-510E-45A0-B321-A95868CE0E4C}">
      <dgm:prSet custT="1"/>
      <dgm:spPr/>
      <dgm:t>
        <a:bodyPr/>
        <a:lstStyle/>
        <a:p>
          <a:pPr>
            <a:buFont typeface="Arial" panose="020B0604020202020204" pitchFamily="34" charset="0"/>
            <a:buChar char="•"/>
          </a:pPr>
          <a:r>
            <a:rPr lang="en-US" sz="1400" dirty="0"/>
            <a:t>Install and explore YANG Suite</a:t>
          </a:r>
          <a:endParaRPr lang="nb-NO" sz="1400" dirty="0"/>
        </a:p>
      </dgm:t>
    </dgm:pt>
    <dgm:pt modelId="{B32EFE30-0758-4BD7-AC69-7DE4309FA183}" type="parTrans" cxnId="{F6E72F00-CEA1-48BE-BB93-C40C986CDD14}">
      <dgm:prSet/>
      <dgm:spPr/>
      <dgm:t>
        <a:bodyPr/>
        <a:lstStyle/>
        <a:p>
          <a:endParaRPr lang="nb-NO"/>
        </a:p>
      </dgm:t>
    </dgm:pt>
    <dgm:pt modelId="{9133AED9-0C51-48EF-A19A-5503E29A4D36}" type="sibTrans" cxnId="{F6E72F00-CEA1-48BE-BB93-C40C986CDD14}">
      <dgm:prSet/>
      <dgm:spPr/>
      <dgm:t>
        <a:bodyPr/>
        <a:lstStyle/>
        <a:p>
          <a:endParaRPr lang="nb-NO"/>
        </a:p>
      </dgm:t>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dgm:presLayoutVars>
          <dgm:bulletEnabled val="1"/>
        </dgm:presLayoutVars>
      </dgm:prSet>
      <dgm:spPr/>
    </dgm:pt>
  </dgm:ptLst>
  <dgm:cxnLst>
    <dgm:cxn modelId="{F6E72F00-CEA1-48BE-BB93-C40C986CDD14}" srcId="{1FBF17A6-ED3B-44D9-B750-4ACF386F5D47}" destId="{82B88E80-510E-45A0-B321-A95868CE0E4C}" srcOrd="6" destOrd="0" parTransId="{B32EFE30-0758-4BD7-AC69-7DE4309FA183}" sibTransId="{9133AED9-0C51-48EF-A19A-5503E29A4D36}"/>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A1FF430E-5D10-4461-B11E-2C879047A042}" type="presOf" srcId="{82B88E80-510E-45A0-B321-A95868CE0E4C}" destId="{EE808BBF-4C4F-458F-906E-6E3A116EF899}" srcOrd="0" destOrd="6" presId="urn:microsoft.com/office/officeart/2005/8/layout/hList1"/>
    <dgm:cxn modelId="{E9EBD511-EBDA-4D46-ADFC-99ABEC4C47DE}" srcId="{1FBF17A6-ED3B-44D9-B750-4ACF386F5D47}" destId="{E23980E9-7180-4CD0-A03E-54FB9F5A76CB}" srcOrd="3" destOrd="0" parTransId="{8A58353D-9B5C-47AF-8000-17E3B9BAACEF}" sibTransId="{CA87922D-FBF8-45F5-ABF2-550597941418}"/>
    <dgm:cxn modelId="{5F004E15-61A3-402B-99A7-BD0A87FAB1ED}" type="presOf" srcId="{2975D02D-8416-42D5-80C1-7DBE52C68B0C}" destId="{EE808BBF-4C4F-458F-906E-6E3A116EF899}" srcOrd="0" destOrd="7"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459DA023-589E-4E25-ACC8-3A4F8E4B042A}" type="presOf" srcId="{F7550252-4A9E-49A9-B1A6-C04A833840B8}" destId="{EE808BBF-4C4F-458F-906E-6E3A116EF899}" srcOrd="0" destOrd="4" presId="urn:microsoft.com/office/officeart/2005/8/layout/hList1"/>
    <dgm:cxn modelId="{EB429E28-FD81-4955-B56E-993FCC5ADE4E}" srcId="{1FBF17A6-ED3B-44D9-B750-4ACF386F5D47}" destId="{CD0A67B6-4DB9-43F1-9EEF-E692CAAF583C}" srcOrd="5" destOrd="0" parTransId="{3D0801BD-1038-4F6B-909C-347988AA0C5B}" sibTransId="{E53181F6-63FA-4A6F-B1D1-36C810C1EAC5}"/>
    <dgm:cxn modelId="{EC220732-0B39-46D4-8B21-D69F970BDAA1}" srcId="{1FBF17A6-ED3B-44D9-B750-4ACF386F5D47}" destId="{1ADCAFE7-2BA6-44FA-814D-174884743D1F}" srcOrd="0" destOrd="0" parTransId="{4B1FCEC9-0E53-47B9-A763-CFDC09129998}" sibTransId="{3F09F83A-7B23-480C-8977-8F84A5569196}"/>
    <dgm:cxn modelId="{1ED7F863-A921-4DDC-AD43-46E3B74503C3}" type="presOf" srcId="{1FBF17A6-ED3B-44D9-B750-4ACF386F5D47}" destId="{2DD4E8E4-D05A-431D-8032-66D6B9096BBB}" srcOrd="0" destOrd="0" presId="urn:microsoft.com/office/officeart/2005/8/layout/hList1"/>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3" presId="urn:microsoft.com/office/officeart/2005/8/layout/hList1"/>
    <dgm:cxn modelId="{7B254C4B-51CC-456A-9FC8-E5A205FE3014}" type="presOf" srcId="{7C3A528D-159C-4099-82E0-9B7ADF001C57}" destId="{AB4963A6-6367-4ABA-9FA6-DBB49575AEB9}" srcOrd="0" destOrd="4" presId="urn:microsoft.com/office/officeart/2005/8/layout/hList1"/>
    <dgm:cxn modelId="{3CF9886B-8851-40E2-9F47-D96A4559F182}" srcId="{6385F6C3-F549-4EF7-8A7B-E908A426392C}" destId="{7C3A528D-159C-4099-82E0-9B7ADF001C57}" srcOrd="4"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E8554878-24F6-47BF-88CC-73A6B15C3621}" srcId="{6385F6C3-F549-4EF7-8A7B-E908A426392C}" destId="{D9304394-5752-48C9-8CCC-5CA5802FCDD5}" srcOrd="3"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7E8B9988-B8BD-46ED-95E2-8870BC32CE8B}" type="presOf" srcId="{C855847A-084C-4518-8659-EEDD7C50C25E}" destId="{EE808BBF-4C4F-458F-906E-6E3A116EF899}" srcOrd="0" destOrd="8" presId="urn:microsoft.com/office/officeart/2005/8/layout/hList1"/>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74003792-32CF-4E2D-963D-F8FA03AFC86E}" type="presOf" srcId="{CD0A67B6-4DB9-43F1-9EEF-E692CAAF583C}" destId="{EE808BBF-4C4F-458F-906E-6E3A116EF899}" srcOrd="0" destOrd="5" presId="urn:microsoft.com/office/officeart/2005/8/layout/hList1"/>
    <dgm:cxn modelId="{D0787E93-59A4-42F4-B623-1EE07C1D1B63}" srcId="{6385F6C3-F549-4EF7-8A7B-E908A426392C}" destId="{521E6C39-7EF3-4C0D-8E1A-4C2B00C81BA8}" srcOrd="1" destOrd="0" parTransId="{5DCB1E01-263A-4B38-8591-8B2A775B560C}" sibTransId="{A7404071-901A-462E-852A-86ED4310D630}"/>
    <dgm:cxn modelId="{62DA6E95-3A66-40EF-8CD1-75DA718CE469}" srcId="{20A69F0E-3B11-4449-960F-A8F000473A04}" destId="{9F84514E-BB33-443A-B632-581CEE10071C}" srcOrd="4" destOrd="0" parTransId="{BB9FF251-ED60-498F-8B6E-714105D07086}" sibTransId="{19B41A15-02EC-4299-9D45-8D0095607E19}"/>
    <dgm:cxn modelId="{0CDCC795-837C-4B1B-ACE2-F933B1FAB644}" type="presOf" srcId="{E23980E9-7180-4CD0-A03E-54FB9F5A76CB}" destId="{EE808BBF-4C4F-458F-906E-6E3A116EF899}" srcOrd="0" destOrd="3" presId="urn:microsoft.com/office/officeart/2005/8/layout/hList1"/>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1F4AB1A3-DC3E-4BD7-AAA6-DC7A012DAC0A}" type="presOf" srcId="{DC378913-C20F-43DD-975E-FF436C43D2DD}" destId="{EE808BBF-4C4F-458F-906E-6E3A116EF899}" srcOrd="0" destOrd="2" presId="urn:microsoft.com/office/officeart/2005/8/layout/hList1"/>
    <dgm:cxn modelId="{CC7BF4AE-D239-472D-9C2B-F98C83EA0A56}" srcId="{1FBF17A6-ED3B-44D9-B750-4ACF386F5D47}" destId="{C855847A-084C-4518-8659-EEDD7C50C25E}" srcOrd="8" destOrd="0" parTransId="{F9EBE88B-35CC-48FA-9682-4E4EB18193F0}" sibTransId="{FEBA4653-D8EA-4D24-9FDB-5839A23C8089}"/>
    <dgm:cxn modelId="{432419BB-1521-49EC-91FC-4B3036C2BFF3}" srcId="{1FBF17A6-ED3B-44D9-B750-4ACF386F5D47}" destId="{2975D02D-8416-42D5-80C1-7DBE52C68B0C}" srcOrd="7" destOrd="0" parTransId="{CB33D5D9-E399-4236-928C-518F85721CFC}" sibTransId="{44AD649D-2808-4F31-9EA1-55E154E380FC}"/>
    <dgm:cxn modelId="{9E718BBB-1F79-495D-9CDC-0A5C52FC4F77}" srcId="{1FBF17A6-ED3B-44D9-B750-4ACF386F5D47}" destId="{64950520-C93D-4988-812D-5ACB1AD6714C}" srcOrd="1" destOrd="0" parTransId="{63EF03F0-1C9A-4F0F-A8A4-F84EC8D84D87}" sibTransId="{4EC32282-578A-4C3F-819D-F2728A150B08}"/>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2" destOrd="0" parTransId="{F4D458CA-9A69-449E-96AA-8B0C60972DD5}" sibTransId="{07DD7030-3760-4850-866A-F29D885DD7C5}"/>
    <dgm:cxn modelId="{254F50C7-F020-4FE8-B63C-7B6019894F56}" srcId="{1FBF17A6-ED3B-44D9-B750-4ACF386F5D47}" destId="{F7550252-4A9E-49A9-B1A6-C04A833840B8}" srcOrd="4" destOrd="0" parTransId="{DFBEC150-0F62-4617-8058-8D84262B7394}" sibTransId="{0201FAE3-AB26-4334-9C2C-B2D631D4877D}"/>
    <dgm:cxn modelId="{394CA5CE-0D4C-461F-8772-488EF78F1F06}" type="presOf" srcId="{521E6C39-7EF3-4C0D-8E1A-4C2B00C81BA8}" destId="{AB4963A6-6367-4ABA-9FA6-DBB49575AEB9}" srcOrd="0" destOrd="1" presId="urn:microsoft.com/office/officeart/2005/8/layout/hList1"/>
    <dgm:cxn modelId="{888174D3-7E2E-4E9C-90EB-7A80FB95E4B7}" type="presOf" srcId="{8275381D-096A-4D8B-94E5-271B830805F5}" destId="{AB4963A6-6367-4ABA-9FA6-DBB49575AEB9}" srcOrd="0" destOrd="2" presId="urn:microsoft.com/office/officeart/2005/8/layout/hList1"/>
    <dgm:cxn modelId="{F39EB9D6-CAEF-4639-A214-5AE5B47A6299}" srcId="{1FBF17A6-ED3B-44D9-B750-4ACF386F5D47}" destId="{DC378913-C20F-43DD-975E-FF436C43D2DD}" srcOrd="2" destOrd="0" parTransId="{DD195994-7A27-47E6-95EE-E97F854A567E}" sibTransId="{A7064838-1A26-4C35-B050-466B53D9A23B}"/>
    <dgm:cxn modelId="{0E8E3DE8-4708-4CC2-9051-9516AAA0461E}" srcId="{1FBF17A6-ED3B-44D9-B750-4ACF386F5D47}" destId="{5A3A818B-4C32-4718-A58B-8604E9C4D300}" srcOrd="9" destOrd="0" parTransId="{4964E7BD-3E3A-4E17-BBBF-F7C031EF2D26}" sibTransId="{290E545C-E418-4126-896E-2A8D8FEE12CA}"/>
    <dgm:cxn modelId="{AC1B3AEA-09AA-48A3-95DE-67A69543D9F2}" type="presOf" srcId="{64950520-C93D-4988-812D-5ACB1AD6714C}" destId="{EE808BBF-4C4F-458F-906E-6E3A116EF899}" srcOrd="0" destOrd="1" presId="urn:microsoft.com/office/officeart/2005/8/layout/hList1"/>
    <dgm:cxn modelId="{BF94BBEF-2A64-40DE-9E46-51F211594CBA}" type="presOf" srcId="{5A3A818B-4C32-4718-A58B-8604E9C4D300}" destId="{EE808BBF-4C4F-458F-906E-6E3A116EF899}" srcOrd="0" destOrd="9" presId="urn:microsoft.com/office/officeart/2005/8/layout/hList1"/>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Ansible</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Run a CLI command</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nb-NO" sz="1400" b="0" i="0"/>
            <a:t>CLI configuration</a:t>
          </a:r>
          <a:endParaRPr lang="en-US" sz="1400"/>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a:t>Using Jinja2 templates</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a:t>Using RESTCONF</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a:t>Write your own modul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Python</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Grafana</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5A3A818B-4C32-4718-A58B-8604E9C4D300}">
      <dgm:prSet custT="1"/>
      <dgm:spPr>
        <a:solidFill>
          <a:schemeClr val="bg2">
            <a:alpha val="90000"/>
          </a:schemeClr>
        </a:solidFill>
        <a:ln>
          <a:noFill/>
        </a:ln>
      </dgm:spPr>
      <dgm:t>
        <a:bodyPr/>
        <a:lstStyle/>
        <a:p>
          <a:pPr>
            <a:buFont typeface="Arial" panose="020B0604020202020204" pitchFamily="34" charset="0"/>
            <a:buChar char="•"/>
          </a:pPr>
          <a:r>
            <a:rPr lang="en-US" sz="1400"/>
            <a:t>Using Netmiko</a:t>
          </a:r>
          <a:endParaRPr lang="en-US" sz="1400" dirty="0"/>
        </a:p>
      </dgm:t>
    </dgm:pt>
    <dgm:pt modelId="{4964E7BD-3E3A-4E17-BBBF-F7C031EF2D26}" type="parTrans" cxnId="{0E8E3DE8-4708-4CC2-9051-9516AAA0461E}">
      <dgm:prSet/>
      <dgm:spPr/>
      <dgm:t>
        <a:bodyPr/>
        <a:lstStyle/>
        <a:p>
          <a:endParaRPr lang="nb-NO"/>
        </a:p>
      </dgm:t>
    </dgm:pt>
    <dgm:pt modelId="{290E545C-E418-4126-896E-2A8D8FEE12CA}" type="sibTrans" cxnId="{0E8E3DE8-4708-4CC2-9051-9516AAA0461E}">
      <dgm:prSet/>
      <dgm:spPr/>
      <dgm:t>
        <a:bodyPr/>
        <a:lstStyle/>
        <a:p>
          <a:endParaRPr lang="nb-NO"/>
        </a:p>
      </dgm:t>
    </dgm:pt>
    <dgm:pt modelId="{474C77D4-B5D9-4FCD-9280-FD69401B456A}">
      <dgm:prSet custT="1"/>
      <dgm:spPr>
        <a:solidFill>
          <a:schemeClr val="bg2">
            <a:alpha val="90000"/>
          </a:schemeClr>
        </a:solidFill>
        <a:ln>
          <a:noFill/>
        </a:ln>
      </dgm:spPr>
      <dgm:t>
        <a:bodyPr/>
        <a:lstStyle/>
        <a:p>
          <a:pPr>
            <a:buFont typeface="Arial" panose="020B0604020202020204" pitchFamily="34" charset="0"/>
            <a:buChar char="•"/>
          </a:pPr>
          <a:r>
            <a:rPr lang="en-US" sz="1400"/>
            <a:t>RESTCONF + own module</a:t>
          </a:r>
        </a:p>
      </dgm:t>
    </dgm:pt>
    <dgm:pt modelId="{38D21209-B954-4277-A1DF-893B5B8C89C6}" type="parTrans" cxnId="{C9DA88A2-BBD4-436A-8A8E-1260F1CFC9B4}">
      <dgm:prSet/>
      <dgm:spPr/>
      <dgm:t>
        <a:bodyPr/>
        <a:lstStyle/>
        <a:p>
          <a:endParaRPr lang="nb-NO"/>
        </a:p>
      </dgm:t>
    </dgm:pt>
    <dgm:pt modelId="{1F803F4F-DEF4-4542-9E0C-D5D356FF3B56}" type="sibTrans" cxnId="{C9DA88A2-BBD4-436A-8A8E-1260F1CFC9B4}">
      <dgm:prSet/>
      <dgm:spPr/>
      <dgm:t>
        <a:bodyPr/>
        <a:lstStyle/>
        <a:p>
          <a:endParaRPr lang="nb-NO"/>
        </a:p>
      </dgm:t>
    </dgm:pt>
    <dgm:pt modelId="{DEDA1759-2E1B-4424-8B44-943E8A271F83}">
      <dgm:prSet custT="1"/>
      <dgm:spPr>
        <a:solidFill>
          <a:schemeClr val="bg2">
            <a:alpha val="90000"/>
          </a:schemeClr>
        </a:solidFill>
        <a:ln>
          <a:noFill/>
        </a:ln>
      </dgm:spPr>
      <dgm:t>
        <a:bodyPr/>
        <a:lstStyle/>
        <a:p>
          <a:pPr>
            <a:buFont typeface="Arial" panose="020B0604020202020204" pitchFamily="34" charset="0"/>
            <a:buChar char="•"/>
          </a:pPr>
          <a:r>
            <a:rPr lang="en-US" sz="1400"/>
            <a:t>Organizing projects</a:t>
          </a:r>
        </a:p>
      </dgm:t>
    </dgm:pt>
    <dgm:pt modelId="{D0E84ED6-599E-4159-83AB-0524A9856C79}" type="parTrans" cxnId="{54E8EA64-82C7-4C8E-BD58-5B80B2478945}">
      <dgm:prSet/>
      <dgm:spPr/>
      <dgm:t>
        <a:bodyPr/>
        <a:lstStyle/>
        <a:p>
          <a:endParaRPr lang="nb-NO"/>
        </a:p>
      </dgm:t>
    </dgm:pt>
    <dgm:pt modelId="{CFB3010F-F5BC-40FE-AAB2-7EB3236E9E66}" type="sibTrans" cxnId="{54E8EA64-82C7-4C8E-BD58-5B80B2478945}">
      <dgm:prSet/>
      <dgm:spPr/>
      <dgm:t>
        <a:bodyPr/>
        <a:lstStyle/>
        <a:p>
          <a:endParaRPr lang="nb-NO"/>
        </a:p>
      </dgm:t>
    </dgm:pt>
    <dgm:pt modelId="{CF809745-9DFE-4D0B-8C4B-854CC5ACB00A}">
      <dgm:prSet custT="1"/>
      <dgm:spPr>
        <a:solidFill>
          <a:schemeClr val="bg2">
            <a:alpha val="90000"/>
          </a:schemeClr>
        </a:solidFill>
        <a:ln>
          <a:noFill/>
        </a:ln>
      </dgm:spPr>
      <dgm:t>
        <a:bodyPr/>
        <a:lstStyle/>
        <a:p>
          <a:pPr>
            <a:buFont typeface="Arial" panose="020B0604020202020204" pitchFamily="34" charset="0"/>
            <a:buChar char="•"/>
          </a:pPr>
          <a:r>
            <a:rPr lang="en-US" sz="1400"/>
            <a:t>… more to come</a:t>
          </a:r>
        </a:p>
      </dgm:t>
    </dgm:pt>
    <dgm:pt modelId="{3A8ADA18-895C-49F0-9125-6C1A4FA3DF4A}" type="parTrans" cxnId="{778EB317-3912-4C8A-BFAF-E8AE289B9415}">
      <dgm:prSet/>
      <dgm:spPr/>
      <dgm:t>
        <a:bodyPr/>
        <a:lstStyle/>
        <a:p>
          <a:endParaRPr lang="nb-NO"/>
        </a:p>
      </dgm:t>
    </dgm:pt>
    <dgm:pt modelId="{064428F7-9EB5-4EB5-88E1-F3F58B5E713F}" type="sibTrans" cxnId="{778EB317-3912-4C8A-BFAF-E8AE289B9415}">
      <dgm:prSet/>
      <dgm:spPr/>
      <dgm:t>
        <a:bodyPr/>
        <a:lstStyle/>
        <a:p>
          <a:endParaRPr lang="nb-NO"/>
        </a:p>
      </dgm:t>
    </dgm:pt>
    <dgm:pt modelId="{9272861A-D0BF-46B5-9FA7-8366245DBC52}">
      <dgm:prSet custT="1"/>
      <dgm:spPr>
        <a:solidFill>
          <a:schemeClr val="bg2">
            <a:alpha val="90000"/>
          </a:schemeClr>
        </a:solidFill>
        <a:ln>
          <a:noFill/>
        </a:ln>
      </dgm:spPr>
      <dgm:t>
        <a:bodyPr/>
        <a:lstStyle/>
        <a:p>
          <a:pPr>
            <a:buFont typeface="Arial" panose="020B0604020202020204" pitchFamily="34" charset="0"/>
            <a:buChar char="•"/>
          </a:pPr>
          <a:r>
            <a:rPr lang="en-US" sz="1400"/>
            <a:t>Using RESTCONF</a:t>
          </a:r>
          <a:endParaRPr lang="en-US" sz="1400" dirty="0"/>
        </a:p>
      </dgm:t>
    </dgm:pt>
    <dgm:pt modelId="{44F8F17E-10AB-4181-8D71-5961393BAD11}" type="parTrans" cxnId="{534DBBE5-0D68-484D-BADC-655D3AA11A23}">
      <dgm:prSet/>
      <dgm:spPr/>
      <dgm:t>
        <a:bodyPr/>
        <a:lstStyle/>
        <a:p>
          <a:endParaRPr lang="nb-NO"/>
        </a:p>
      </dgm:t>
    </dgm:pt>
    <dgm:pt modelId="{FF264F1A-951F-4DA7-837C-6F510A9E2966}" type="sibTrans" cxnId="{534DBBE5-0D68-484D-BADC-655D3AA11A23}">
      <dgm:prSet/>
      <dgm:spPr/>
      <dgm:t>
        <a:bodyPr/>
        <a:lstStyle/>
        <a:p>
          <a:endParaRPr lang="nb-NO"/>
        </a:p>
      </dgm:t>
    </dgm:pt>
    <dgm:pt modelId="{D773C720-C640-45A3-9736-2CB25F10B688}">
      <dgm:prSet custT="1"/>
      <dgm:spPr>
        <a:solidFill>
          <a:schemeClr val="bg2">
            <a:alpha val="90000"/>
          </a:schemeClr>
        </a:solidFill>
        <a:ln>
          <a:noFill/>
        </a:ln>
      </dgm:spPr>
      <dgm:t>
        <a:bodyPr/>
        <a:lstStyle/>
        <a:p>
          <a:pPr>
            <a:buFont typeface="Arial" panose="020B0604020202020204" pitchFamily="34" charset="0"/>
            <a:buChar char="•"/>
          </a:pPr>
          <a:r>
            <a:rPr lang="en-US" sz="1400"/>
            <a:t>Get metrics, draw a graph</a:t>
          </a:r>
          <a:endParaRPr lang="en-US" sz="1400" dirty="0"/>
        </a:p>
      </dgm:t>
    </dgm:pt>
    <dgm:pt modelId="{A2D7A975-5B36-45C9-8D1A-F4F797AD9888}" type="parTrans" cxnId="{A14BF803-6E0A-4D55-8896-D122142A1E1B}">
      <dgm:prSet/>
      <dgm:spPr/>
      <dgm:t>
        <a:bodyPr/>
        <a:lstStyle/>
        <a:p>
          <a:endParaRPr lang="nb-NO"/>
        </a:p>
      </dgm:t>
    </dgm:pt>
    <dgm:pt modelId="{559A635C-D4CB-40B9-9E3D-0417DF06F695}" type="sibTrans" cxnId="{A14BF803-6E0A-4D55-8896-D122142A1E1B}">
      <dgm:prSet/>
      <dgm:spPr/>
      <dgm:t>
        <a:bodyPr/>
        <a:lstStyle/>
        <a:p>
          <a:endParaRPr lang="nb-NO"/>
        </a:p>
      </dgm:t>
    </dgm:pt>
    <dgm:pt modelId="{69ADBCCA-6C54-41DB-B6E4-8E51BD443E95}">
      <dgm:prSet custT="1"/>
      <dgm:spPr>
        <a:solidFill>
          <a:schemeClr val="bg2">
            <a:alpha val="90000"/>
          </a:schemeClr>
        </a:solidFill>
        <a:ln>
          <a:noFill/>
        </a:ln>
      </dgm:spPr>
      <dgm:t>
        <a:bodyPr/>
        <a:lstStyle/>
        <a:p>
          <a:pPr>
            <a:buFont typeface="Arial" panose="020B0604020202020204" pitchFamily="34" charset="0"/>
            <a:buChar char="•"/>
          </a:pPr>
          <a:r>
            <a:rPr lang="en-US" sz="1400"/>
            <a:t>Working with AI companions</a:t>
          </a:r>
          <a:endParaRPr lang="en-US" sz="1400" dirty="0"/>
        </a:p>
      </dgm:t>
    </dgm:pt>
    <dgm:pt modelId="{10A4B9DB-C699-4EC0-8E80-29602AC012D2}" type="parTrans" cxnId="{422210E0-8031-4454-9FA4-BDB2A59A432F}">
      <dgm:prSet/>
      <dgm:spPr/>
      <dgm:t>
        <a:bodyPr/>
        <a:lstStyle/>
        <a:p>
          <a:endParaRPr lang="nb-NO"/>
        </a:p>
      </dgm:t>
    </dgm:pt>
    <dgm:pt modelId="{3F7FB87B-8215-42BD-AA44-65CBA37D5D8A}" type="sibTrans" cxnId="{422210E0-8031-4454-9FA4-BDB2A59A432F}">
      <dgm:prSet/>
      <dgm:spPr/>
      <dgm:t>
        <a:bodyPr/>
        <a:lstStyle/>
        <a:p>
          <a:endParaRPr lang="nb-NO"/>
        </a:p>
      </dgm:t>
    </dgm:pt>
    <dgm:pt modelId="{1534B5A7-EF08-4F55-9A93-461E57D2B543}">
      <dgm:prSet custT="1"/>
      <dgm:spPr>
        <a:solidFill>
          <a:schemeClr val="bg2">
            <a:alpha val="90000"/>
          </a:schemeClr>
        </a:solidFill>
        <a:ln>
          <a:noFill/>
        </a:ln>
      </dgm:spPr>
      <dgm:t>
        <a:bodyPr/>
        <a:lstStyle/>
        <a:p>
          <a:pPr>
            <a:buFont typeface="Arial" panose="020B0604020202020204" pitchFamily="34" charset="0"/>
            <a:buChar char="•"/>
          </a:pPr>
          <a:r>
            <a:rPr lang="en-US" sz="1400"/>
            <a:t>Using .env files</a:t>
          </a:r>
          <a:endParaRPr lang="en-US" sz="1400" dirty="0"/>
        </a:p>
      </dgm:t>
    </dgm:pt>
    <dgm:pt modelId="{055EF8E8-4CA0-4D6B-A926-061DFB8BA164}" type="parTrans" cxnId="{99E50012-9B49-447D-9646-949340D778F3}">
      <dgm:prSet/>
      <dgm:spPr/>
      <dgm:t>
        <a:bodyPr/>
        <a:lstStyle/>
        <a:p>
          <a:endParaRPr lang="nb-NO"/>
        </a:p>
      </dgm:t>
    </dgm:pt>
    <dgm:pt modelId="{A084F60A-986B-4171-96F8-98EE0D797DD4}" type="sibTrans" cxnId="{99E50012-9B49-447D-9646-949340D778F3}">
      <dgm:prSet/>
      <dgm:spPr/>
      <dgm:t>
        <a:bodyPr/>
        <a:lstStyle/>
        <a:p>
          <a:endParaRPr lang="nb-NO"/>
        </a:p>
      </dgm:t>
    </dgm:pt>
    <dgm:pt modelId="{37C24F51-4764-49DA-A245-1C8F3DDDDE63}">
      <dgm:prSet custT="1"/>
      <dgm:spPr>
        <a:solidFill>
          <a:schemeClr val="bg2">
            <a:alpha val="90000"/>
          </a:schemeClr>
        </a:solidFill>
        <a:ln>
          <a:noFill/>
        </a:ln>
      </dgm:spPr>
      <dgm:t>
        <a:bodyPr/>
        <a:lstStyle/>
        <a:p>
          <a:pPr>
            <a:buFont typeface="Arial" panose="020B0604020202020204" pitchFamily="34" charset="0"/>
            <a:buChar char="•"/>
          </a:pPr>
          <a:r>
            <a:rPr lang="en-US" sz="1400"/>
            <a:t>Nornir automation framework</a:t>
          </a:r>
          <a:endParaRPr lang="en-US" sz="1400" dirty="0"/>
        </a:p>
      </dgm:t>
    </dgm:pt>
    <dgm:pt modelId="{7A3A694E-BAB7-4C11-BED9-89A1F7EFBD35}" type="parTrans" cxnId="{AF3FFA9C-FBE1-41AA-9024-F3BF450F16B4}">
      <dgm:prSet/>
      <dgm:spPr/>
      <dgm:t>
        <a:bodyPr/>
        <a:lstStyle/>
        <a:p>
          <a:endParaRPr lang="nb-NO"/>
        </a:p>
      </dgm:t>
    </dgm:pt>
    <dgm:pt modelId="{96A7105B-0042-4C02-9AA2-A307A9E632AC}" type="sibTrans" cxnId="{AF3FFA9C-FBE1-41AA-9024-F3BF450F16B4}">
      <dgm:prSet/>
      <dgm:spPr/>
      <dgm:t>
        <a:bodyPr/>
        <a:lstStyle/>
        <a:p>
          <a:endParaRPr lang="nb-NO"/>
        </a:p>
      </dgm:t>
    </dgm:pt>
    <dgm:pt modelId="{EB623AD8-B788-425D-A742-991C9B235B08}">
      <dgm:prSet custT="1"/>
      <dgm:spPr>
        <a:solidFill>
          <a:schemeClr val="bg2">
            <a:alpha val="90000"/>
          </a:schemeClr>
        </a:solidFill>
        <a:ln>
          <a:noFill/>
        </a:ln>
      </dgm:spPr>
      <dgm:t>
        <a:bodyPr/>
        <a:lstStyle/>
        <a:p>
          <a:pPr>
            <a:buFont typeface="Arial" panose="020B0604020202020204" pitchFamily="34" charset="0"/>
            <a:buChar char="•"/>
          </a:pPr>
          <a:r>
            <a:rPr lang="en-US" sz="1400"/>
            <a:t>More Nornir</a:t>
          </a:r>
          <a:endParaRPr lang="en-US" sz="1400" dirty="0"/>
        </a:p>
      </dgm:t>
    </dgm:pt>
    <dgm:pt modelId="{86FD68CD-22C3-4817-A330-77B93E9CC777}" type="parTrans" cxnId="{89021DA9-FD23-42AE-A745-19EEB75BBF9B}">
      <dgm:prSet/>
      <dgm:spPr/>
      <dgm:t>
        <a:bodyPr/>
        <a:lstStyle/>
        <a:p>
          <a:endParaRPr lang="nb-NO"/>
        </a:p>
      </dgm:t>
    </dgm:pt>
    <dgm:pt modelId="{60D8F85A-2274-4E86-8AE7-4E4817F9A19D}" type="sibTrans" cxnId="{89021DA9-FD23-42AE-A745-19EEB75BBF9B}">
      <dgm:prSet/>
      <dgm:spPr/>
      <dgm:t>
        <a:bodyPr/>
        <a:lstStyle/>
        <a:p>
          <a:endParaRPr lang="nb-NO"/>
        </a:p>
      </dgm:t>
    </dgm:pt>
    <dgm:pt modelId="{26969CE9-E826-4E29-8242-D094F00030C3}">
      <dgm:prSet custT="1"/>
      <dgm:spPr>
        <a:solidFill>
          <a:schemeClr val="bg2">
            <a:alpha val="90000"/>
          </a:schemeClr>
        </a:solidFill>
        <a:ln>
          <a:noFill/>
        </a:ln>
      </dgm:spPr>
      <dgm:t>
        <a:bodyPr/>
        <a:lstStyle/>
        <a:p>
          <a:pPr>
            <a:buFont typeface="Arial" panose="020B0604020202020204" pitchFamily="34" charset="0"/>
            <a:buChar char="•"/>
          </a:pPr>
          <a:r>
            <a:rPr lang="en-US" sz="1400"/>
            <a:t>… more to come</a:t>
          </a:r>
          <a:endParaRPr lang="en-US" sz="1400" dirty="0"/>
        </a:p>
      </dgm:t>
    </dgm:pt>
    <dgm:pt modelId="{B1CBDD2A-6BED-48BC-9D77-FAFEF82397C0}" type="parTrans" cxnId="{3A3CC9F0-14F6-43F6-ACC2-13BD26D94E2C}">
      <dgm:prSet/>
      <dgm:spPr/>
      <dgm:t>
        <a:bodyPr/>
        <a:lstStyle/>
        <a:p>
          <a:endParaRPr lang="nb-NO"/>
        </a:p>
      </dgm:t>
    </dgm:pt>
    <dgm:pt modelId="{EB484A5D-41CE-4991-A892-90FE302A9B93}" type="sibTrans" cxnId="{3A3CC9F0-14F6-43F6-ACC2-13BD26D94E2C}">
      <dgm:prSet/>
      <dgm:spPr/>
      <dgm:t>
        <a:bodyPr/>
        <a:lstStyle/>
        <a:p>
          <a:endParaRPr lang="nb-NO"/>
        </a:p>
      </dgm:t>
    </dgm:pt>
    <dgm:pt modelId="{C74BBD22-94CA-4E05-A864-2EF30B5B95CA}">
      <dgm:prSet custT="1"/>
      <dgm:spPr>
        <a:solidFill>
          <a:schemeClr val="bg2">
            <a:alpha val="90000"/>
          </a:schemeClr>
        </a:solidFill>
        <a:ln>
          <a:noFill/>
        </a:ln>
      </dgm:spPr>
      <dgm:t>
        <a:bodyPr/>
        <a:lstStyle/>
        <a:p>
          <a:pPr>
            <a:buFont typeface="Arial" panose="020B0604020202020204" pitchFamily="34" charset="0"/>
            <a:buChar char="•"/>
          </a:pPr>
          <a:r>
            <a:rPr lang="nb-NO" sz="1400"/>
            <a:t>Working with syslog</a:t>
          </a:r>
          <a:endParaRPr lang="en-US" sz="1400"/>
        </a:p>
      </dgm:t>
    </dgm:pt>
    <dgm:pt modelId="{276F2AEE-8584-436A-94B8-4D73B77AEF1F}" type="parTrans" cxnId="{3F8E9A5E-51C7-4C50-884D-29BA95280B9F}">
      <dgm:prSet/>
      <dgm:spPr/>
      <dgm:t>
        <a:bodyPr/>
        <a:lstStyle/>
        <a:p>
          <a:endParaRPr lang="nb-NO"/>
        </a:p>
      </dgm:t>
    </dgm:pt>
    <dgm:pt modelId="{12726D89-0430-4B23-BC59-3315E089788A}" type="sibTrans" cxnId="{3F8E9A5E-51C7-4C50-884D-29BA95280B9F}">
      <dgm:prSet/>
      <dgm:spPr/>
      <dgm:t>
        <a:bodyPr/>
        <a:lstStyle/>
        <a:p>
          <a:endParaRPr lang="nb-NO"/>
        </a:p>
      </dgm:t>
    </dgm:pt>
    <dgm:pt modelId="{BA3B2110-E2AD-4F0A-8BAE-5BD73BB434C1}">
      <dgm:prSet custT="1"/>
      <dgm:spPr/>
      <dgm:t>
        <a:bodyPr/>
        <a:lstStyle/>
        <a:p>
          <a:pPr>
            <a:buFont typeface="Arial" panose="020B0604020202020204" pitchFamily="34" charset="0"/>
            <a:buChar char="•"/>
          </a:pPr>
          <a:r>
            <a:rPr lang="en-US" sz="1400"/>
            <a:t>Finish building your own TIG stack from day 1</a:t>
          </a:r>
          <a:endParaRPr lang="nb-NO" sz="1400"/>
        </a:p>
      </dgm:t>
    </dgm:pt>
    <dgm:pt modelId="{613B2A99-88CB-42CF-B959-681D8A6CABC3}" type="parTrans" cxnId="{ADB6B84E-9997-4D38-926B-42DA7D3936E2}">
      <dgm:prSet/>
      <dgm:spPr/>
      <dgm:t>
        <a:bodyPr/>
        <a:lstStyle/>
        <a:p>
          <a:endParaRPr lang="nb-NO"/>
        </a:p>
      </dgm:t>
    </dgm:pt>
    <dgm:pt modelId="{ADFE9D92-C09E-4374-AF9C-79A2841EBA7B}" type="sibTrans" cxnId="{ADB6B84E-9997-4D38-926B-42DA7D3936E2}">
      <dgm:prSet/>
      <dgm:spPr/>
      <dgm:t>
        <a:bodyPr/>
        <a:lstStyle/>
        <a:p>
          <a:endParaRPr lang="nb-NO"/>
        </a:p>
      </dgm:t>
    </dgm:pt>
    <dgm:pt modelId="{1848BD34-2760-4EDF-9BB7-014CC981E4BD}">
      <dgm:prSet custT="1"/>
      <dgm:spPr/>
      <dgm:t>
        <a:bodyPr/>
        <a:lstStyle/>
        <a:p>
          <a:pPr>
            <a:buFont typeface="Arial" panose="020B0604020202020204" pitchFamily="34" charset="0"/>
            <a:buChar char="•"/>
          </a:pPr>
          <a:r>
            <a:rPr lang="nb-NO" sz="1400"/>
            <a:t>Extended C9800 dashboard</a:t>
          </a:r>
        </a:p>
      </dgm:t>
    </dgm:pt>
    <dgm:pt modelId="{EC1325ED-A576-4D8F-8D5E-A495FF2BEEAE}" type="parTrans" cxnId="{9EACF09E-AE5F-4737-9738-3165E0944A91}">
      <dgm:prSet/>
      <dgm:spPr/>
      <dgm:t>
        <a:bodyPr/>
        <a:lstStyle/>
        <a:p>
          <a:endParaRPr lang="nb-NO"/>
        </a:p>
      </dgm:t>
    </dgm:pt>
    <dgm:pt modelId="{AC286F60-4C23-47DC-8E64-DBAF17287C96}" type="sibTrans" cxnId="{9EACF09E-AE5F-4737-9738-3165E0944A91}">
      <dgm:prSet/>
      <dgm:spPr/>
      <dgm:t>
        <a:bodyPr/>
        <a:lstStyle/>
        <a:p>
          <a:endParaRPr lang="nb-NO"/>
        </a:p>
      </dgm:t>
    </dgm:pt>
    <dgm:pt modelId="{5BDDA6B9-3F85-407E-A991-D93AFFC86AE2}">
      <dgm:prSet custT="1"/>
      <dgm:spPr/>
      <dgm:t>
        <a:bodyPr/>
        <a:lstStyle/>
        <a:p>
          <a:pPr>
            <a:buFont typeface="Arial" panose="020B0604020202020204" pitchFamily="34" charset="0"/>
            <a:buChar char="•"/>
          </a:pPr>
          <a:r>
            <a:rPr lang="nb-NO" sz="1400"/>
            <a:t>… building more</a:t>
          </a:r>
        </a:p>
      </dgm:t>
    </dgm:pt>
    <dgm:pt modelId="{8F00B5F4-FAB4-4557-B074-985994BAF904}" type="parTrans" cxnId="{4B0E114B-E79D-4414-9804-710727BE09FA}">
      <dgm:prSet/>
      <dgm:spPr/>
      <dgm:t>
        <a:bodyPr/>
        <a:lstStyle/>
        <a:p>
          <a:endParaRPr lang="nb-NO"/>
        </a:p>
      </dgm:t>
    </dgm:pt>
    <dgm:pt modelId="{D98534A1-A62C-41FF-AB47-56CFE242F640}" type="sibTrans" cxnId="{4B0E114B-E79D-4414-9804-710727BE09FA}">
      <dgm:prSet/>
      <dgm:spPr/>
      <dgm:t>
        <a:bodyPr/>
        <a:lstStyle/>
        <a:p>
          <a:endParaRPr lang="nb-NO"/>
        </a:p>
      </dgm:t>
    </dgm:pt>
    <dgm:pt modelId="{3EF5F09E-18B0-4138-92DF-C89F3EB124BD}">
      <dgm:prSet custT="1"/>
      <dgm:spPr/>
      <dgm:t>
        <a:bodyPr/>
        <a:lstStyle/>
        <a:p>
          <a:pPr>
            <a:buFont typeface="Arial" panose="020B0604020202020204" pitchFamily="34" charset="0"/>
            <a:buChar char="•"/>
          </a:pPr>
          <a:r>
            <a:rPr lang="nb-NO" sz="1400"/>
            <a:t>… and improving even more</a:t>
          </a:r>
        </a:p>
      </dgm:t>
    </dgm:pt>
    <dgm:pt modelId="{7666CFC4-0CFB-43D0-8819-39A929BA1A69}" type="parTrans" cxnId="{F297F59A-B391-49E6-A187-1AACAED4CE7C}">
      <dgm:prSet/>
      <dgm:spPr/>
      <dgm:t>
        <a:bodyPr/>
        <a:lstStyle/>
        <a:p>
          <a:endParaRPr lang="nb-NO"/>
        </a:p>
      </dgm:t>
    </dgm:pt>
    <dgm:pt modelId="{F1899CE4-AF38-44A6-8F1A-ED1380D23EB9}" type="sibTrans" cxnId="{F297F59A-B391-49E6-A187-1AACAED4CE7C}">
      <dgm:prSet/>
      <dgm:spPr/>
      <dgm:t>
        <a:bodyPr/>
        <a:lstStyle/>
        <a:p>
          <a:endParaRPr lang="nb-NO"/>
        </a:p>
      </dgm:t>
    </dgm:pt>
    <dgm:pt modelId="{B4EE52D4-DCAB-44FF-937E-11E8879E14C4}">
      <dgm:prSet custT="1"/>
      <dgm:spPr/>
      <dgm:t>
        <a:bodyPr/>
        <a:lstStyle/>
        <a:p>
          <a:pPr>
            <a:buFont typeface="Arial" panose="020B0604020202020204" pitchFamily="34" charset="0"/>
            <a:buChar char="•"/>
          </a:pPr>
          <a:endParaRPr lang="nb-NO" sz="1400"/>
        </a:p>
      </dgm:t>
    </dgm:pt>
    <dgm:pt modelId="{67B5E725-AC9E-45C9-9B30-65BE076A93D8}" type="parTrans" cxnId="{1BB4ACC6-8A64-4986-916F-F7356F8139FF}">
      <dgm:prSet/>
      <dgm:spPr/>
      <dgm:t>
        <a:bodyPr/>
        <a:lstStyle/>
        <a:p>
          <a:endParaRPr lang="nb-NO"/>
        </a:p>
      </dgm:t>
    </dgm:pt>
    <dgm:pt modelId="{4C30CFE6-B10E-4452-902D-2553DE915BF9}" type="sibTrans" cxnId="{1BB4ACC6-8A64-4986-916F-F7356F8139FF}">
      <dgm:prSet/>
      <dgm:spPr/>
      <dgm:t>
        <a:bodyPr/>
        <a:lstStyle/>
        <a:p>
          <a:endParaRPr lang="nb-NO"/>
        </a:p>
      </dgm:t>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14BF803-6E0A-4D55-8896-D122142A1E1B}" srcId="{1FBF17A6-ED3B-44D9-B750-4ACF386F5D47}" destId="{D773C720-C640-45A3-9736-2CB25F10B688}" srcOrd="2" destOrd="0" parTransId="{A2D7A975-5B36-45C9-8D1A-F4F797AD9888}" sibTransId="{559A635C-D4CB-40B9-9E3D-0417DF06F695}"/>
    <dgm:cxn modelId="{E909C406-E8A3-4221-975E-DE470DDE64BC}" type="presOf" srcId="{DB36C08F-6997-40DC-ACBE-C6F7CE9B7D47}" destId="{EBF2AC56-6931-4259-8008-6B6FED0C999B}" srcOrd="0" destOrd="0" presId="urn:microsoft.com/office/officeart/2005/8/layout/hList1"/>
    <dgm:cxn modelId="{99E50012-9B49-447D-9646-949340D778F3}" srcId="{1FBF17A6-ED3B-44D9-B750-4ACF386F5D47}" destId="{1534B5A7-EF08-4F55-9A93-461E57D2B543}" srcOrd="4" destOrd="0" parTransId="{055EF8E8-4CA0-4D6B-A926-061DFB8BA164}" sibTransId="{A084F60A-986B-4171-96F8-98EE0D797DD4}"/>
    <dgm:cxn modelId="{CFE97914-C438-47B9-8F1E-1EF4DE401446}" type="presOf" srcId="{5BDDA6B9-3F85-407E-A991-D93AFFC86AE2}" destId="{58C412B4-D560-4343-BC42-1CCCC6E64B50}" srcOrd="0" destOrd="3"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778EB317-3912-4C8A-BFAF-E8AE289B9415}" srcId="{6385F6C3-F549-4EF7-8A7B-E908A426392C}" destId="{CF809745-9DFE-4D0B-8C4B-854CC5ACB00A}" srcOrd="7" destOrd="0" parTransId="{3A8ADA18-895C-49F0-9125-6C1A4FA3DF4A}" sibTransId="{064428F7-9EB5-4EB5-88E1-F3F58B5E713F}"/>
    <dgm:cxn modelId="{2F1DAD18-2B0C-45EA-90C1-03F20CD41DE4}" type="presOf" srcId="{37C24F51-4764-49DA-A245-1C8F3DDDDE63}" destId="{EE808BBF-4C4F-458F-906E-6E3A116EF899}" srcOrd="0" destOrd="5"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C7DDC334-4039-48D6-935A-6CFD111780D1}" type="presOf" srcId="{1848BD34-2760-4EDF-9BB7-014CC981E4BD}" destId="{58C412B4-D560-4343-BC42-1CCCC6E64B50}" srcOrd="0" destOrd="2" presId="urn:microsoft.com/office/officeart/2005/8/layout/hList1"/>
    <dgm:cxn modelId="{3F8E9A5E-51C7-4C50-884D-29BA95280B9F}" srcId="{DB36C08F-6997-40DC-ACBE-C6F7CE9B7D47}" destId="{C74BBD22-94CA-4E05-A864-2EF30B5B95CA}" srcOrd="0" destOrd="0" parTransId="{276F2AEE-8584-436A-94B8-4D73B77AEF1F}" sibTransId="{12726D89-0430-4B23-BC59-3315E089788A}"/>
    <dgm:cxn modelId="{1ED7F863-A921-4DDC-AD43-46E3B74503C3}" type="presOf" srcId="{1FBF17A6-ED3B-44D9-B750-4ACF386F5D47}" destId="{2DD4E8E4-D05A-431D-8032-66D6B9096BBB}" srcOrd="0" destOrd="0" presId="urn:microsoft.com/office/officeart/2005/8/layout/hList1"/>
    <dgm:cxn modelId="{54E8EA64-82C7-4C8E-BD58-5B80B2478945}" srcId="{6385F6C3-F549-4EF7-8A7B-E908A426392C}" destId="{DEDA1759-2E1B-4424-8B44-943E8A271F83}" srcOrd="6" destOrd="0" parTransId="{D0E84ED6-599E-4159-83AB-0524A9856C79}" sibTransId="{CFB3010F-F5BC-40FE-AAB2-7EB3236E9E66}"/>
    <dgm:cxn modelId="{EA9EE84A-A22D-4FFC-A772-8CFB1DAE4047}" type="presOf" srcId="{D9304394-5752-48C9-8CCC-5CA5802FCDD5}" destId="{AB4963A6-6367-4ABA-9FA6-DBB49575AEB9}" srcOrd="0" destOrd="3" presId="urn:microsoft.com/office/officeart/2005/8/layout/hList1"/>
    <dgm:cxn modelId="{4B0E114B-E79D-4414-9804-710727BE09FA}" srcId="{DB36C08F-6997-40DC-ACBE-C6F7CE9B7D47}" destId="{5BDDA6B9-3F85-407E-A991-D93AFFC86AE2}" srcOrd="3" destOrd="0" parTransId="{8F00B5F4-FAB4-4557-B074-985994BAF904}" sibTransId="{D98534A1-A62C-41FF-AB47-56CFE242F640}"/>
    <dgm:cxn modelId="{7B254C4B-51CC-456A-9FC8-E5A205FE3014}" type="presOf" srcId="{7C3A528D-159C-4099-82E0-9B7ADF001C57}" destId="{AB4963A6-6367-4ABA-9FA6-DBB49575AEB9}" srcOrd="0" destOrd="4" presId="urn:microsoft.com/office/officeart/2005/8/layout/hList1"/>
    <dgm:cxn modelId="{3CF9886B-8851-40E2-9F47-D96A4559F182}" srcId="{6385F6C3-F549-4EF7-8A7B-E908A426392C}" destId="{7C3A528D-159C-4099-82E0-9B7ADF001C57}" srcOrd="4" destOrd="0" parTransId="{CE748A29-06D6-4EE5-804F-C77B8F0AE706}" sibTransId="{734D39CE-7B15-43E1-95D1-81308364B877}"/>
    <dgm:cxn modelId="{6335BB6B-4E76-4F43-B073-7F5D8A62F631}" type="presOf" srcId="{BA3B2110-E2AD-4F0A-8BAE-5BD73BB434C1}" destId="{58C412B4-D560-4343-BC42-1CCCC6E64B50}" srcOrd="0" destOrd="1" presId="urn:microsoft.com/office/officeart/2005/8/layout/hList1"/>
    <dgm:cxn modelId="{ADB6B84E-9997-4D38-926B-42DA7D3936E2}" srcId="{DB36C08F-6997-40DC-ACBE-C6F7CE9B7D47}" destId="{BA3B2110-E2AD-4F0A-8BAE-5BD73BB434C1}" srcOrd="1" destOrd="0" parTransId="{613B2A99-88CB-42CF-B959-681D8A6CABC3}" sibTransId="{ADFE9D92-C09E-4374-AF9C-79A2841EBA7B}"/>
    <dgm:cxn modelId="{31D34F50-0343-4969-B5C9-125F4039AE45}" type="presOf" srcId="{474C77D4-B5D9-4FCD-9280-FD69401B456A}" destId="{AB4963A6-6367-4ABA-9FA6-DBB49575AEB9}" srcOrd="0" destOrd="5" presId="urn:microsoft.com/office/officeart/2005/8/layout/hList1"/>
    <dgm:cxn modelId="{E8554878-24F6-47BF-88CC-73A6B15C3621}" srcId="{6385F6C3-F549-4EF7-8A7B-E908A426392C}" destId="{D9304394-5752-48C9-8CCC-5CA5802FCDD5}" srcOrd="3" destOrd="0" parTransId="{407447BF-0D68-454D-AB08-32A3136732DE}" sibTransId="{9D35403F-ECCA-4774-83AE-51A5DA3C2D9D}"/>
    <dgm:cxn modelId="{7D111B86-FD42-42DF-A234-4DE1692CBF1B}" type="presOf" srcId="{26969CE9-E826-4E29-8242-D094F00030C3}" destId="{EE808BBF-4C4F-458F-906E-6E3A116EF899}" srcOrd="0" destOrd="7"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6A77C090-320B-4984-93F2-FAAB4025CB8A}" type="presOf" srcId="{CF809745-9DFE-4D0B-8C4B-854CC5ACB00A}" destId="{AB4963A6-6367-4ABA-9FA6-DBB49575AEB9}" srcOrd="0" destOrd="7" presId="urn:microsoft.com/office/officeart/2005/8/layout/hList1"/>
    <dgm:cxn modelId="{D0787E93-59A4-42F4-B623-1EE07C1D1B63}" srcId="{6385F6C3-F549-4EF7-8A7B-E908A426392C}" destId="{521E6C39-7EF3-4C0D-8E1A-4C2B00C81BA8}" srcOrd="1" destOrd="0" parTransId="{5DCB1E01-263A-4B38-8591-8B2A775B560C}" sibTransId="{A7404071-901A-462E-852A-86ED4310D630}"/>
    <dgm:cxn modelId="{90B5C996-5A2F-466B-AC15-FD03477E3EE5}" type="presOf" srcId="{9272861A-D0BF-46B5-9FA7-8366245DBC52}" destId="{EE808BBF-4C4F-458F-906E-6E3A116EF899}" srcOrd="0" destOrd="1" presId="urn:microsoft.com/office/officeart/2005/8/layout/hList1"/>
    <dgm:cxn modelId="{280FAA98-5CAB-47E6-AC6A-7FC2E4561F1C}" type="presOf" srcId="{CA4D4197-B57E-4B14-9475-9B14F94027B1}" destId="{AB4963A6-6367-4ABA-9FA6-DBB49575AEB9}" srcOrd="0" destOrd="0" presId="urn:microsoft.com/office/officeart/2005/8/layout/hList1"/>
    <dgm:cxn modelId="{F297F59A-B391-49E6-A187-1AACAED4CE7C}" srcId="{DB36C08F-6997-40DC-ACBE-C6F7CE9B7D47}" destId="{3EF5F09E-18B0-4138-92DF-C89F3EB124BD}" srcOrd="4" destOrd="0" parTransId="{7666CFC4-0CFB-43D0-8819-39A929BA1A69}" sibTransId="{F1899CE4-AF38-44A6-8F1A-ED1380D23EB9}"/>
    <dgm:cxn modelId="{AF3FFA9C-FBE1-41AA-9024-F3BF450F16B4}" srcId="{1FBF17A6-ED3B-44D9-B750-4ACF386F5D47}" destId="{37C24F51-4764-49DA-A245-1C8F3DDDDE63}" srcOrd="5" destOrd="0" parTransId="{7A3A694E-BAB7-4C11-BED9-89A1F7EFBD35}" sibTransId="{96A7105B-0042-4C02-9AA2-A307A9E632AC}"/>
    <dgm:cxn modelId="{7673D29D-3E50-4997-B4A1-3C8FF1CBCB76}" type="presOf" srcId="{69ADBCCA-6C54-41DB-B6E4-8E51BD443E95}" destId="{EE808BBF-4C4F-458F-906E-6E3A116EF899}" srcOrd="0" destOrd="3" presId="urn:microsoft.com/office/officeart/2005/8/layout/hList1"/>
    <dgm:cxn modelId="{9EACF09E-AE5F-4737-9738-3165E0944A91}" srcId="{DB36C08F-6997-40DC-ACBE-C6F7CE9B7D47}" destId="{1848BD34-2760-4EDF-9BB7-014CC981E4BD}" srcOrd="2" destOrd="0" parTransId="{EC1325ED-A576-4D8F-8D5E-A495FF2BEEAE}" sibTransId="{AC286F60-4C23-47DC-8E64-DBAF17287C96}"/>
    <dgm:cxn modelId="{C9DA88A2-BBD4-436A-8A8E-1260F1CFC9B4}" srcId="{6385F6C3-F549-4EF7-8A7B-E908A426392C}" destId="{474C77D4-B5D9-4FCD-9280-FD69401B456A}" srcOrd="5" destOrd="0" parTransId="{38D21209-B954-4277-A1DF-893B5B8C89C6}" sibTransId="{1F803F4F-DEF4-4542-9E0C-D5D356FF3B56}"/>
    <dgm:cxn modelId="{569D1DA5-1D2D-425F-B1DF-C39E53FDD60C}" type="presOf" srcId="{3EF5F09E-18B0-4138-92DF-C89F3EB124BD}" destId="{58C412B4-D560-4343-BC42-1CCCC6E64B50}" srcOrd="0" destOrd="4" presId="urn:microsoft.com/office/officeart/2005/8/layout/hList1"/>
    <dgm:cxn modelId="{89021DA9-FD23-42AE-A745-19EEB75BBF9B}" srcId="{1FBF17A6-ED3B-44D9-B750-4ACF386F5D47}" destId="{EB623AD8-B788-425D-A742-991C9B235B08}" srcOrd="6" destOrd="0" parTransId="{86FD68CD-22C3-4817-A330-77B93E9CC777}" sibTransId="{60D8F85A-2274-4E86-8AE7-4E4817F9A19D}"/>
    <dgm:cxn modelId="{D90380AE-F3BE-4DA8-A792-FDC0F8EFF536}" type="presOf" srcId="{EB623AD8-B788-425D-A742-991C9B235B08}" destId="{EE808BBF-4C4F-458F-906E-6E3A116EF899}" srcOrd="0" destOrd="6"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2" destOrd="0" parTransId="{F4D458CA-9A69-449E-96AA-8B0C60972DD5}" sibTransId="{07DD7030-3760-4850-866A-F29D885DD7C5}"/>
    <dgm:cxn modelId="{1BB4ACC6-8A64-4986-916F-F7356F8139FF}" srcId="{DB36C08F-6997-40DC-ACBE-C6F7CE9B7D47}" destId="{B4EE52D4-DCAB-44FF-937E-11E8879E14C4}" srcOrd="5" destOrd="0" parTransId="{67B5E725-AC9E-45C9-9B30-65BE076A93D8}" sibTransId="{4C30CFE6-B10E-4452-902D-2553DE915BF9}"/>
    <dgm:cxn modelId="{394CA5CE-0D4C-461F-8772-488EF78F1F06}" type="presOf" srcId="{521E6C39-7EF3-4C0D-8E1A-4C2B00C81BA8}" destId="{AB4963A6-6367-4ABA-9FA6-DBB49575AEB9}" srcOrd="0" destOrd="1" presId="urn:microsoft.com/office/officeart/2005/8/layout/hList1"/>
    <dgm:cxn modelId="{888174D3-7E2E-4E9C-90EB-7A80FB95E4B7}" type="presOf" srcId="{8275381D-096A-4D8B-94E5-271B830805F5}" destId="{AB4963A6-6367-4ABA-9FA6-DBB49575AEB9}" srcOrd="0" destOrd="2" presId="urn:microsoft.com/office/officeart/2005/8/layout/hList1"/>
    <dgm:cxn modelId="{F15882D4-42DC-4F2F-BABF-23020C0054F1}" type="presOf" srcId="{B4EE52D4-DCAB-44FF-937E-11E8879E14C4}" destId="{58C412B4-D560-4343-BC42-1CCCC6E64B50}" srcOrd="0" destOrd="5" presId="urn:microsoft.com/office/officeart/2005/8/layout/hList1"/>
    <dgm:cxn modelId="{9C7936D6-FF87-4BF8-ABF2-31722E7FD3B4}" type="presOf" srcId="{DEDA1759-2E1B-4424-8B44-943E8A271F83}" destId="{AB4963A6-6367-4ABA-9FA6-DBB49575AEB9}" srcOrd="0" destOrd="6" presId="urn:microsoft.com/office/officeart/2005/8/layout/hList1"/>
    <dgm:cxn modelId="{422210E0-8031-4454-9FA4-BDB2A59A432F}" srcId="{1FBF17A6-ED3B-44D9-B750-4ACF386F5D47}" destId="{69ADBCCA-6C54-41DB-B6E4-8E51BD443E95}" srcOrd="3" destOrd="0" parTransId="{10A4B9DB-C699-4EC0-8E80-29602AC012D2}" sibTransId="{3F7FB87B-8215-42BD-AA44-65CBA37D5D8A}"/>
    <dgm:cxn modelId="{534DBBE5-0D68-484D-BADC-655D3AA11A23}" srcId="{1FBF17A6-ED3B-44D9-B750-4ACF386F5D47}" destId="{9272861A-D0BF-46B5-9FA7-8366245DBC52}" srcOrd="1" destOrd="0" parTransId="{44F8F17E-10AB-4181-8D71-5961393BAD11}" sibTransId="{FF264F1A-951F-4DA7-837C-6F510A9E2966}"/>
    <dgm:cxn modelId="{0E8E3DE8-4708-4CC2-9051-9516AAA0461E}" srcId="{1FBF17A6-ED3B-44D9-B750-4ACF386F5D47}" destId="{5A3A818B-4C32-4718-A58B-8604E9C4D300}" srcOrd="0" destOrd="0" parTransId="{4964E7BD-3E3A-4E17-BBBF-F7C031EF2D26}" sibTransId="{290E545C-E418-4126-896E-2A8D8FEE12CA}"/>
    <dgm:cxn modelId="{45D62FE9-24C5-4EE0-B840-37D4F6B21962}" type="presOf" srcId="{C74BBD22-94CA-4E05-A864-2EF30B5B95CA}" destId="{58C412B4-D560-4343-BC42-1CCCC6E64B50}" srcOrd="0" destOrd="0" presId="urn:microsoft.com/office/officeart/2005/8/layout/hList1"/>
    <dgm:cxn modelId="{4EDA50ED-05E9-4725-8434-E1AFE979B5FE}" type="presOf" srcId="{D773C720-C640-45A3-9736-2CB25F10B688}" destId="{EE808BBF-4C4F-458F-906E-6E3A116EF899}" srcOrd="0" destOrd="2" presId="urn:microsoft.com/office/officeart/2005/8/layout/hList1"/>
    <dgm:cxn modelId="{BF94BBEF-2A64-40DE-9E46-51F211594CBA}" type="presOf" srcId="{5A3A818B-4C32-4718-A58B-8604E9C4D300}" destId="{EE808BBF-4C4F-458F-906E-6E3A116EF899}" srcOrd="0" destOrd="0" presId="urn:microsoft.com/office/officeart/2005/8/layout/hList1"/>
    <dgm:cxn modelId="{3A3CC9F0-14F6-43F6-ACC2-13BD26D94E2C}" srcId="{1FBF17A6-ED3B-44D9-B750-4ACF386F5D47}" destId="{26969CE9-E826-4E29-8242-D094F00030C3}" srcOrd="7" destOrd="0" parTransId="{B1CBDD2A-6BED-48BC-9D77-FAFEF82397C0}" sibTransId="{EB484A5D-41CE-4991-A892-90FE302A9B93}"/>
    <dgm:cxn modelId="{3050F8F3-A47F-4583-90F9-8BF1B4C58CCC}" type="presOf" srcId="{1534B5A7-EF08-4F55-9A93-461E57D2B543}" destId="{EE808BBF-4C4F-458F-906E-6E3A116EF899}" srcOrd="0" destOrd="4" presId="urn:microsoft.com/office/officeart/2005/8/layout/hList1"/>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Type 1</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Bare-metal (run directly on hardware)</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en-US" sz="1400"/>
            <a:t>Superior performance</a:t>
          </a:r>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Type 2</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en-US" sz="1400"/>
            <a:t>On top of another OS</a:t>
          </a:r>
        </a:p>
      </dgm:t>
    </dgm:pt>
    <dgm:pt modelId="{4B1FCEC9-0E53-47B9-A763-CFDC09129998}" type="parTrans" cxnId="{EC220732-0B39-46D4-8B21-D69F970BDAA1}">
      <dgm:prSet/>
      <dgm:spPr/>
      <dgm:t>
        <a:bodyPr/>
        <a:lstStyle/>
        <a:p>
          <a:endParaRPr lang="nb-NO"/>
        </a:p>
      </dgm:t>
    </dgm:pt>
    <dgm:pt modelId="{3F09F83A-7B23-480C-8977-8F84A5569196}" type="sibTrans" cxnId="{EC220732-0B39-46D4-8B21-D69F970BDAA1}">
      <dgm:prSet/>
      <dgm:spPr/>
      <dgm:t>
        <a:bodyPr/>
        <a:lstStyle/>
        <a:p>
          <a:endParaRPr lang="nb-NO"/>
        </a:p>
      </dgm:t>
    </dgm:pt>
    <dgm:pt modelId="{2E3630CB-02A1-4A7A-BCB3-FA8BAD597F8B}">
      <dgm:prSet custT="1"/>
      <dgm:spPr>
        <a:solidFill>
          <a:schemeClr val="bg2">
            <a:alpha val="90000"/>
          </a:schemeClr>
        </a:solidFill>
        <a:ln>
          <a:noFill/>
        </a:ln>
      </dgm:spPr>
      <dgm:t>
        <a:bodyPr/>
        <a:lstStyle/>
        <a:p>
          <a:pPr>
            <a:buFont typeface="Arial" panose="020B0604020202020204" pitchFamily="34" charset="0"/>
            <a:buChar char="•"/>
          </a:pPr>
          <a:r>
            <a:rPr lang="en-US" sz="1400"/>
            <a:t>For production use</a:t>
          </a:r>
        </a:p>
      </dgm:t>
    </dgm:pt>
    <dgm:pt modelId="{CE0BA8A7-E7E0-41D5-97F9-28B32DF6042B}" type="parTrans" cxnId="{5719CF22-B1E5-41E5-A91A-D37A26D5CA33}">
      <dgm:prSet/>
      <dgm:spPr/>
      <dgm:t>
        <a:bodyPr/>
        <a:lstStyle/>
        <a:p>
          <a:endParaRPr lang="nb-NO"/>
        </a:p>
      </dgm:t>
    </dgm:pt>
    <dgm:pt modelId="{12069281-D202-4F84-81E0-ECA7923ECE8E}" type="sibTrans" cxnId="{5719CF22-B1E5-41E5-A91A-D37A26D5CA33}">
      <dgm:prSet/>
      <dgm:spPr/>
      <dgm:t>
        <a:bodyPr/>
        <a:lstStyle/>
        <a:p>
          <a:endParaRPr lang="nb-NO"/>
        </a:p>
      </dgm:t>
    </dgm:pt>
    <dgm:pt modelId="{6140A1FF-67E9-4C02-BC64-F3A1D2C33D4B}">
      <dgm:prSet custT="1"/>
      <dgm:spPr>
        <a:solidFill>
          <a:schemeClr val="bg2">
            <a:alpha val="90000"/>
          </a:schemeClr>
        </a:solidFill>
        <a:ln>
          <a:noFill/>
        </a:ln>
      </dgm:spPr>
      <dgm:t>
        <a:bodyPr/>
        <a:lstStyle/>
        <a:p>
          <a:pPr>
            <a:buFont typeface="Arial" panose="020B0604020202020204" pitchFamily="34" charset="0"/>
            <a:buNone/>
          </a:pPr>
          <a:r>
            <a:rPr lang="en-US" sz="1400"/>
            <a:t>Examples</a:t>
          </a:r>
        </a:p>
      </dgm:t>
    </dgm:pt>
    <dgm:pt modelId="{B40B239F-B1DC-45AB-9A95-94344A8A4940}" type="parTrans" cxnId="{D62166ED-7B8C-4C7D-922F-BB92E8154A3D}">
      <dgm:prSet/>
      <dgm:spPr/>
      <dgm:t>
        <a:bodyPr/>
        <a:lstStyle/>
        <a:p>
          <a:endParaRPr lang="nb-NO"/>
        </a:p>
      </dgm:t>
    </dgm:pt>
    <dgm:pt modelId="{8852912C-C606-486D-B8A1-A454459C0102}" type="sibTrans" cxnId="{D62166ED-7B8C-4C7D-922F-BB92E8154A3D}">
      <dgm:prSet/>
      <dgm:spPr/>
      <dgm:t>
        <a:bodyPr/>
        <a:lstStyle/>
        <a:p>
          <a:endParaRPr lang="nb-NO"/>
        </a:p>
      </dgm:t>
    </dgm:pt>
    <dgm:pt modelId="{B6BDB207-6F17-4356-BD17-33D3C7769E43}">
      <dgm:prSet custT="1"/>
      <dgm:spPr>
        <a:solidFill>
          <a:schemeClr val="bg2">
            <a:alpha val="90000"/>
          </a:schemeClr>
        </a:solidFill>
        <a:ln>
          <a:noFill/>
        </a:ln>
      </dgm:spPr>
      <dgm:t>
        <a:bodyPr/>
        <a:lstStyle/>
        <a:p>
          <a:pPr>
            <a:buFont typeface="Arial" panose="020B0604020202020204" pitchFamily="34" charset="0"/>
            <a:buChar char="•"/>
          </a:pPr>
          <a:r>
            <a:rPr lang="en-US" sz="1400"/>
            <a:t>VMWare ESXi</a:t>
          </a:r>
        </a:p>
      </dgm:t>
    </dgm:pt>
    <dgm:pt modelId="{77B3CAFF-C156-4955-9291-B685FEA8B128}" type="parTrans" cxnId="{D72A782C-3EBC-4C01-806F-4BC23219FFA5}">
      <dgm:prSet/>
      <dgm:spPr/>
      <dgm:t>
        <a:bodyPr/>
        <a:lstStyle/>
        <a:p>
          <a:endParaRPr lang="nb-NO"/>
        </a:p>
      </dgm:t>
    </dgm:pt>
    <dgm:pt modelId="{840345B8-8B9C-404C-98AC-12C77CE5E2D9}" type="sibTrans" cxnId="{D72A782C-3EBC-4C01-806F-4BC23219FFA5}">
      <dgm:prSet/>
      <dgm:spPr/>
      <dgm:t>
        <a:bodyPr/>
        <a:lstStyle/>
        <a:p>
          <a:endParaRPr lang="nb-NO"/>
        </a:p>
      </dgm:t>
    </dgm:pt>
    <dgm:pt modelId="{11511E5B-2FE6-457E-B661-5201A97EE45F}">
      <dgm:prSet custT="1"/>
      <dgm:spPr>
        <a:solidFill>
          <a:schemeClr val="bg2">
            <a:alpha val="90000"/>
          </a:schemeClr>
        </a:solidFill>
        <a:ln>
          <a:noFill/>
        </a:ln>
      </dgm:spPr>
      <dgm:t>
        <a:bodyPr/>
        <a:lstStyle/>
        <a:p>
          <a:pPr>
            <a:buFont typeface="Arial" panose="020B0604020202020204" pitchFamily="34" charset="0"/>
            <a:buChar char="•"/>
          </a:pPr>
          <a:r>
            <a:rPr lang="en-US" sz="1400"/>
            <a:t>Proxmox</a:t>
          </a:r>
        </a:p>
      </dgm:t>
    </dgm:pt>
    <dgm:pt modelId="{299070FB-A3DF-4B4A-B5FC-1AE44F044DE1}" type="parTrans" cxnId="{6CA56FA4-2C4D-47C6-BB92-BBA3CF860802}">
      <dgm:prSet/>
      <dgm:spPr/>
      <dgm:t>
        <a:bodyPr/>
        <a:lstStyle/>
        <a:p>
          <a:endParaRPr lang="nb-NO"/>
        </a:p>
      </dgm:t>
    </dgm:pt>
    <dgm:pt modelId="{69C3C875-77E2-4719-9E1C-85DCF98DD30C}" type="sibTrans" cxnId="{6CA56FA4-2C4D-47C6-BB92-BBA3CF860802}">
      <dgm:prSet/>
      <dgm:spPr/>
      <dgm:t>
        <a:bodyPr/>
        <a:lstStyle/>
        <a:p>
          <a:endParaRPr lang="nb-NO"/>
        </a:p>
      </dgm:t>
    </dgm:pt>
    <dgm:pt modelId="{C1F9B498-5B31-4365-88AA-5FB1F41517CD}">
      <dgm:prSet custT="1"/>
      <dgm:spPr>
        <a:solidFill>
          <a:schemeClr val="bg2">
            <a:alpha val="90000"/>
          </a:schemeClr>
        </a:solidFill>
        <a:ln>
          <a:noFill/>
        </a:ln>
      </dgm:spPr>
      <dgm:t>
        <a:bodyPr/>
        <a:lstStyle/>
        <a:p>
          <a:pPr>
            <a:buFont typeface="Arial" panose="020B0604020202020204" pitchFamily="34" charset="0"/>
            <a:buChar char="•"/>
          </a:pPr>
          <a:endParaRPr lang="en-US" sz="1400"/>
        </a:p>
      </dgm:t>
    </dgm:pt>
    <dgm:pt modelId="{03AC5005-8A38-46A3-8535-A66F47853CAF}" type="parTrans" cxnId="{7B2F2F2C-3324-4AE1-9E1C-4FAACA08E138}">
      <dgm:prSet/>
      <dgm:spPr/>
      <dgm:t>
        <a:bodyPr/>
        <a:lstStyle/>
        <a:p>
          <a:endParaRPr lang="nb-NO"/>
        </a:p>
      </dgm:t>
    </dgm:pt>
    <dgm:pt modelId="{FB3B3F60-310D-4C6B-A05C-BD33A3627CE8}" type="sibTrans" cxnId="{7B2F2F2C-3324-4AE1-9E1C-4FAACA08E138}">
      <dgm:prSet/>
      <dgm:spPr/>
      <dgm:t>
        <a:bodyPr/>
        <a:lstStyle/>
        <a:p>
          <a:endParaRPr lang="nb-NO"/>
        </a:p>
      </dgm:t>
    </dgm:pt>
    <dgm:pt modelId="{15D05B4C-49BB-4798-81E8-EFB3B6100E3C}">
      <dgm:prSet custT="1"/>
      <dgm:spPr>
        <a:solidFill>
          <a:schemeClr val="bg2">
            <a:alpha val="90000"/>
          </a:schemeClr>
        </a:solidFill>
        <a:ln>
          <a:noFill/>
        </a:ln>
      </dgm:spPr>
      <dgm:t>
        <a:bodyPr/>
        <a:lstStyle/>
        <a:p>
          <a:pPr>
            <a:buFont typeface="Arial" panose="020B0604020202020204" pitchFamily="34" charset="0"/>
            <a:buChar char="•"/>
          </a:pPr>
          <a:r>
            <a:rPr lang="en-US" sz="1400"/>
            <a:t>KVM</a:t>
          </a:r>
        </a:p>
      </dgm:t>
    </dgm:pt>
    <dgm:pt modelId="{EB7F12B0-90EF-4D7D-8472-0CF20BE4150E}" type="parTrans" cxnId="{3133E4D4-AFD2-4A8E-B8E2-EECB2190C8CD}">
      <dgm:prSet/>
      <dgm:spPr/>
      <dgm:t>
        <a:bodyPr/>
        <a:lstStyle/>
        <a:p>
          <a:endParaRPr lang="nb-NO"/>
        </a:p>
      </dgm:t>
    </dgm:pt>
    <dgm:pt modelId="{8F143D40-356B-4ACD-97B1-6007E193C1FE}" type="sibTrans" cxnId="{3133E4D4-AFD2-4A8E-B8E2-EECB2190C8CD}">
      <dgm:prSet/>
      <dgm:spPr/>
      <dgm:t>
        <a:bodyPr/>
        <a:lstStyle/>
        <a:p>
          <a:endParaRPr lang="nb-NO"/>
        </a:p>
      </dgm:t>
    </dgm:pt>
    <dgm:pt modelId="{8B98B7A8-8128-479F-B6B9-014DEEF2DE57}">
      <dgm:prSet custT="1"/>
      <dgm:spPr>
        <a:solidFill>
          <a:schemeClr val="bg2">
            <a:alpha val="90000"/>
          </a:schemeClr>
        </a:solidFill>
        <a:ln>
          <a:noFill/>
        </a:ln>
      </dgm:spPr>
      <dgm:t>
        <a:bodyPr/>
        <a:lstStyle/>
        <a:p>
          <a:pPr>
            <a:buFont typeface="Arial" panose="020B0604020202020204" pitchFamily="34" charset="0"/>
            <a:buChar char="•"/>
          </a:pPr>
          <a:r>
            <a:rPr lang="en-US" sz="1400"/>
            <a:t>Xen</a:t>
          </a:r>
        </a:p>
      </dgm:t>
    </dgm:pt>
    <dgm:pt modelId="{DDBC320F-2738-449E-A428-6E5CBDEACCD2}" type="parTrans" cxnId="{D7182971-4E2E-49ED-A0D5-197C678881F3}">
      <dgm:prSet/>
      <dgm:spPr/>
      <dgm:t>
        <a:bodyPr/>
        <a:lstStyle/>
        <a:p>
          <a:endParaRPr lang="nb-NO"/>
        </a:p>
      </dgm:t>
    </dgm:pt>
    <dgm:pt modelId="{294F7752-933E-4065-9D69-39F5DFB50812}" type="sibTrans" cxnId="{D7182971-4E2E-49ED-A0D5-197C678881F3}">
      <dgm:prSet/>
      <dgm:spPr/>
      <dgm:t>
        <a:bodyPr/>
        <a:lstStyle/>
        <a:p>
          <a:endParaRPr lang="nb-NO"/>
        </a:p>
      </dgm:t>
    </dgm:pt>
    <dgm:pt modelId="{668BCFFA-A162-4B36-A62D-A75FDDB3B0F0}">
      <dgm:prSet custT="1"/>
      <dgm:spPr>
        <a:solidFill>
          <a:schemeClr val="bg2">
            <a:alpha val="90000"/>
          </a:schemeClr>
        </a:solidFill>
        <a:ln>
          <a:noFill/>
        </a:ln>
      </dgm:spPr>
      <dgm:t>
        <a:bodyPr/>
        <a:lstStyle/>
        <a:p>
          <a:pPr>
            <a:buFont typeface="Arial" panose="020B0604020202020204" pitchFamily="34" charset="0"/>
            <a:buChar char="•"/>
          </a:pPr>
          <a:r>
            <a:rPr lang="en-US" sz="1400"/>
            <a:t>Nutanix</a:t>
          </a:r>
        </a:p>
      </dgm:t>
    </dgm:pt>
    <dgm:pt modelId="{5CD795E6-52F8-4CA7-8A74-6FA7B41CDFE8}" type="parTrans" cxnId="{FB9FBEF3-CFB5-4FB2-87F9-63F452FF6B8C}">
      <dgm:prSet/>
      <dgm:spPr/>
      <dgm:t>
        <a:bodyPr/>
        <a:lstStyle/>
        <a:p>
          <a:endParaRPr lang="nb-NO"/>
        </a:p>
      </dgm:t>
    </dgm:pt>
    <dgm:pt modelId="{3355E8A7-D166-4033-B1EC-50AEE3E00AC4}" type="sibTrans" cxnId="{FB9FBEF3-CFB5-4FB2-87F9-63F452FF6B8C}">
      <dgm:prSet/>
      <dgm:spPr/>
      <dgm:t>
        <a:bodyPr/>
        <a:lstStyle/>
        <a:p>
          <a:endParaRPr lang="nb-NO"/>
        </a:p>
      </dgm:t>
    </dgm:pt>
    <dgm:pt modelId="{15F7BEE5-5BFC-448C-ADE7-02DC7A0B1FD3}">
      <dgm:prSet custT="1"/>
      <dgm:spPr>
        <a:solidFill>
          <a:schemeClr val="bg2">
            <a:alpha val="90000"/>
          </a:schemeClr>
        </a:solidFill>
        <a:ln>
          <a:noFill/>
        </a:ln>
      </dgm:spPr>
      <dgm:t>
        <a:bodyPr/>
        <a:lstStyle/>
        <a:p>
          <a:pPr>
            <a:buFont typeface="Arial" panose="020B0604020202020204" pitchFamily="34" charset="0"/>
            <a:buChar char="•"/>
          </a:pPr>
          <a:r>
            <a:rPr lang="en-US" sz="1400"/>
            <a:t>Flexible, can run on your laptop</a:t>
          </a:r>
        </a:p>
      </dgm:t>
    </dgm:pt>
    <dgm:pt modelId="{7367B41F-D272-459D-A805-70D753C601CF}" type="parTrans" cxnId="{58F329DB-473D-41E8-8CE6-CB6937623DBC}">
      <dgm:prSet/>
      <dgm:spPr/>
      <dgm:t>
        <a:bodyPr/>
        <a:lstStyle/>
        <a:p>
          <a:endParaRPr lang="nb-NO"/>
        </a:p>
      </dgm:t>
    </dgm:pt>
    <dgm:pt modelId="{7F68280A-0E04-4FFF-AD8B-9D50D197ADC2}" type="sibTrans" cxnId="{58F329DB-473D-41E8-8CE6-CB6937623DBC}">
      <dgm:prSet/>
      <dgm:spPr/>
      <dgm:t>
        <a:bodyPr/>
        <a:lstStyle/>
        <a:p>
          <a:endParaRPr lang="nb-NO"/>
        </a:p>
      </dgm:t>
    </dgm:pt>
    <dgm:pt modelId="{ABA2FDBC-9780-4A7E-910F-2030CFFE37B7}">
      <dgm:prSet custT="1"/>
      <dgm:spPr>
        <a:solidFill>
          <a:schemeClr val="bg2">
            <a:alpha val="90000"/>
          </a:schemeClr>
        </a:solidFill>
        <a:ln>
          <a:noFill/>
        </a:ln>
      </dgm:spPr>
      <dgm:t>
        <a:bodyPr/>
        <a:lstStyle/>
        <a:p>
          <a:pPr>
            <a:buFont typeface="Arial" panose="020B0604020202020204" pitchFamily="34" charset="0"/>
            <a:buChar char="•"/>
          </a:pPr>
          <a:r>
            <a:rPr lang="en-US" sz="1400"/>
            <a:t>For lab purposes or at least non-24/7</a:t>
          </a:r>
        </a:p>
      </dgm:t>
    </dgm:pt>
    <dgm:pt modelId="{2B7DFFF5-F993-431D-BA43-AAB41A8C4960}" type="parTrans" cxnId="{D9EACEF3-184F-4E33-A071-2D9848A50E65}">
      <dgm:prSet/>
      <dgm:spPr/>
      <dgm:t>
        <a:bodyPr/>
        <a:lstStyle/>
        <a:p>
          <a:endParaRPr lang="nb-NO"/>
        </a:p>
      </dgm:t>
    </dgm:pt>
    <dgm:pt modelId="{8FC81018-85CC-4BDC-B708-E424EEFBDA7B}" type="sibTrans" cxnId="{D9EACEF3-184F-4E33-A071-2D9848A50E65}">
      <dgm:prSet/>
      <dgm:spPr/>
      <dgm:t>
        <a:bodyPr/>
        <a:lstStyle/>
        <a:p>
          <a:endParaRPr lang="nb-NO"/>
        </a:p>
      </dgm:t>
    </dgm:pt>
    <dgm:pt modelId="{48D61608-FDC0-4368-BE14-F3AAE6ED56F2}">
      <dgm:prSet custT="1"/>
      <dgm:spPr>
        <a:solidFill>
          <a:schemeClr val="bg2">
            <a:alpha val="90000"/>
          </a:schemeClr>
        </a:solidFill>
        <a:ln>
          <a:noFill/>
        </a:ln>
      </dgm:spPr>
      <dgm:t>
        <a:bodyPr/>
        <a:lstStyle/>
        <a:p>
          <a:pPr>
            <a:buFont typeface="Arial" panose="020B0604020202020204" pitchFamily="34" charset="0"/>
            <a:buNone/>
          </a:pPr>
          <a:r>
            <a:rPr lang="en-US" sz="1400"/>
            <a:t>Examples</a:t>
          </a:r>
        </a:p>
      </dgm:t>
    </dgm:pt>
    <dgm:pt modelId="{FD3380EB-F611-4D83-8654-48ECE488A640}" type="parTrans" cxnId="{254E8510-2E32-4704-AB1A-8ADDDCB5B2EC}">
      <dgm:prSet/>
      <dgm:spPr/>
      <dgm:t>
        <a:bodyPr/>
        <a:lstStyle/>
        <a:p>
          <a:endParaRPr lang="nb-NO"/>
        </a:p>
      </dgm:t>
    </dgm:pt>
    <dgm:pt modelId="{70DAE54C-3833-4EF6-B52F-CC4A1EB9AFA7}" type="sibTrans" cxnId="{254E8510-2E32-4704-AB1A-8ADDDCB5B2EC}">
      <dgm:prSet/>
      <dgm:spPr/>
      <dgm:t>
        <a:bodyPr/>
        <a:lstStyle/>
        <a:p>
          <a:endParaRPr lang="nb-NO"/>
        </a:p>
      </dgm:t>
    </dgm:pt>
    <dgm:pt modelId="{2BF884DC-B334-410A-ADDB-0258B9D6467C}">
      <dgm:prSet custT="1"/>
      <dgm:spPr>
        <a:solidFill>
          <a:schemeClr val="bg2">
            <a:alpha val="90000"/>
          </a:schemeClr>
        </a:solidFill>
        <a:ln>
          <a:noFill/>
        </a:ln>
      </dgm:spPr>
      <dgm:t>
        <a:bodyPr/>
        <a:lstStyle/>
        <a:p>
          <a:pPr>
            <a:buFont typeface="Arial" panose="020B0604020202020204" pitchFamily="34" charset="0"/>
            <a:buChar char="•"/>
          </a:pPr>
          <a:endParaRPr lang="en-US" sz="1400"/>
        </a:p>
      </dgm:t>
    </dgm:pt>
    <dgm:pt modelId="{807A5BCE-3AE7-4271-A857-518140F12028}" type="parTrans" cxnId="{7E1C69F6-2608-4579-AC18-26B46E04BB10}">
      <dgm:prSet/>
      <dgm:spPr/>
      <dgm:t>
        <a:bodyPr/>
        <a:lstStyle/>
        <a:p>
          <a:endParaRPr lang="nb-NO"/>
        </a:p>
      </dgm:t>
    </dgm:pt>
    <dgm:pt modelId="{D1C5EA4B-09B6-4B22-96A2-A2F20D45224B}" type="sibTrans" cxnId="{7E1C69F6-2608-4579-AC18-26B46E04BB10}">
      <dgm:prSet/>
      <dgm:spPr/>
      <dgm:t>
        <a:bodyPr/>
        <a:lstStyle/>
        <a:p>
          <a:endParaRPr lang="nb-NO"/>
        </a:p>
      </dgm:t>
    </dgm:pt>
    <dgm:pt modelId="{BB4C5FF7-392D-4FB8-966C-ED83AD939EB8}">
      <dgm:prSet custT="1"/>
      <dgm:spPr>
        <a:solidFill>
          <a:schemeClr val="bg2">
            <a:alpha val="90000"/>
          </a:schemeClr>
        </a:solidFill>
        <a:ln>
          <a:noFill/>
        </a:ln>
      </dgm:spPr>
      <dgm:t>
        <a:bodyPr/>
        <a:lstStyle/>
        <a:p>
          <a:pPr>
            <a:buFont typeface="Arial" panose="020B0604020202020204" pitchFamily="34" charset="0"/>
            <a:buChar char="•"/>
          </a:pPr>
          <a:r>
            <a:rPr lang="en-US" sz="1400"/>
            <a:t>VirtualBox</a:t>
          </a:r>
        </a:p>
      </dgm:t>
    </dgm:pt>
    <dgm:pt modelId="{F72ADA3F-38FC-4FC0-8B14-0E744B4517CD}" type="parTrans" cxnId="{2C4021EA-DC4E-453F-9017-1A5822D8347C}">
      <dgm:prSet/>
      <dgm:spPr/>
    </dgm:pt>
    <dgm:pt modelId="{0CDBC1EA-FE7F-4B0B-96C2-06E2DCAE09D1}" type="sibTrans" cxnId="{2C4021EA-DC4E-453F-9017-1A5822D8347C}">
      <dgm:prSet/>
      <dgm:spPr/>
    </dgm:pt>
    <dgm:pt modelId="{EE9D865F-9EAE-4002-9A04-FF285EFA8FFD}">
      <dgm:prSet custT="1"/>
      <dgm:spPr>
        <a:solidFill>
          <a:schemeClr val="bg2">
            <a:alpha val="90000"/>
          </a:schemeClr>
        </a:solidFill>
        <a:ln>
          <a:noFill/>
        </a:ln>
      </dgm:spPr>
      <dgm:t>
        <a:bodyPr/>
        <a:lstStyle/>
        <a:p>
          <a:pPr>
            <a:buFont typeface="Arial" panose="020B0604020202020204" pitchFamily="34" charset="0"/>
            <a:buChar char="•"/>
          </a:pPr>
          <a:r>
            <a:rPr lang="en-US" sz="1400"/>
            <a:t>VMWare Workstation</a:t>
          </a:r>
        </a:p>
      </dgm:t>
    </dgm:pt>
    <dgm:pt modelId="{942687EA-E180-4193-BCEA-86F4BC606A1E}" type="parTrans" cxnId="{D92C3701-72E0-457F-9003-10755140DFB5}">
      <dgm:prSet/>
      <dgm:spPr/>
    </dgm:pt>
    <dgm:pt modelId="{FF4275B5-4D48-49A8-900C-03656661BD67}" type="sibTrans" cxnId="{D92C3701-72E0-457F-9003-10755140DFB5}">
      <dgm:prSet/>
      <dgm:spPr/>
    </dgm:pt>
    <dgm:pt modelId="{E11660E2-BFEB-4B44-ACA3-C70ED4503F76}">
      <dgm:prSet custT="1"/>
      <dgm:spPr>
        <a:solidFill>
          <a:schemeClr val="bg2">
            <a:alpha val="90000"/>
          </a:schemeClr>
        </a:solidFill>
        <a:ln>
          <a:noFill/>
        </a:ln>
      </dgm:spPr>
      <dgm:t>
        <a:bodyPr/>
        <a:lstStyle/>
        <a:p>
          <a:pPr>
            <a:buFont typeface="Arial" panose="020B0604020202020204" pitchFamily="34" charset="0"/>
            <a:buChar char="•"/>
          </a:pPr>
          <a:r>
            <a:rPr lang="en-US" sz="1400"/>
            <a:t>Parallels</a:t>
          </a:r>
        </a:p>
      </dgm:t>
    </dgm:pt>
    <dgm:pt modelId="{39D5D8B4-495B-423D-AD9B-E3E7BBDFA71E}" type="parTrans" cxnId="{FF654122-718C-4175-8095-B58F09CEDE1F}">
      <dgm:prSet/>
      <dgm:spPr/>
    </dgm:pt>
    <dgm:pt modelId="{5D631F44-F82C-4FAB-B21F-08F285DE5FA9}" type="sibTrans" cxnId="{FF654122-718C-4175-8095-B58F09CEDE1F}">
      <dgm:prSet/>
      <dgm:spPr/>
    </dgm:pt>
    <dgm:pt modelId="{1D21903C-C835-4B48-A8C7-339C4FF7A194}">
      <dgm:prSet custT="1"/>
      <dgm:spPr>
        <a:solidFill>
          <a:schemeClr val="bg2">
            <a:alpha val="90000"/>
          </a:schemeClr>
        </a:solidFill>
        <a:ln>
          <a:noFill/>
        </a:ln>
      </dgm:spPr>
      <dgm:t>
        <a:bodyPr/>
        <a:lstStyle/>
        <a:p>
          <a:pPr>
            <a:buFont typeface="Arial" panose="020B0604020202020204" pitchFamily="34" charset="0"/>
            <a:buChar char="•"/>
          </a:pPr>
          <a:r>
            <a:rPr lang="en-US" sz="1400"/>
            <a:t>Hyper-V</a:t>
          </a:r>
        </a:p>
      </dgm:t>
    </dgm:pt>
    <dgm:pt modelId="{4E036DE7-283C-4A8E-AEB0-C64762FED707}" type="parTrans" cxnId="{441F4136-EC92-4589-988B-6A9B13443D81}">
      <dgm:prSet/>
      <dgm:spPr/>
    </dgm:pt>
    <dgm:pt modelId="{0A6831B6-9844-4424-9626-28119F6F7C60}" type="sibTrans" cxnId="{441F4136-EC92-4589-988B-6A9B13443D81}">
      <dgm:prSet/>
      <dgm:spPr/>
    </dgm:pt>
    <dgm:pt modelId="{69701208-5017-4467-BEB3-FEB11FE0197F}">
      <dgm:prSet custT="1"/>
      <dgm:spPr>
        <a:solidFill>
          <a:schemeClr val="bg2">
            <a:alpha val="90000"/>
          </a:schemeClr>
        </a:solidFill>
        <a:ln>
          <a:noFill/>
        </a:ln>
      </dgm:spPr>
      <dgm:t>
        <a:bodyPr/>
        <a:lstStyle/>
        <a:p>
          <a:pPr>
            <a:buFont typeface="Arial" panose="020B0604020202020204" pitchFamily="34" charset="0"/>
            <a:buNone/>
          </a:pPr>
          <a:endParaRPr lang="en-US" sz="1400"/>
        </a:p>
      </dgm:t>
    </dgm:pt>
    <dgm:pt modelId="{579DDA7D-72A1-4696-8566-290F24682775}" type="parTrans" cxnId="{0DD8F727-5AE8-4780-9400-DEEACE2F6D33}">
      <dgm:prSet/>
      <dgm:spPr/>
    </dgm:pt>
    <dgm:pt modelId="{B42B5A79-509D-4A45-988E-B59D5A6A7AF7}" type="sibTrans" cxnId="{0DD8F727-5AE8-4780-9400-DEEACE2F6D33}">
      <dgm:prSet/>
      <dgm:spPr/>
    </dgm:pt>
    <dgm:pt modelId="{9F19E68C-5854-410B-AD88-BA61DBD90AF1}">
      <dgm:prSet custT="1"/>
      <dgm:spPr>
        <a:solidFill>
          <a:schemeClr val="bg2">
            <a:alpha val="90000"/>
          </a:schemeClr>
        </a:solidFill>
        <a:ln>
          <a:noFill/>
        </a:ln>
      </dgm:spPr>
      <dgm:t>
        <a:bodyPr/>
        <a:lstStyle/>
        <a:p>
          <a:pPr>
            <a:buFont typeface="Arial" panose="020B0604020202020204" pitchFamily="34" charset="0"/>
            <a:buNone/>
          </a:pPr>
          <a:endParaRPr lang="en-US" sz="1400"/>
        </a:p>
      </dgm:t>
    </dgm:pt>
    <dgm:pt modelId="{6B9C5946-43E2-411D-9A89-ACFF8FCA994F}" type="parTrans" cxnId="{8FFFDDE8-C80D-47EF-B18A-2201BC355F44}">
      <dgm:prSet/>
      <dgm:spPr/>
    </dgm:pt>
    <dgm:pt modelId="{8ED64AFB-FBC5-4724-8CC1-7551FE9C0AD0}" type="sibTrans" cxnId="{8FFFDDE8-C80D-47EF-B18A-2201BC355F44}">
      <dgm:prSet/>
      <dgm:spPr/>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2" custScaleY="55359" custLinFactNeighborX="-1" custLinFactNeighborY="-20680">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2">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2" custScaleY="54502" custLinFactNeighborX="1" custLinFactNeighborY="-22598">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2">
        <dgm:presLayoutVars>
          <dgm:bulletEnabled val="1"/>
        </dgm:presLayoutVars>
      </dgm:prSet>
      <dgm:spPr/>
    </dgm:pt>
  </dgm:ptLst>
  <dgm:cxnLst>
    <dgm:cxn modelId="{D92C3701-72E0-457F-9003-10755140DFB5}" srcId="{48D61608-FDC0-4368-BE14-F3AAE6ED56F2}" destId="{EE9D865F-9EAE-4002-9A04-FF285EFA8FFD}" srcOrd="1" destOrd="0" parTransId="{942687EA-E180-4193-BCEA-86F4BC606A1E}" sibTransId="{FF4275B5-4D48-49A8-900C-03656661BD67}"/>
    <dgm:cxn modelId="{9EDEA201-9E31-4E9A-83FF-90087F33E51E}" srcId="{6385F6C3-F549-4EF7-8A7B-E908A426392C}" destId="{CA4D4197-B57E-4B14-9475-9B14F94027B1}" srcOrd="0" destOrd="0" parTransId="{1852B5C7-3995-49A5-BBAF-83A9981E47FD}" sibTransId="{6BE88ACF-1515-4B25-A2D6-313F6DC5ABE2}"/>
    <dgm:cxn modelId="{254E8510-2E32-4704-AB1A-8ADDDCB5B2EC}" srcId="{1FBF17A6-ED3B-44D9-B750-4ACF386F5D47}" destId="{48D61608-FDC0-4368-BE14-F3AAE6ED56F2}" srcOrd="4" destOrd="0" parTransId="{FD3380EB-F611-4D83-8654-48ECE488A640}" sibTransId="{70DAE54C-3833-4EF6-B52F-CC4A1EB9AFA7}"/>
    <dgm:cxn modelId="{92101B14-9F3D-4648-B2EE-4F1DA3565487}" type="presOf" srcId="{668BCFFA-A162-4B36-A62D-A75FDDB3B0F0}" destId="{AB4963A6-6367-4ABA-9FA6-DBB49575AEB9}" srcOrd="0" destOrd="9" presId="urn:microsoft.com/office/officeart/2005/8/layout/hList1"/>
    <dgm:cxn modelId="{20BDC31B-22C0-413C-9BC1-7F8641B88438}" type="presOf" srcId="{ABA2FDBC-9780-4A7E-910F-2030CFFE37B7}" destId="{EE808BBF-4C4F-458F-906E-6E3A116EF899}" srcOrd="0" destOrd="2" presId="urn:microsoft.com/office/officeart/2005/8/layout/hList1"/>
    <dgm:cxn modelId="{FD4D0D22-BE6A-4B44-91B2-873315F75FB9}" type="presOf" srcId="{C1F9B498-5B31-4365-88AA-5FB1F41517CD}" destId="{AB4963A6-6367-4ABA-9FA6-DBB49575AEB9}" srcOrd="0" destOrd="10" presId="urn:microsoft.com/office/officeart/2005/8/layout/hList1"/>
    <dgm:cxn modelId="{FF654122-718C-4175-8095-B58F09CEDE1F}" srcId="{48D61608-FDC0-4368-BE14-F3AAE6ED56F2}" destId="{E11660E2-BFEB-4B44-ACA3-C70ED4503F76}" srcOrd="3" destOrd="0" parTransId="{39D5D8B4-495B-423D-AD9B-E3E7BBDFA71E}" sibTransId="{5D631F44-F82C-4FAB-B21F-08F285DE5FA9}"/>
    <dgm:cxn modelId="{0190BD22-6FC3-4EF8-9C1B-31C4519C976D}" srcId="{4B0A216B-2972-4F48-9D24-92DD32946FFC}" destId="{1FBF17A6-ED3B-44D9-B750-4ACF386F5D47}" srcOrd="1" destOrd="0" parTransId="{56BF8C26-074A-43AD-A2EE-06775C685C27}" sibTransId="{77AD9E18-A96C-46C1-A7D6-B10A75556C59}"/>
    <dgm:cxn modelId="{5719CF22-B1E5-41E5-A91A-D37A26D5CA33}" srcId="{6385F6C3-F549-4EF7-8A7B-E908A426392C}" destId="{2E3630CB-02A1-4A7A-BCB3-FA8BAD597F8B}" srcOrd="2" destOrd="0" parTransId="{CE0BA8A7-E7E0-41D5-97F9-28B32DF6042B}" sibTransId="{12069281-D202-4F84-81E0-ECA7923ECE8E}"/>
    <dgm:cxn modelId="{D12EBA25-285A-4A1D-AE76-278E1EF4A076}" type="presOf" srcId="{2BF884DC-B334-410A-ADDB-0258B9D6467C}" destId="{EE808BBF-4C4F-458F-906E-6E3A116EF899}" srcOrd="0" destOrd="9" presId="urn:microsoft.com/office/officeart/2005/8/layout/hList1"/>
    <dgm:cxn modelId="{0DD8F727-5AE8-4780-9400-DEEACE2F6D33}" srcId="{6385F6C3-F549-4EF7-8A7B-E908A426392C}" destId="{69701208-5017-4467-BEB3-FEB11FE0197F}" srcOrd="3" destOrd="0" parTransId="{579DDA7D-72A1-4696-8566-290F24682775}" sibTransId="{B42B5A79-509D-4A45-988E-B59D5A6A7AF7}"/>
    <dgm:cxn modelId="{7B2F2F2C-3324-4AE1-9E1C-4FAACA08E138}" srcId="{6140A1FF-67E9-4C02-BC64-F3A1D2C33D4B}" destId="{C1F9B498-5B31-4365-88AA-5FB1F41517CD}" srcOrd="5" destOrd="0" parTransId="{03AC5005-8A38-46A3-8535-A66F47853CAF}" sibTransId="{FB3B3F60-310D-4C6B-A05C-BD33A3627CE8}"/>
    <dgm:cxn modelId="{D72A782C-3EBC-4C01-806F-4BC23219FFA5}" srcId="{6140A1FF-67E9-4C02-BC64-F3A1D2C33D4B}" destId="{B6BDB207-6F17-4356-BD17-33D3C7769E43}" srcOrd="0" destOrd="0" parTransId="{77B3CAFF-C156-4955-9291-B685FEA8B128}" sibTransId="{840345B8-8B9C-404C-98AC-12C77CE5E2D9}"/>
    <dgm:cxn modelId="{EC220732-0B39-46D4-8B21-D69F970BDAA1}" srcId="{1FBF17A6-ED3B-44D9-B750-4ACF386F5D47}" destId="{1ADCAFE7-2BA6-44FA-814D-174884743D1F}" srcOrd="0" destOrd="0" parTransId="{4B1FCEC9-0E53-47B9-A763-CFDC09129998}" sibTransId="{3F09F83A-7B23-480C-8977-8F84A5569196}"/>
    <dgm:cxn modelId="{441F4136-EC92-4589-988B-6A9B13443D81}" srcId="{48D61608-FDC0-4368-BE14-F3AAE6ED56F2}" destId="{1D21903C-C835-4B48-A8C7-339C4FF7A194}" srcOrd="2" destOrd="0" parTransId="{4E036DE7-283C-4A8E-AEB0-C64762FED707}" sibTransId="{0A6831B6-9844-4424-9626-28119F6F7C60}"/>
    <dgm:cxn modelId="{7159F537-6C4C-419B-A1EB-582E08E18E9B}" type="presOf" srcId="{9F19E68C-5854-410B-AD88-BA61DBD90AF1}" destId="{EE808BBF-4C4F-458F-906E-6E3A116EF899}" srcOrd="0" destOrd="3" presId="urn:microsoft.com/office/officeart/2005/8/layout/hList1"/>
    <dgm:cxn modelId="{07FE1D39-AD26-48DC-BB70-4D206ED8C84D}" type="presOf" srcId="{69701208-5017-4467-BEB3-FEB11FE0197F}" destId="{AB4963A6-6367-4ABA-9FA6-DBB49575AEB9}" srcOrd="0" destOrd="3" presId="urn:microsoft.com/office/officeart/2005/8/layout/hList1"/>
    <dgm:cxn modelId="{9C7E343B-881B-4B6A-B687-AA9468EDDB23}" type="presOf" srcId="{1D21903C-C835-4B48-A8C7-339C4FF7A194}" destId="{EE808BBF-4C4F-458F-906E-6E3A116EF899}" srcOrd="0" destOrd="7" presId="urn:microsoft.com/office/officeart/2005/8/layout/hList1"/>
    <dgm:cxn modelId="{E26BB15F-A2DD-4FFC-81CD-DA05F58117B4}" type="presOf" srcId="{CA4D4197-B57E-4B14-9475-9B14F94027B1}" destId="{AB4963A6-6367-4ABA-9FA6-DBB49575AEB9}" srcOrd="0" destOrd="0" presId="urn:microsoft.com/office/officeart/2005/8/layout/hList1"/>
    <dgm:cxn modelId="{281A6963-F17E-449B-8353-AAE389DAFBF8}" type="presOf" srcId="{8B98B7A8-8128-479F-B6B9-014DEEF2DE57}" destId="{AB4963A6-6367-4ABA-9FA6-DBB49575AEB9}" srcOrd="0" destOrd="8" presId="urn:microsoft.com/office/officeart/2005/8/layout/hList1"/>
    <dgm:cxn modelId="{9FE2C065-69AF-4041-AA13-FE9B206AFB7C}" type="presOf" srcId="{48D61608-FDC0-4368-BE14-F3AAE6ED56F2}" destId="{EE808BBF-4C4F-458F-906E-6E3A116EF899}" srcOrd="0" destOrd="4" presId="urn:microsoft.com/office/officeart/2005/8/layout/hList1"/>
    <dgm:cxn modelId="{81B83A69-0F24-4D74-AF41-D73A2FE2DA5A}" type="presOf" srcId="{11511E5B-2FE6-457E-B661-5201A97EE45F}" destId="{AB4963A6-6367-4ABA-9FA6-DBB49575AEB9}" srcOrd="0" destOrd="6" presId="urn:microsoft.com/office/officeart/2005/8/layout/hList1"/>
    <dgm:cxn modelId="{AA5B6C69-7181-4C30-9D32-707A63087BD3}" type="presOf" srcId="{EE9D865F-9EAE-4002-9A04-FF285EFA8FFD}" destId="{EE808BBF-4C4F-458F-906E-6E3A116EF899}" srcOrd="0" destOrd="6" presId="urn:microsoft.com/office/officeart/2005/8/layout/hList1"/>
    <dgm:cxn modelId="{DDD97A4B-7904-4F49-A03F-BF363F6B784F}" type="presOf" srcId="{1ADCAFE7-2BA6-44FA-814D-174884743D1F}" destId="{EE808BBF-4C4F-458F-906E-6E3A116EF899}" srcOrd="0" destOrd="0" presId="urn:microsoft.com/office/officeart/2005/8/layout/hList1"/>
    <dgm:cxn modelId="{D7182971-4E2E-49ED-A0D5-197C678881F3}" srcId="{6140A1FF-67E9-4C02-BC64-F3A1D2C33D4B}" destId="{8B98B7A8-8128-479F-B6B9-014DEEF2DE57}" srcOrd="3" destOrd="0" parTransId="{DDBC320F-2738-449E-A428-6E5CBDEACCD2}" sibTransId="{294F7752-933E-4065-9D69-39F5DFB50812}"/>
    <dgm:cxn modelId="{3D275072-0FE1-4DF9-9894-69DAC7398C0B}" type="presOf" srcId="{1FBF17A6-ED3B-44D9-B750-4ACF386F5D47}" destId="{2DD4E8E4-D05A-431D-8032-66D6B9096BBB}" srcOrd="0" destOrd="0" presId="urn:microsoft.com/office/officeart/2005/8/layout/hList1"/>
    <dgm:cxn modelId="{D5730475-E7EA-4CB6-B7F9-E338F1BF240E}" type="presOf" srcId="{6140A1FF-67E9-4C02-BC64-F3A1D2C33D4B}" destId="{AB4963A6-6367-4ABA-9FA6-DBB49575AEB9}" srcOrd="0" destOrd="4"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8899738B-FB87-456C-AFCC-E6336F153A05}" type="presOf" srcId="{B6BDB207-6F17-4356-BD17-33D3C7769E43}" destId="{AB4963A6-6367-4ABA-9FA6-DBB49575AEB9}" srcOrd="0" destOrd="5" presId="urn:microsoft.com/office/officeart/2005/8/layout/hList1"/>
    <dgm:cxn modelId="{D0787E93-59A4-42F4-B623-1EE07C1D1B63}" srcId="{6385F6C3-F549-4EF7-8A7B-E908A426392C}" destId="{521E6C39-7EF3-4C0D-8E1A-4C2B00C81BA8}" srcOrd="1" destOrd="0" parTransId="{5DCB1E01-263A-4B38-8591-8B2A775B560C}" sibTransId="{A7404071-901A-462E-852A-86ED4310D630}"/>
    <dgm:cxn modelId="{52ECF895-1D1B-4F80-860D-88609A4A75B0}" type="presOf" srcId="{4B0A216B-2972-4F48-9D24-92DD32946FFC}" destId="{5945574A-881D-4B9E-AFDE-A15CF6DBC89C}" srcOrd="0" destOrd="0" presId="urn:microsoft.com/office/officeart/2005/8/layout/hList1"/>
    <dgm:cxn modelId="{846596A1-A4C5-4254-A152-D049649F6EAF}" type="presOf" srcId="{2E3630CB-02A1-4A7A-BCB3-FA8BAD597F8B}" destId="{AB4963A6-6367-4ABA-9FA6-DBB49575AEB9}" srcOrd="0" destOrd="2" presId="urn:microsoft.com/office/officeart/2005/8/layout/hList1"/>
    <dgm:cxn modelId="{6CA56FA4-2C4D-47C6-BB92-BBA3CF860802}" srcId="{6140A1FF-67E9-4C02-BC64-F3A1D2C33D4B}" destId="{11511E5B-2FE6-457E-B661-5201A97EE45F}" srcOrd="1" destOrd="0" parTransId="{299070FB-A3DF-4B4A-B5FC-1AE44F044DE1}" sibTransId="{69C3C875-77E2-4719-9E1C-85DCF98DD30C}"/>
    <dgm:cxn modelId="{5B5F04A7-355B-459C-B1B9-6C2A4C52C850}" type="presOf" srcId="{BB4C5FF7-392D-4FB8-966C-ED83AD939EB8}" destId="{EE808BBF-4C4F-458F-906E-6E3A116EF899}" srcOrd="0" destOrd="5" presId="urn:microsoft.com/office/officeart/2005/8/layout/hList1"/>
    <dgm:cxn modelId="{52952FD1-91A6-4DFC-A12D-69274EBF721C}" type="presOf" srcId="{E11660E2-BFEB-4B44-ACA3-C70ED4503F76}" destId="{EE808BBF-4C4F-458F-906E-6E3A116EF899}" srcOrd="0" destOrd="8" presId="urn:microsoft.com/office/officeart/2005/8/layout/hList1"/>
    <dgm:cxn modelId="{3133E4D4-AFD2-4A8E-B8E2-EECB2190C8CD}" srcId="{6140A1FF-67E9-4C02-BC64-F3A1D2C33D4B}" destId="{15D05B4C-49BB-4798-81E8-EFB3B6100E3C}" srcOrd="2" destOrd="0" parTransId="{EB7F12B0-90EF-4D7D-8472-0CF20BE4150E}" sibTransId="{8F143D40-356B-4ACD-97B1-6007E193C1FE}"/>
    <dgm:cxn modelId="{F2732FD7-45AF-4C09-BCE2-38A8DF5C000B}" type="presOf" srcId="{15D05B4C-49BB-4798-81E8-EFB3B6100E3C}" destId="{AB4963A6-6367-4ABA-9FA6-DBB49575AEB9}" srcOrd="0" destOrd="7" presId="urn:microsoft.com/office/officeart/2005/8/layout/hList1"/>
    <dgm:cxn modelId="{58F329DB-473D-41E8-8CE6-CB6937623DBC}" srcId="{1FBF17A6-ED3B-44D9-B750-4ACF386F5D47}" destId="{15F7BEE5-5BFC-448C-ADE7-02DC7A0B1FD3}" srcOrd="1" destOrd="0" parTransId="{7367B41F-D272-459D-A805-70D753C601CF}" sibTransId="{7F68280A-0E04-4FFF-AD8B-9D50D197ADC2}"/>
    <dgm:cxn modelId="{245BB0DE-847D-4F38-B300-696E4677115E}" type="presOf" srcId="{15F7BEE5-5BFC-448C-ADE7-02DC7A0B1FD3}" destId="{EE808BBF-4C4F-458F-906E-6E3A116EF899}" srcOrd="0" destOrd="1" presId="urn:microsoft.com/office/officeart/2005/8/layout/hList1"/>
    <dgm:cxn modelId="{858FEFDE-47B0-43F8-934F-77818B63F571}" type="presOf" srcId="{521E6C39-7EF3-4C0D-8E1A-4C2B00C81BA8}" destId="{AB4963A6-6367-4ABA-9FA6-DBB49575AEB9}" srcOrd="0" destOrd="1" presId="urn:microsoft.com/office/officeart/2005/8/layout/hList1"/>
    <dgm:cxn modelId="{8FFFDDE8-C80D-47EF-B18A-2201BC355F44}" srcId="{1FBF17A6-ED3B-44D9-B750-4ACF386F5D47}" destId="{9F19E68C-5854-410B-AD88-BA61DBD90AF1}" srcOrd="3" destOrd="0" parTransId="{6B9C5946-43E2-411D-9A89-ACFF8FCA994F}" sibTransId="{8ED64AFB-FBC5-4724-8CC1-7551FE9C0AD0}"/>
    <dgm:cxn modelId="{2C4021EA-DC4E-453F-9017-1A5822D8347C}" srcId="{48D61608-FDC0-4368-BE14-F3AAE6ED56F2}" destId="{BB4C5FF7-392D-4FB8-966C-ED83AD939EB8}" srcOrd="0" destOrd="0" parTransId="{F72ADA3F-38FC-4FC0-8B14-0E744B4517CD}" sibTransId="{0CDBC1EA-FE7F-4B0B-96C2-06E2DCAE09D1}"/>
    <dgm:cxn modelId="{D62166ED-7B8C-4C7D-922F-BB92E8154A3D}" srcId="{6385F6C3-F549-4EF7-8A7B-E908A426392C}" destId="{6140A1FF-67E9-4C02-BC64-F3A1D2C33D4B}" srcOrd="4" destOrd="0" parTransId="{B40B239F-B1DC-45AB-9A95-94344A8A4940}" sibTransId="{8852912C-C606-486D-B8A1-A454459C0102}"/>
    <dgm:cxn modelId="{FB9FBEF3-CFB5-4FB2-87F9-63F452FF6B8C}" srcId="{6140A1FF-67E9-4C02-BC64-F3A1D2C33D4B}" destId="{668BCFFA-A162-4B36-A62D-A75FDDB3B0F0}" srcOrd="4" destOrd="0" parTransId="{5CD795E6-52F8-4CA7-8A74-6FA7B41CDFE8}" sibTransId="{3355E8A7-D166-4033-B1EC-50AEE3E00AC4}"/>
    <dgm:cxn modelId="{D9EACEF3-184F-4E33-A071-2D9848A50E65}" srcId="{1FBF17A6-ED3B-44D9-B750-4ACF386F5D47}" destId="{ABA2FDBC-9780-4A7E-910F-2030CFFE37B7}" srcOrd="2" destOrd="0" parTransId="{2B7DFFF5-F993-431D-BA43-AAB41A8C4960}" sibTransId="{8FC81018-85CC-4BDC-B708-E424EEFBDA7B}"/>
    <dgm:cxn modelId="{7E1C69F6-2608-4579-AC18-26B46E04BB10}" srcId="{1FBF17A6-ED3B-44D9-B750-4ACF386F5D47}" destId="{2BF884DC-B334-410A-ADDB-0258B9D6467C}" srcOrd="5" destOrd="0" parTransId="{807A5BCE-3AE7-4271-A857-518140F12028}" sibTransId="{D1C5EA4B-09B6-4B22-96A2-A2F20D45224B}"/>
    <dgm:cxn modelId="{A4B2A2FF-2980-45E0-B7EC-C5F8C7955E5C}" type="presOf" srcId="{6385F6C3-F549-4EF7-8A7B-E908A426392C}" destId="{759C6E91-7722-4B40-A489-C46292773F22}" srcOrd="0" destOrd="0" presId="urn:microsoft.com/office/officeart/2005/8/layout/hList1"/>
    <dgm:cxn modelId="{9A0CB2C4-A478-4F20-AB5D-234F55159F49}" type="presParOf" srcId="{5945574A-881D-4B9E-AFDE-A15CF6DBC89C}" destId="{8C1C2A8F-339D-4C5D-82BD-1A7EE019E1A8}" srcOrd="0" destOrd="0" presId="urn:microsoft.com/office/officeart/2005/8/layout/hList1"/>
    <dgm:cxn modelId="{A5DD51BC-78E2-4967-8A84-94F086DA3C78}" type="presParOf" srcId="{8C1C2A8F-339D-4C5D-82BD-1A7EE019E1A8}" destId="{759C6E91-7722-4B40-A489-C46292773F22}" srcOrd="0" destOrd="0" presId="urn:microsoft.com/office/officeart/2005/8/layout/hList1"/>
    <dgm:cxn modelId="{0ACFD5C4-92E3-438C-9EA6-F95E2A8D768B}" type="presParOf" srcId="{8C1C2A8F-339D-4C5D-82BD-1A7EE019E1A8}" destId="{AB4963A6-6367-4ABA-9FA6-DBB49575AEB9}" srcOrd="1" destOrd="0" presId="urn:microsoft.com/office/officeart/2005/8/layout/hList1"/>
    <dgm:cxn modelId="{DDA0F970-30C1-4E25-929E-63C316C90C14}" type="presParOf" srcId="{5945574A-881D-4B9E-AFDE-A15CF6DBC89C}" destId="{E1AB252A-C609-46FF-BEF6-28745779CE94}" srcOrd="1" destOrd="0" presId="urn:microsoft.com/office/officeart/2005/8/layout/hList1"/>
    <dgm:cxn modelId="{F09FB1CD-F401-4659-BD27-7E14477FDFE0}" type="presParOf" srcId="{5945574A-881D-4B9E-AFDE-A15CF6DBC89C}" destId="{42ABAE27-2B5A-4597-ABF2-0CAA29FE855E}" srcOrd="2" destOrd="0" presId="urn:microsoft.com/office/officeart/2005/8/layout/hList1"/>
    <dgm:cxn modelId="{2493E76C-1801-4ED5-A588-DDF08E7A8772}" type="presParOf" srcId="{42ABAE27-2B5A-4597-ABF2-0CAA29FE855E}" destId="{2DD4E8E4-D05A-431D-8032-66D6B9096BBB}" srcOrd="0" destOrd="0" presId="urn:microsoft.com/office/officeart/2005/8/layout/hList1"/>
    <dgm:cxn modelId="{3849DD2C-B812-4BBD-85F7-578E601D651B}" type="presParOf" srcId="{42ABAE27-2B5A-4597-ABF2-0CAA29FE855E}" destId="{EE808BBF-4C4F-458F-906E-6E3A116EF89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irtualBox</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Cisco 9800-CL</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Finish the pre-lab tasks</a:t>
          </a:r>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dirty="0" err="1"/>
            <a:t>Get</a:t>
          </a:r>
          <a:r>
            <a:rPr lang="nb-NO" sz="1400" b="0" i="0" kern="1200" dirty="0"/>
            <a:t> to </a:t>
          </a:r>
          <a:r>
            <a:rPr lang="nb-NO" sz="1400" b="0" i="0" kern="1200" dirty="0" err="1"/>
            <a:t>know</a:t>
          </a:r>
          <a:r>
            <a:rPr lang="nb-NO" sz="1400" b="0" i="0" kern="1200" dirty="0"/>
            <a:t> </a:t>
          </a:r>
          <a:r>
            <a:rPr lang="nb-NO" sz="1400" b="0" i="0" kern="1200" dirty="0" err="1"/>
            <a:t>the</a:t>
          </a:r>
          <a:r>
            <a:rPr lang="nb-NO" sz="1400" b="0" i="0" kern="1200" dirty="0"/>
            <a:t> lab </a:t>
          </a:r>
          <a:r>
            <a:rPr lang="nb-NO" sz="1400" b="0" i="0" kern="1200" dirty="0" err="1"/>
            <a:t>environment</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Configure your AP</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p>
        <a:p>
          <a:pPr marL="114300" lvl="1" indent="-114300" algn="l" defTabSz="622300">
            <a:lnSpc>
              <a:spcPct val="90000"/>
            </a:lnSpc>
            <a:spcBef>
              <a:spcPct val="0"/>
            </a:spcBef>
            <a:spcAft>
              <a:spcPct val="15000"/>
            </a:spcAft>
            <a:buFont typeface="Arial" panose="020B0604020202020204" pitchFamily="34" charset="0"/>
            <a:buChar char="•"/>
          </a:pPr>
          <a:endParaRPr lang="en-US"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596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Other vendors (MIST? Meraki?)</a:t>
          </a:r>
        </a:p>
      </dsp:txBody>
      <dsp:txXfrm>
        <a:off x="7785960" y="1580151"/>
        <a:ext cx="3413359" cy="250343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3246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369824" tIns="211328" rIns="369824" bIns="211328" numCol="1" spcCol="1270" anchor="ctr" anchorCtr="0">
          <a:noAutofit/>
        </a:bodyPr>
        <a:lstStyle/>
        <a:p>
          <a:pPr marL="0" lvl="0" indent="0" algn="ctr" defTabSz="2311400">
            <a:lnSpc>
              <a:spcPct val="90000"/>
            </a:lnSpc>
            <a:spcBef>
              <a:spcPct val="0"/>
            </a:spcBef>
            <a:spcAft>
              <a:spcPct val="35000"/>
            </a:spcAft>
            <a:buNone/>
          </a:pPr>
          <a:r>
            <a:rPr lang="nb-NO" sz="5200" kern="1200">
              <a:solidFill>
                <a:schemeClr val="tx1"/>
              </a:solidFill>
            </a:rPr>
            <a:t>Ansible</a:t>
          </a:r>
          <a:endParaRPr lang="en-US" sz="5200" kern="1200">
            <a:solidFill>
              <a:schemeClr val="tx1"/>
            </a:solidFill>
          </a:endParaRPr>
        </a:p>
      </dsp:txBody>
      <dsp:txXfrm>
        <a:off x="3500" y="324608"/>
        <a:ext cx="3413359" cy="1365343"/>
      </dsp:txXfrm>
    </dsp:sp>
    <dsp:sp modelId="{AB4963A6-6367-4ABA-9FA6-DBB49575AEB9}">
      <dsp:nvSpPr>
        <dsp:cNvPr id="0" name=""/>
        <dsp:cNvSpPr/>
      </dsp:nvSpPr>
      <dsp:spPr>
        <a:xfrm>
          <a:off x="3500" y="1689951"/>
          <a:ext cx="3413359" cy="228384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Run a CLI command</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CLI configuratio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Using Jinja2 templates</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Using RESTCONF</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Write your own modul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RESTCONF + own module</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Organizing projects</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 more to come</a:t>
          </a:r>
        </a:p>
      </dsp:txBody>
      <dsp:txXfrm>
        <a:off x="3500" y="1689951"/>
        <a:ext cx="3413359" cy="2283840"/>
      </dsp:txXfrm>
    </dsp:sp>
    <dsp:sp modelId="{2DD4E8E4-D05A-431D-8032-66D6B9096BBB}">
      <dsp:nvSpPr>
        <dsp:cNvPr id="0" name=""/>
        <dsp:cNvSpPr/>
      </dsp:nvSpPr>
      <dsp:spPr>
        <a:xfrm>
          <a:off x="3894730" y="3246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369824" tIns="211328" rIns="369824" bIns="211328" numCol="1" spcCol="1270" anchor="ctr" anchorCtr="0">
          <a:noAutofit/>
        </a:bodyPr>
        <a:lstStyle/>
        <a:p>
          <a:pPr marL="0" lvl="0" indent="0" algn="ctr" defTabSz="2311400">
            <a:lnSpc>
              <a:spcPct val="90000"/>
            </a:lnSpc>
            <a:spcBef>
              <a:spcPct val="0"/>
            </a:spcBef>
            <a:spcAft>
              <a:spcPct val="35000"/>
            </a:spcAft>
            <a:buNone/>
          </a:pPr>
          <a:r>
            <a:rPr lang="nb-NO" sz="5200" kern="1200">
              <a:solidFill>
                <a:schemeClr val="tx1"/>
              </a:solidFill>
            </a:rPr>
            <a:t>Python</a:t>
          </a:r>
          <a:endParaRPr lang="en-US" sz="5200" kern="1200">
            <a:solidFill>
              <a:schemeClr val="tx1"/>
            </a:solidFill>
          </a:endParaRPr>
        </a:p>
      </dsp:txBody>
      <dsp:txXfrm>
        <a:off x="3894730" y="324608"/>
        <a:ext cx="3413359" cy="1365343"/>
      </dsp:txXfrm>
    </dsp:sp>
    <dsp:sp modelId="{EE808BBF-4C4F-458F-906E-6E3A116EF899}">
      <dsp:nvSpPr>
        <dsp:cNvPr id="0" name=""/>
        <dsp:cNvSpPr/>
      </dsp:nvSpPr>
      <dsp:spPr>
        <a:xfrm>
          <a:off x="3894730" y="1689951"/>
          <a:ext cx="3413359" cy="228384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a:t>Using Netmiko</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Using RESTCONF</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Get metrics, draw a graph</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Working with AI companion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Using .env file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Nornir automation framework</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More Nornir</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 more to come</a:t>
          </a:r>
          <a:endParaRPr lang="en-US" sz="1400" kern="1200" dirty="0"/>
        </a:p>
      </dsp:txBody>
      <dsp:txXfrm>
        <a:off x="3894730" y="1689951"/>
        <a:ext cx="3413359" cy="2283840"/>
      </dsp:txXfrm>
    </dsp:sp>
    <dsp:sp modelId="{EBF2AC56-6931-4259-8008-6B6FED0C999B}">
      <dsp:nvSpPr>
        <dsp:cNvPr id="0" name=""/>
        <dsp:cNvSpPr/>
      </dsp:nvSpPr>
      <dsp:spPr>
        <a:xfrm>
          <a:off x="7789461" y="3246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369824" tIns="211328" rIns="369824" bIns="211328" numCol="1" spcCol="1270" anchor="ctr" anchorCtr="0">
          <a:noAutofit/>
        </a:bodyPr>
        <a:lstStyle/>
        <a:p>
          <a:pPr marL="0" lvl="0" indent="0" algn="ctr" defTabSz="2311400">
            <a:lnSpc>
              <a:spcPct val="90000"/>
            </a:lnSpc>
            <a:spcBef>
              <a:spcPct val="0"/>
            </a:spcBef>
            <a:spcAft>
              <a:spcPct val="35000"/>
            </a:spcAft>
            <a:buNone/>
          </a:pPr>
          <a:r>
            <a:rPr lang="nb-NO" sz="5200" kern="1200">
              <a:solidFill>
                <a:schemeClr val="tx1"/>
              </a:solidFill>
            </a:rPr>
            <a:t>Grafana</a:t>
          </a:r>
          <a:endParaRPr lang="en-US" sz="5200" kern="1200">
            <a:solidFill>
              <a:schemeClr val="tx1"/>
            </a:solidFill>
          </a:endParaRPr>
        </a:p>
      </dsp:txBody>
      <dsp:txXfrm>
        <a:off x="7789461" y="324608"/>
        <a:ext cx="3413359" cy="1365343"/>
      </dsp:txXfrm>
    </dsp:sp>
    <dsp:sp modelId="{58C412B4-D560-4343-BC42-1CCCC6E64B50}">
      <dsp:nvSpPr>
        <dsp:cNvPr id="0" name=""/>
        <dsp:cNvSpPr/>
      </dsp:nvSpPr>
      <dsp:spPr>
        <a:xfrm>
          <a:off x="7785960" y="1689951"/>
          <a:ext cx="3413359" cy="228384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t>Working with syslog</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Finish building your own TIG stack from day 1</a:t>
          </a:r>
          <a:endParaRPr lang="nb-NO"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Extended C9800 dashboard</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 building mor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 and improving even more</a:t>
          </a:r>
        </a:p>
        <a:p>
          <a:pPr marL="114300" lvl="1" indent="-114300" algn="l" defTabSz="622300">
            <a:lnSpc>
              <a:spcPct val="90000"/>
            </a:lnSpc>
            <a:spcBef>
              <a:spcPct val="0"/>
            </a:spcBef>
            <a:spcAft>
              <a:spcPct val="15000"/>
            </a:spcAft>
            <a:buFont typeface="Arial" panose="020B0604020202020204" pitchFamily="34" charset="0"/>
            <a:buChar char="•"/>
          </a:pPr>
          <a:endParaRPr lang="nb-NO" sz="1400" kern="1200"/>
        </a:p>
      </dsp:txBody>
      <dsp:txXfrm>
        <a:off x="7785960" y="1689951"/>
        <a:ext cx="3413359" cy="22838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2" y="236607"/>
          <a:ext cx="5234911" cy="8609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70256" tIns="154432" rIns="270256" bIns="154432" numCol="1" spcCol="1270" anchor="ctr" anchorCtr="0">
          <a:noAutofit/>
        </a:bodyPr>
        <a:lstStyle/>
        <a:p>
          <a:pPr marL="0" lvl="0" indent="0" algn="ctr" defTabSz="1689100">
            <a:lnSpc>
              <a:spcPct val="90000"/>
            </a:lnSpc>
            <a:spcBef>
              <a:spcPct val="0"/>
            </a:spcBef>
            <a:spcAft>
              <a:spcPct val="35000"/>
            </a:spcAft>
            <a:buNone/>
          </a:pPr>
          <a:r>
            <a:rPr lang="nb-NO" sz="3800" kern="1200">
              <a:solidFill>
                <a:schemeClr val="tx1"/>
              </a:solidFill>
            </a:rPr>
            <a:t>Type 1</a:t>
          </a:r>
          <a:endParaRPr lang="en-US" sz="3800" kern="1200">
            <a:solidFill>
              <a:schemeClr val="tx1"/>
            </a:solidFill>
          </a:endParaRPr>
        </a:p>
      </dsp:txBody>
      <dsp:txXfrm>
        <a:off x="2" y="236607"/>
        <a:ext cx="5234911" cy="860943"/>
      </dsp:txXfrm>
    </dsp:sp>
    <dsp:sp modelId="{AB4963A6-6367-4ABA-9FA6-DBB49575AEB9}">
      <dsp:nvSpPr>
        <dsp:cNvPr id="0" name=""/>
        <dsp:cNvSpPr/>
      </dsp:nvSpPr>
      <dsp:spPr>
        <a:xfrm>
          <a:off x="54" y="1072037"/>
          <a:ext cx="5234911" cy="266814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Bare-metal (run directly on hardwar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Superior performance</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For production use</a:t>
          </a:r>
        </a:p>
        <a:p>
          <a:pPr marL="114300" lvl="1" indent="-114300" algn="l" defTabSz="622300">
            <a:lnSpc>
              <a:spcPct val="90000"/>
            </a:lnSpc>
            <a:spcBef>
              <a:spcPct val="0"/>
            </a:spcBef>
            <a:spcAft>
              <a:spcPct val="15000"/>
            </a:spcAft>
            <a:buFont typeface="Arial" panose="020B0604020202020204" pitchFamily="34" charset="0"/>
            <a:buNone/>
          </a:pPr>
          <a:endParaRPr lang="en-US" sz="1400" kern="1200"/>
        </a:p>
        <a:p>
          <a:pPr marL="114300" lvl="1" indent="-114300" algn="l" defTabSz="622300">
            <a:lnSpc>
              <a:spcPct val="90000"/>
            </a:lnSpc>
            <a:spcBef>
              <a:spcPct val="0"/>
            </a:spcBef>
            <a:spcAft>
              <a:spcPct val="15000"/>
            </a:spcAft>
            <a:buFont typeface="Arial" panose="020B0604020202020204" pitchFamily="34" charset="0"/>
            <a:buNone/>
          </a:pPr>
          <a:r>
            <a:rPr lang="en-US" sz="1400" kern="1200"/>
            <a:t>Examples</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VMWare ESXi</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Proxmox</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KVM</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Xen</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Nutanix</a:t>
          </a:r>
        </a:p>
        <a:p>
          <a:pPr marL="228600" lvl="2" indent="-114300" algn="l" defTabSz="622300">
            <a:lnSpc>
              <a:spcPct val="90000"/>
            </a:lnSpc>
            <a:spcBef>
              <a:spcPct val="0"/>
            </a:spcBef>
            <a:spcAft>
              <a:spcPct val="15000"/>
            </a:spcAft>
            <a:buFont typeface="Arial" panose="020B0604020202020204" pitchFamily="34" charset="0"/>
            <a:buChar char="•"/>
          </a:pPr>
          <a:endParaRPr lang="en-US" sz="1400" kern="1200"/>
        </a:p>
      </dsp:txBody>
      <dsp:txXfrm>
        <a:off x="54" y="1072037"/>
        <a:ext cx="5234911" cy="2668140"/>
      </dsp:txXfrm>
    </dsp:sp>
    <dsp:sp modelId="{2DD4E8E4-D05A-431D-8032-66D6B9096BBB}">
      <dsp:nvSpPr>
        <dsp:cNvPr id="0" name=""/>
        <dsp:cNvSpPr/>
      </dsp:nvSpPr>
      <dsp:spPr>
        <a:xfrm>
          <a:off x="5967906" y="216774"/>
          <a:ext cx="5234911" cy="847615"/>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70256" tIns="154432" rIns="270256" bIns="154432" numCol="1" spcCol="1270" anchor="ctr" anchorCtr="0">
          <a:noAutofit/>
        </a:bodyPr>
        <a:lstStyle/>
        <a:p>
          <a:pPr marL="0" lvl="0" indent="0" algn="ctr" defTabSz="1689100">
            <a:lnSpc>
              <a:spcPct val="90000"/>
            </a:lnSpc>
            <a:spcBef>
              <a:spcPct val="0"/>
            </a:spcBef>
            <a:spcAft>
              <a:spcPct val="35000"/>
            </a:spcAft>
            <a:buNone/>
          </a:pPr>
          <a:r>
            <a:rPr lang="nb-NO" sz="3800" kern="1200">
              <a:solidFill>
                <a:schemeClr val="tx1"/>
              </a:solidFill>
            </a:rPr>
            <a:t>Type 2</a:t>
          </a:r>
          <a:endParaRPr lang="en-US" sz="3800" kern="1200">
            <a:solidFill>
              <a:schemeClr val="tx1"/>
            </a:solidFill>
          </a:endParaRPr>
        </a:p>
      </dsp:txBody>
      <dsp:txXfrm>
        <a:off x="5967906" y="216774"/>
        <a:ext cx="5234911" cy="847615"/>
      </dsp:txXfrm>
    </dsp:sp>
    <dsp:sp modelId="{EE808BBF-4C4F-458F-906E-6E3A116EF899}">
      <dsp:nvSpPr>
        <dsp:cNvPr id="0" name=""/>
        <dsp:cNvSpPr/>
      </dsp:nvSpPr>
      <dsp:spPr>
        <a:xfrm>
          <a:off x="5967854" y="1062041"/>
          <a:ext cx="5234911" cy="266814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a:t>On top of another OS</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Flexible, can run on your laptop</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For lab purposes or at least non-24/7</a:t>
          </a:r>
        </a:p>
        <a:p>
          <a:pPr marL="114300" lvl="1" indent="-114300" algn="l" defTabSz="622300">
            <a:lnSpc>
              <a:spcPct val="90000"/>
            </a:lnSpc>
            <a:spcBef>
              <a:spcPct val="0"/>
            </a:spcBef>
            <a:spcAft>
              <a:spcPct val="15000"/>
            </a:spcAft>
            <a:buFont typeface="Arial" panose="020B0604020202020204" pitchFamily="34" charset="0"/>
            <a:buNone/>
          </a:pPr>
          <a:endParaRPr lang="en-US" sz="1400" kern="1200"/>
        </a:p>
        <a:p>
          <a:pPr marL="114300" lvl="1" indent="-114300" algn="l" defTabSz="622300">
            <a:lnSpc>
              <a:spcPct val="90000"/>
            </a:lnSpc>
            <a:spcBef>
              <a:spcPct val="0"/>
            </a:spcBef>
            <a:spcAft>
              <a:spcPct val="15000"/>
            </a:spcAft>
            <a:buFont typeface="Arial" panose="020B0604020202020204" pitchFamily="34" charset="0"/>
            <a:buNone/>
          </a:pPr>
          <a:r>
            <a:rPr lang="en-US" sz="1400" kern="1200"/>
            <a:t>Examples</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VirtualBox</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VMWare Workstation</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Hyper-V</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Parallels</a:t>
          </a:r>
        </a:p>
        <a:p>
          <a:pPr marL="114300" lvl="1" indent="-114300" algn="l" defTabSz="622300">
            <a:lnSpc>
              <a:spcPct val="90000"/>
            </a:lnSpc>
            <a:spcBef>
              <a:spcPct val="0"/>
            </a:spcBef>
            <a:spcAft>
              <a:spcPct val="15000"/>
            </a:spcAft>
            <a:buFont typeface="Arial" panose="020B0604020202020204" pitchFamily="34" charset="0"/>
            <a:buChar char="•"/>
          </a:pPr>
          <a:endParaRPr lang="en-US" sz="1400" kern="1200"/>
        </a:p>
      </dsp:txBody>
      <dsp:txXfrm>
        <a:off x="5967854" y="1062041"/>
        <a:ext cx="5234911" cy="266814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9341912"/>
            <a:ext cx="4995667" cy="586313"/>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370342" y="9341912"/>
            <a:ext cx="1427333" cy="586313"/>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65088" y="468313"/>
            <a:ext cx="6667500" cy="3751262"/>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6833" y="4612325"/>
            <a:ext cx="6084008" cy="4416888"/>
          </a:xfrm>
          <a:prstGeom prst="rect">
            <a:avLst/>
          </a:prstGeom>
        </p:spPr>
        <p:txBody>
          <a:bodyPr vert="horz" lIns="0" tIns="0" rIns="0" bIns="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cNvSpPr>
            <a:spLocks noGrp="1"/>
          </p:cNvSpPr>
          <p:nvPr>
            <p:ph type="ftr" sz="quarter" idx="4"/>
          </p:nvPr>
        </p:nvSpPr>
        <p:spPr bwMode="gray">
          <a:xfrm>
            <a:off x="0" y="9341912"/>
            <a:ext cx="4995667" cy="586313"/>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370342" y="9341912"/>
            <a:ext cx="1427333" cy="586313"/>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088" y="468313"/>
            <a:ext cx="6667500" cy="3751262"/>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347347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404384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479241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9054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55202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887194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692285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080314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89547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3344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088" y="468313"/>
            <a:ext cx="6667500" cy="3751262"/>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803500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966592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16344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088" y="468313"/>
            <a:ext cx="6667500" cy="3751262"/>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786775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17/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17/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17/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17/10/2024</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17/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17/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17/10/2024</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17/10/2024</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17/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17/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17/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17/10/2024</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17/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dirty="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17/10/2024</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17/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dirty="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17/10/2024</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2.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svg"/><Relationship Id="rId14" Type="http://schemas.openxmlformats.org/officeDocument/2006/relationships/image" Target="../media/image29.png"/></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hyperlink" Target="https://software.cisco.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https://postman.com/" TargetMode="External"/><Relationship Id="rId4" Type="http://schemas.openxmlformats.org/officeDocument/2006/relationships/hyperlink" Target="https://devnetsandbox.cisco.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p:txBody>
          <a:bodyPr/>
          <a:lstStyle/>
          <a:p>
            <a:r>
              <a:rPr lang="en-GB"/>
              <a:t>Andreas Koksrud / Telenor Bedrift</a:t>
            </a:r>
          </a:p>
        </p:txBody>
      </p:sp>
      <p:sp>
        <p:nvSpPr>
          <p:cNvPr id="2" name="Title"/>
          <p:cNvSpPr>
            <a:spLocks noGrp="1"/>
          </p:cNvSpPr>
          <p:nvPr>
            <p:ph type="ctrTitle"/>
          </p:nvPr>
        </p:nvSpPr>
        <p:spPr bwMode="gray">
          <a:xfrm>
            <a:off x="540406" y="0"/>
            <a:ext cx="11109600" cy="3744000"/>
          </a:xfrm>
        </p:spPr>
        <p:txBody>
          <a:bodyPr bIns="360000"/>
          <a:lstStyle/>
          <a:p>
            <a:r>
              <a:rPr lang="en-GB" dirty="0"/>
              <a:t>Build your own Wi-Fi automation lab</a:t>
            </a:r>
            <a:br>
              <a:rPr lang="en-GB" dirty="0"/>
            </a:br>
            <a:r>
              <a:rPr lang="en-GB" sz="2800" dirty="0"/>
              <a:t>Day 1 presentations</a:t>
            </a:r>
            <a:endParaRPr lang="en-GB" sz="4400" dirty="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bout us</a:t>
            </a:r>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latin typeface="Verdana" panose="020B0604030504040204" pitchFamily="34" charset="0"/>
                <a:ea typeface="Verdana" panose="020B0604030504040204" pitchFamily="34" charset="0"/>
                <a:sym typeface="Verdana" panose="020B0604030504040204" pitchFamily="34" charset="0"/>
              </a:rPr>
              <a:t> Presentations</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bout us</a:t>
            </a:r>
          </a:p>
        </p:txBody>
      </p:sp>
      <p:pic>
        <p:nvPicPr>
          <p:cNvPr id="3" name="Picture 2">
            <a:extLst>
              <a:ext uri="{FF2B5EF4-FFF2-40B4-BE49-F238E27FC236}">
                <a16:creationId xmlns:a16="http://schemas.microsoft.com/office/drawing/2014/main" id="{40A05BD8-F3A7-B195-36CE-DD8B936FC14E}"/>
              </a:ext>
            </a:extLst>
          </p:cNvPr>
          <p:cNvPicPr>
            <a:picLocks noChangeAspect="1"/>
          </p:cNvPicPr>
          <p:nvPr/>
        </p:nvPicPr>
        <p:blipFill>
          <a:blip r:embed="rId3"/>
          <a:stretch>
            <a:fillRect/>
          </a:stretch>
        </p:blipFill>
        <p:spPr>
          <a:xfrm>
            <a:off x="6754310" y="2834811"/>
            <a:ext cx="3227883" cy="3208719"/>
          </a:xfrm>
          <a:prstGeom prst="rect">
            <a:avLst/>
          </a:prstGeom>
        </p:spPr>
      </p:pic>
      <p:pic>
        <p:nvPicPr>
          <p:cNvPr id="1026" name="Picture 2" descr="lag et bilde av en nerd med kort skjegg som sitter på en traktor, med en laptop i hånda">
            <a:extLst>
              <a:ext uri="{FF2B5EF4-FFF2-40B4-BE49-F238E27FC236}">
                <a16:creationId xmlns:a16="http://schemas.microsoft.com/office/drawing/2014/main" id="{41D01BC7-6384-6294-ED8B-A227B35003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0000" y="2834811"/>
            <a:ext cx="3148980" cy="3148980"/>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6">
            <a:extLst>
              <a:ext uri="{FF2B5EF4-FFF2-40B4-BE49-F238E27FC236}">
                <a16:creationId xmlns:a16="http://schemas.microsoft.com/office/drawing/2014/main" id="{77A4E8EF-7150-0558-D127-0ADCDE214C5B}"/>
              </a:ext>
            </a:extLst>
          </p:cNvPr>
          <p:cNvSpPr>
            <a:spLocks noGrp="1"/>
          </p:cNvSpPr>
          <p:nvPr>
            <p:ph idx="1"/>
          </p:nvPr>
        </p:nvSpPr>
        <p:spPr>
          <a:xfrm>
            <a:off x="540001" y="874209"/>
            <a:ext cx="4145512" cy="4298400"/>
          </a:xfrm>
        </p:spPr>
        <p:txBody>
          <a:bodyPr/>
          <a:lstStyle/>
          <a:p>
            <a:r>
              <a:rPr lang="nb-NO" sz="1400"/>
              <a:t>Andreas Koksrud</a:t>
            </a:r>
          </a:p>
          <a:p>
            <a:r>
              <a:rPr lang="nb-NO" sz="1400"/>
              <a:t>Telenor</a:t>
            </a:r>
          </a:p>
          <a:p>
            <a:r>
              <a:rPr lang="nb-NO" sz="1400"/>
              <a:t>Wi-Fi &amp; Automation nerd</a:t>
            </a:r>
          </a:p>
          <a:p>
            <a:r>
              <a:rPr lang="nb-NO" sz="1400"/>
              <a:t>M.Sc Communications technology</a:t>
            </a:r>
            <a:br>
              <a:rPr lang="nb-NO" sz="1400"/>
            </a:br>
            <a:r>
              <a:rPr lang="nb-NO" sz="1400"/>
              <a:t>+ a bunch of Cisco certs)</a:t>
            </a:r>
            <a:endParaRPr lang="nb-NO" sz="1400" dirty="0"/>
          </a:p>
        </p:txBody>
      </p:sp>
      <p:sp>
        <p:nvSpPr>
          <p:cNvPr id="2" name="Content Placeholder 6">
            <a:extLst>
              <a:ext uri="{FF2B5EF4-FFF2-40B4-BE49-F238E27FC236}">
                <a16:creationId xmlns:a16="http://schemas.microsoft.com/office/drawing/2014/main" id="{9298423D-4B6A-2753-F62C-A62E6DCC3CB4}"/>
              </a:ext>
            </a:extLst>
          </p:cNvPr>
          <p:cNvSpPr txBox="1">
            <a:spLocks/>
          </p:cNvSpPr>
          <p:nvPr/>
        </p:nvSpPr>
        <p:spPr bwMode="gray">
          <a:xfrm>
            <a:off x="6754310" y="874209"/>
            <a:ext cx="5259221" cy="4298400"/>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nb-NO" sz="1400"/>
              <a:t>Kjetil Teigen Hansen</a:t>
            </a:r>
          </a:p>
          <a:p>
            <a:r>
              <a:rPr lang="nb-NO" sz="1400"/>
              <a:t>Conscia</a:t>
            </a:r>
          </a:p>
          <a:p>
            <a:r>
              <a:rPr lang="nb-NO" sz="1400"/>
              <a:t>Wi-Fi, monitoring and RF nerd</a:t>
            </a:r>
          </a:p>
          <a:p>
            <a:r>
              <a:rPr lang="nb-NO" sz="1400"/>
              <a:t>CWNE#504</a:t>
            </a:r>
            <a:br>
              <a:rPr lang="nb-NO" sz="1400"/>
            </a:br>
            <a:r>
              <a:rPr lang="nb-NO" sz="1400"/>
              <a:t>+ a bunch of Cisco certs</a:t>
            </a:r>
          </a:p>
        </p:txBody>
      </p:sp>
    </p:spTree>
    <p:extLst>
      <p:ext uri="{BB962C8B-B14F-4D97-AF65-F5344CB8AC3E}">
        <p14:creationId xmlns:p14="http://schemas.microsoft.com/office/powerpoint/2010/main" val="2011127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fontScale="77500" lnSpcReduction="20000"/>
          </a:bodyPr>
          <a:lstStyle/>
          <a:p>
            <a:pPr>
              <a:lnSpc>
                <a:spcPct val="110000"/>
              </a:lnSpc>
            </a:pPr>
            <a:r>
              <a:rPr lang="nb-NO" sz="1600" dirty="0" err="1"/>
              <a:t>Some</a:t>
            </a:r>
            <a:r>
              <a:rPr lang="nb-NO" sz="1600" dirty="0"/>
              <a:t> </a:t>
            </a:r>
            <a:r>
              <a:rPr lang="nb-NO" sz="1600" dirty="0" err="1"/>
              <a:t>examples</a:t>
            </a:r>
            <a:r>
              <a:rPr lang="nb-NO" sz="1600" dirty="0"/>
              <a:t> </a:t>
            </a:r>
            <a:r>
              <a:rPr lang="nb-NO" sz="1600" dirty="0" err="1"/>
              <a:t>of</a:t>
            </a:r>
            <a:r>
              <a:rPr lang="nb-NO" sz="1600" dirty="0"/>
              <a:t> </a:t>
            </a:r>
            <a:r>
              <a:rPr lang="nb-NO" sz="1600" dirty="0" err="1"/>
              <a:t>automation</a:t>
            </a:r>
            <a:r>
              <a:rPr lang="nb-NO" sz="1600" dirty="0"/>
              <a:t> in different </a:t>
            </a:r>
            <a:r>
              <a:rPr lang="nb-NO" sz="1600" dirty="0" err="1"/>
              <a:t>phases</a:t>
            </a:r>
            <a:endParaRPr lang="nb-NO" sz="1600" dirty="0"/>
          </a:p>
          <a:p>
            <a:pPr>
              <a:lnSpc>
                <a:spcPct val="110000"/>
              </a:lnSpc>
            </a:pPr>
            <a:r>
              <a:rPr lang="nb-NO" sz="1600" dirty="0" err="1"/>
              <a:t>Prepare</a:t>
            </a:r>
            <a:endParaRPr lang="nb-NO" sz="1600" dirty="0"/>
          </a:p>
          <a:p>
            <a:pPr lvl="1">
              <a:lnSpc>
                <a:spcPct val="110000"/>
              </a:lnSpc>
            </a:pPr>
            <a:r>
              <a:rPr lang="nb-NO" sz="1400" dirty="0"/>
              <a:t>Python </a:t>
            </a:r>
            <a:r>
              <a:rPr lang="nb-NO" sz="1400" dirty="0" err="1"/>
              <a:t>scipt</a:t>
            </a:r>
            <a:r>
              <a:rPr lang="nb-NO" sz="1400" dirty="0"/>
              <a:t> for </a:t>
            </a:r>
            <a:r>
              <a:rPr lang="nb-NO" sz="1400" dirty="0" err="1"/>
              <a:t>information</a:t>
            </a:r>
            <a:r>
              <a:rPr lang="nb-NO" sz="1400" dirty="0"/>
              <a:t> </a:t>
            </a:r>
            <a:r>
              <a:rPr lang="nb-NO" sz="1400" dirty="0" err="1"/>
              <a:t>gathering</a:t>
            </a:r>
            <a:r>
              <a:rPr lang="nb-NO" sz="1400" dirty="0"/>
              <a:t> / </a:t>
            </a:r>
            <a:r>
              <a:rPr lang="nb-NO" sz="1400" dirty="0" err="1"/>
              <a:t>network</a:t>
            </a:r>
            <a:r>
              <a:rPr lang="nb-NO" sz="1400" dirty="0"/>
              <a:t> </a:t>
            </a:r>
            <a:r>
              <a:rPr lang="nb-NO" sz="1400" dirty="0" err="1"/>
              <a:t>mapping</a:t>
            </a:r>
            <a:r>
              <a:rPr lang="nb-NO" sz="1400" dirty="0"/>
              <a:t> / </a:t>
            </a:r>
            <a:r>
              <a:rPr lang="nb-NO" sz="1400" dirty="0" err="1"/>
              <a:t>device</a:t>
            </a:r>
            <a:r>
              <a:rPr lang="nb-NO" sz="1400" dirty="0"/>
              <a:t> </a:t>
            </a:r>
            <a:r>
              <a:rPr lang="nb-NO" sz="1400" dirty="0" err="1"/>
              <a:t>walking</a:t>
            </a:r>
            <a:endParaRPr lang="nb-NO" sz="1400" dirty="0"/>
          </a:p>
          <a:p>
            <a:pPr>
              <a:lnSpc>
                <a:spcPct val="110000"/>
              </a:lnSpc>
            </a:pPr>
            <a:r>
              <a:rPr lang="nb-NO" sz="1600" dirty="0"/>
              <a:t>Plan</a:t>
            </a:r>
          </a:p>
          <a:p>
            <a:pPr lvl="1">
              <a:lnSpc>
                <a:spcPct val="110000"/>
              </a:lnSpc>
            </a:pPr>
            <a:r>
              <a:rPr lang="nb-NO" sz="1400" dirty="0"/>
              <a:t>Python script for </a:t>
            </a:r>
            <a:r>
              <a:rPr lang="nb-NO" sz="1400" dirty="0" err="1"/>
              <a:t>large-number</a:t>
            </a:r>
            <a:r>
              <a:rPr lang="nb-NO" sz="1400" dirty="0"/>
              <a:t> </a:t>
            </a:r>
            <a:r>
              <a:rPr lang="nb-NO" sz="1400" dirty="0" err="1"/>
              <a:t>analysis</a:t>
            </a:r>
            <a:r>
              <a:rPr lang="nb-NO" sz="1400" dirty="0"/>
              <a:t> </a:t>
            </a:r>
            <a:r>
              <a:rPr lang="nb-NO" sz="1400" dirty="0" err="1"/>
              <a:t>of</a:t>
            </a:r>
            <a:r>
              <a:rPr lang="nb-NO" sz="1400" dirty="0"/>
              <a:t> </a:t>
            </a:r>
            <a:r>
              <a:rPr lang="nb-NO" sz="1400" dirty="0" err="1"/>
              <a:t>devices</a:t>
            </a:r>
            <a:r>
              <a:rPr lang="nb-NO" sz="1400" dirty="0"/>
              <a:t> (and/or </a:t>
            </a:r>
            <a:r>
              <a:rPr lang="nb-NO" sz="1400" dirty="0" err="1"/>
              <a:t>maybe</a:t>
            </a:r>
            <a:r>
              <a:rPr lang="nb-NO" sz="1400" dirty="0"/>
              <a:t> Excel is </a:t>
            </a:r>
            <a:r>
              <a:rPr lang="nb-NO" sz="1400" dirty="0" err="1"/>
              <a:t>better</a:t>
            </a:r>
            <a:r>
              <a:rPr lang="nb-NO" sz="1400" dirty="0"/>
              <a:t> for parts </a:t>
            </a:r>
            <a:r>
              <a:rPr lang="nb-NO" sz="1400" dirty="0" err="1"/>
              <a:t>of</a:t>
            </a:r>
            <a:r>
              <a:rPr lang="nb-NO" sz="1400" dirty="0"/>
              <a:t> it)</a:t>
            </a:r>
          </a:p>
          <a:p>
            <a:pPr>
              <a:lnSpc>
                <a:spcPct val="110000"/>
              </a:lnSpc>
            </a:pPr>
            <a:r>
              <a:rPr lang="nb-NO" sz="1600" dirty="0"/>
              <a:t>Design</a:t>
            </a:r>
          </a:p>
          <a:p>
            <a:pPr lvl="1">
              <a:lnSpc>
                <a:spcPct val="110000"/>
              </a:lnSpc>
            </a:pPr>
            <a:r>
              <a:rPr lang="nb-NO" sz="1400" dirty="0" err="1"/>
              <a:t>Prepare</a:t>
            </a:r>
            <a:r>
              <a:rPr lang="nb-NO" sz="1400" dirty="0"/>
              <a:t> data to </a:t>
            </a:r>
            <a:r>
              <a:rPr lang="nb-NO" sz="1400" dirty="0" err="1"/>
              <a:t>use</a:t>
            </a:r>
            <a:r>
              <a:rPr lang="nb-NO" sz="1400" dirty="0"/>
              <a:t> in </a:t>
            </a:r>
            <a:r>
              <a:rPr lang="nb-NO" sz="1400" dirty="0" err="1"/>
              <a:t>the</a:t>
            </a:r>
            <a:r>
              <a:rPr lang="nb-NO" sz="1400" dirty="0"/>
              <a:t> </a:t>
            </a:r>
            <a:r>
              <a:rPr lang="nb-NO" sz="1400" dirty="0" err="1"/>
              <a:t>Implement</a:t>
            </a:r>
            <a:r>
              <a:rPr lang="nb-NO" sz="1400" dirty="0"/>
              <a:t> </a:t>
            </a:r>
            <a:r>
              <a:rPr lang="nb-NO" sz="1400" dirty="0" err="1"/>
              <a:t>phase</a:t>
            </a:r>
            <a:endParaRPr lang="nb-NO" sz="1400" dirty="0"/>
          </a:p>
          <a:p>
            <a:pPr>
              <a:lnSpc>
                <a:spcPct val="110000"/>
              </a:lnSpc>
            </a:pPr>
            <a:r>
              <a:rPr lang="nb-NO" sz="1600" dirty="0" err="1"/>
              <a:t>Implement</a:t>
            </a:r>
            <a:endParaRPr lang="nb-NO" sz="1600" dirty="0"/>
          </a:p>
          <a:p>
            <a:pPr lvl="1">
              <a:lnSpc>
                <a:spcPct val="110000"/>
              </a:lnSpc>
            </a:pPr>
            <a:r>
              <a:rPr lang="nb-NO" sz="1400" dirty="0"/>
              <a:t>Python script for </a:t>
            </a:r>
            <a:r>
              <a:rPr lang="nb-NO" sz="1400" dirty="0" err="1"/>
              <a:t>creating</a:t>
            </a:r>
            <a:r>
              <a:rPr lang="nb-NO" sz="1400" dirty="0"/>
              <a:t> IP pools, or </a:t>
            </a:r>
            <a:r>
              <a:rPr lang="nb-NO" sz="1400" dirty="0" err="1"/>
              <a:t>creating</a:t>
            </a:r>
            <a:r>
              <a:rPr lang="nb-NO" sz="1400" dirty="0"/>
              <a:t> </a:t>
            </a:r>
            <a:r>
              <a:rPr lang="nb-NO" sz="1400" dirty="0" err="1"/>
              <a:t>site</a:t>
            </a:r>
            <a:r>
              <a:rPr lang="nb-NO" sz="1400" dirty="0"/>
              <a:t> </a:t>
            </a:r>
            <a:r>
              <a:rPr lang="nb-NO" sz="1400" dirty="0" err="1"/>
              <a:t>hierarcy</a:t>
            </a:r>
            <a:r>
              <a:rPr lang="nb-NO" sz="1400" dirty="0"/>
              <a:t> </a:t>
            </a:r>
            <a:r>
              <a:rPr lang="nb-NO" sz="1400" dirty="0" err="1"/>
              <a:t>etc</a:t>
            </a:r>
            <a:r>
              <a:rPr lang="nb-NO" sz="1400" dirty="0"/>
              <a:t> in </a:t>
            </a:r>
            <a:r>
              <a:rPr lang="nb-NO" sz="1400" dirty="0" err="1"/>
              <a:t>DNAC</a:t>
            </a:r>
            <a:endParaRPr lang="nb-NO" sz="1400" dirty="0"/>
          </a:p>
          <a:p>
            <a:pPr lvl="1">
              <a:lnSpc>
                <a:spcPct val="110000"/>
              </a:lnSpc>
            </a:pPr>
            <a:r>
              <a:rPr lang="nb-NO" sz="1400" dirty="0" err="1"/>
              <a:t>Ansible</a:t>
            </a:r>
            <a:r>
              <a:rPr lang="nb-NO" sz="1400" dirty="0"/>
              <a:t> and/or </a:t>
            </a:r>
            <a:r>
              <a:rPr lang="nb-NO" sz="1400" dirty="0" err="1"/>
              <a:t>some</a:t>
            </a:r>
            <a:r>
              <a:rPr lang="nb-NO" sz="1400" dirty="0"/>
              <a:t> </a:t>
            </a:r>
            <a:r>
              <a:rPr lang="nb-NO" sz="1400" dirty="0" err="1"/>
              <a:t>vendor</a:t>
            </a:r>
            <a:r>
              <a:rPr lang="nb-NO" sz="1400" dirty="0"/>
              <a:t> </a:t>
            </a:r>
            <a:r>
              <a:rPr lang="nb-NO" sz="1400" dirty="0" err="1"/>
              <a:t>specific</a:t>
            </a:r>
            <a:r>
              <a:rPr lang="nb-NO" sz="1400" dirty="0"/>
              <a:t> Zero-Touch </a:t>
            </a:r>
            <a:r>
              <a:rPr lang="nb-NO" sz="1400" dirty="0" err="1"/>
              <a:t>provisioning</a:t>
            </a:r>
            <a:r>
              <a:rPr lang="nb-NO" sz="1400" dirty="0"/>
              <a:t> variants for </a:t>
            </a:r>
            <a:r>
              <a:rPr lang="nb-NO" sz="1400" dirty="0" err="1"/>
              <a:t>device</a:t>
            </a:r>
            <a:r>
              <a:rPr lang="nb-NO" sz="1400" dirty="0"/>
              <a:t> </a:t>
            </a:r>
            <a:r>
              <a:rPr lang="nb-NO" sz="1400" dirty="0" err="1"/>
              <a:t>config</a:t>
            </a:r>
            <a:r>
              <a:rPr lang="nb-NO" sz="1400" dirty="0"/>
              <a:t> </a:t>
            </a:r>
            <a:r>
              <a:rPr lang="nb-NO" sz="1400" dirty="0" err="1"/>
              <a:t>based</a:t>
            </a:r>
            <a:r>
              <a:rPr lang="nb-NO" sz="1400" dirty="0"/>
              <a:t> </a:t>
            </a:r>
            <a:r>
              <a:rPr lang="nb-NO" sz="1400" dirty="0" err="1"/>
              <a:t>on</a:t>
            </a:r>
            <a:r>
              <a:rPr lang="nb-NO" sz="1400" dirty="0"/>
              <a:t> </a:t>
            </a:r>
            <a:r>
              <a:rPr lang="nb-NO" sz="1400" dirty="0" err="1"/>
              <a:t>some</a:t>
            </a:r>
            <a:r>
              <a:rPr lang="nb-NO" sz="1400" dirty="0"/>
              <a:t> </a:t>
            </a:r>
            <a:r>
              <a:rPr lang="nb-NO" sz="1400" dirty="0" err="1"/>
              <a:t>source</a:t>
            </a:r>
            <a:r>
              <a:rPr lang="nb-NO" sz="1400" dirty="0"/>
              <a:t> </a:t>
            </a:r>
            <a:r>
              <a:rPr lang="nb-NO" sz="1400" dirty="0" err="1"/>
              <a:t>of</a:t>
            </a:r>
            <a:r>
              <a:rPr lang="nb-NO" sz="1400" dirty="0"/>
              <a:t> </a:t>
            </a:r>
            <a:r>
              <a:rPr lang="nb-NO" sz="1400" dirty="0" err="1"/>
              <a:t>truth</a:t>
            </a:r>
            <a:endParaRPr lang="nb-NO" sz="1400" dirty="0"/>
          </a:p>
          <a:p>
            <a:pPr>
              <a:lnSpc>
                <a:spcPct val="110000"/>
              </a:lnSpc>
            </a:pPr>
            <a:r>
              <a:rPr lang="nb-NO" sz="1600" dirty="0" err="1"/>
              <a:t>Operate</a:t>
            </a:r>
            <a:endParaRPr lang="nb-NO" sz="1600" dirty="0"/>
          </a:p>
          <a:p>
            <a:pPr lvl="1">
              <a:lnSpc>
                <a:spcPct val="110000"/>
              </a:lnSpc>
            </a:pPr>
            <a:r>
              <a:rPr lang="nb-NO" sz="1400" dirty="0"/>
              <a:t>Write Python scripts for </a:t>
            </a:r>
            <a:r>
              <a:rPr lang="nb-NO" sz="1400" dirty="0" err="1"/>
              <a:t>changes</a:t>
            </a:r>
            <a:r>
              <a:rPr lang="nb-NO" sz="1400" dirty="0"/>
              <a:t> </a:t>
            </a:r>
            <a:r>
              <a:rPr lang="nb-NO" sz="1400" dirty="0" err="1"/>
              <a:t>that</a:t>
            </a:r>
            <a:r>
              <a:rPr lang="nb-NO" sz="1400" dirty="0"/>
              <a:t> </a:t>
            </a:r>
            <a:r>
              <a:rPr lang="nb-NO" sz="1400" dirty="0" err="1"/>
              <a:t>involve</a:t>
            </a:r>
            <a:r>
              <a:rPr lang="nb-NO" sz="1400" dirty="0"/>
              <a:t> </a:t>
            </a:r>
            <a:r>
              <a:rPr lang="nb-NO" sz="1400" dirty="0" err="1"/>
              <a:t>large</a:t>
            </a:r>
            <a:r>
              <a:rPr lang="nb-NO" sz="1400" dirty="0"/>
              <a:t> </a:t>
            </a:r>
            <a:r>
              <a:rPr lang="nb-NO" sz="1400" dirty="0" err="1"/>
              <a:t>number</a:t>
            </a:r>
            <a:r>
              <a:rPr lang="nb-NO" sz="1400" dirty="0"/>
              <a:t> </a:t>
            </a:r>
            <a:r>
              <a:rPr lang="nb-NO" sz="1400" dirty="0" err="1"/>
              <a:t>of</a:t>
            </a:r>
            <a:r>
              <a:rPr lang="nb-NO" sz="1400" dirty="0"/>
              <a:t> </a:t>
            </a:r>
            <a:r>
              <a:rPr lang="nb-NO" sz="1400" dirty="0" err="1"/>
              <a:t>devices</a:t>
            </a:r>
            <a:endParaRPr lang="nb-NO" sz="1400" dirty="0"/>
          </a:p>
          <a:p>
            <a:pPr lvl="1">
              <a:lnSpc>
                <a:spcPct val="110000"/>
              </a:lnSpc>
            </a:pPr>
            <a:r>
              <a:rPr lang="nb-NO" sz="1400" dirty="0" err="1"/>
              <a:t>Ansible</a:t>
            </a:r>
            <a:r>
              <a:rPr lang="nb-NO" sz="1400" dirty="0"/>
              <a:t> for </a:t>
            </a:r>
            <a:r>
              <a:rPr lang="nb-NO" sz="1400" dirty="0" err="1"/>
              <a:t>repeating</a:t>
            </a:r>
            <a:r>
              <a:rPr lang="nb-NO" sz="1400" dirty="0"/>
              <a:t> </a:t>
            </a:r>
            <a:r>
              <a:rPr lang="nb-NO" sz="1400" dirty="0" err="1"/>
              <a:t>tasks</a:t>
            </a:r>
            <a:endParaRPr lang="nb-NO" sz="1400" dirty="0"/>
          </a:p>
          <a:p>
            <a:pPr lvl="1">
              <a:lnSpc>
                <a:spcPct val="110000"/>
              </a:lnSpc>
            </a:pPr>
            <a:r>
              <a:rPr lang="nb-NO" sz="1400" dirty="0" err="1"/>
              <a:t>Grafana</a:t>
            </a:r>
            <a:r>
              <a:rPr lang="nb-NO" sz="1400" dirty="0"/>
              <a:t> for real-time </a:t>
            </a:r>
            <a:r>
              <a:rPr lang="nb-NO" sz="1400" dirty="0" err="1"/>
              <a:t>troubleshooting</a:t>
            </a:r>
            <a:endParaRPr lang="nb-NO" sz="1400" dirty="0"/>
          </a:p>
          <a:p>
            <a:pPr>
              <a:lnSpc>
                <a:spcPct val="110000"/>
              </a:lnSpc>
            </a:pPr>
            <a:r>
              <a:rPr lang="nb-NO" sz="1600" dirty="0" err="1"/>
              <a:t>Optimize</a:t>
            </a:r>
            <a:endParaRPr lang="nb-NO" sz="1600" dirty="0"/>
          </a:p>
          <a:p>
            <a:pPr lvl="1">
              <a:lnSpc>
                <a:spcPct val="110000"/>
              </a:lnSpc>
            </a:pPr>
            <a:r>
              <a:rPr lang="nb-NO" sz="1400" dirty="0" err="1"/>
              <a:t>Grafana</a:t>
            </a:r>
            <a:r>
              <a:rPr lang="nb-NO" sz="1400" dirty="0"/>
              <a:t> for </a:t>
            </a:r>
            <a:r>
              <a:rPr lang="nb-NO" sz="1400" dirty="0" err="1"/>
              <a:t>monitoring</a:t>
            </a:r>
            <a:r>
              <a:rPr lang="nb-NO" sz="1400" dirty="0"/>
              <a:t>/</a:t>
            </a:r>
            <a:r>
              <a:rPr lang="nb-NO" sz="1400" dirty="0" err="1"/>
              <a:t>graphing</a:t>
            </a:r>
            <a:r>
              <a:rPr lang="nb-NO" sz="1400" dirty="0"/>
              <a:t>/</a:t>
            </a:r>
            <a:r>
              <a:rPr lang="nb-NO" sz="1400" dirty="0" err="1"/>
              <a:t>analysis</a:t>
            </a:r>
            <a:endParaRPr lang="nb-NO" sz="1400" dirty="0"/>
          </a:p>
          <a:p>
            <a:pPr lvl="1">
              <a:lnSpc>
                <a:spcPct val="110000"/>
              </a:lnSpc>
            </a:pPr>
            <a:r>
              <a:rPr lang="nb-NO" sz="1400" dirty="0"/>
              <a:t>Python scripts or </a:t>
            </a:r>
            <a:r>
              <a:rPr lang="nb-NO" sz="1400" dirty="0" err="1"/>
              <a:t>Ansible</a:t>
            </a:r>
            <a:r>
              <a:rPr lang="nb-NO" sz="1400" dirty="0"/>
              <a:t> </a:t>
            </a:r>
            <a:r>
              <a:rPr lang="nb-NO" sz="1400" dirty="0" err="1"/>
              <a:t>playbooks</a:t>
            </a:r>
            <a:r>
              <a:rPr lang="nb-NO" sz="1400" dirty="0"/>
              <a:t> to </a:t>
            </a:r>
            <a:r>
              <a:rPr lang="nb-NO" sz="1400" dirty="0" err="1"/>
              <a:t>analyze</a:t>
            </a:r>
            <a:r>
              <a:rPr lang="nb-NO" sz="1400" dirty="0"/>
              <a:t> </a:t>
            </a:r>
            <a:r>
              <a:rPr lang="nb-NO" sz="1400" dirty="0" err="1"/>
              <a:t>possible</a:t>
            </a:r>
            <a:r>
              <a:rPr lang="nb-NO" sz="1400" dirty="0"/>
              <a:t> </a:t>
            </a:r>
            <a:r>
              <a:rPr lang="nb-NO" sz="1400" dirty="0" err="1"/>
              <a:t>optimizations</a:t>
            </a:r>
            <a:r>
              <a:rPr lang="nb-NO" sz="1400" dirty="0"/>
              <a:t> (</a:t>
            </a:r>
            <a:r>
              <a:rPr lang="nb-NO" sz="1400" dirty="0" err="1"/>
              <a:t>APs</a:t>
            </a:r>
            <a:r>
              <a:rPr lang="nb-NO" sz="1400" dirty="0"/>
              <a:t> </a:t>
            </a:r>
            <a:r>
              <a:rPr lang="nb-NO" sz="1400" dirty="0" err="1"/>
              <a:t>on</a:t>
            </a:r>
            <a:r>
              <a:rPr lang="nb-NO" sz="1400" dirty="0"/>
              <a:t> </a:t>
            </a:r>
            <a:r>
              <a:rPr lang="nb-NO" sz="1400" dirty="0" err="1"/>
              <a:t>100Mbit</a:t>
            </a:r>
            <a:r>
              <a:rPr lang="nb-NO" sz="1400" dirty="0"/>
              <a:t>, </a:t>
            </a:r>
            <a:r>
              <a:rPr lang="nb-NO" sz="1400" dirty="0" err="1"/>
              <a:t>hostnames</a:t>
            </a:r>
            <a:r>
              <a:rPr lang="nb-NO" sz="1400" dirty="0"/>
              <a:t> </a:t>
            </a:r>
            <a:r>
              <a:rPr lang="nb-NO" sz="1400" dirty="0" err="1"/>
              <a:t>of</a:t>
            </a:r>
            <a:r>
              <a:rPr lang="nb-NO" sz="1400" dirty="0"/>
              <a:t> </a:t>
            </a:r>
            <a:r>
              <a:rPr lang="nb-NO" sz="1400" dirty="0" err="1"/>
              <a:t>neighbors</a:t>
            </a:r>
            <a:r>
              <a:rPr lang="nb-NO" sz="1400" dirty="0"/>
              <a:t> </a:t>
            </a:r>
            <a:r>
              <a:rPr lang="nb-NO" sz="1400" dirty="0" err="1"/>
              <a:t>that</a:t>
            </a:r>
            <a:r>
              <a:rPr lang="nb-NO" sz="1400" dirty="0"/>
              <a:t> </a:t>
            </a:r>
            <a:r>
              <a:rPr lang="nb-NO" sz="1400" dirty="0" err="1"/>
              <a:t>differ</a:t>
            </a:r>
            <a:r>
              <a:rPr lang="nb-NO" sz="1400" dirty="0"/>
              <a:t>, </a:t>
            </a:r>
            <a:r>
              <a:rPr lang="nb-NO" sz="1400" dirty="0" err="1"/>
              <a:t>etc</a:t>
            </a:r>
            <a:r>
              <a:rPr lang="nb-NO" sz="1400" dirty="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utomation in the Wi-Fi lifecycle</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utomation in the Wi-Fi lifecycle</a:t>
            </a:r>
          </a:p>
        </p:txBody>
      </p:sp>
    </p:spTree>
    <p:extLst>
      <p:ext uri="{BB962C8B-B14F-4D97-AF65-F5344CB8AC3E}">
        <p14:creationId xmlns:p14="http://schemas.microsoft.com/office/powerpoint/2010/main" val="110190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8" y="432000"/>
            <a:ext cx="9057763" cy="1080000"/>
          </a:xfrm>
        </p:spPr>
        <p:txBody>
          <a:bodyPr anchor="ctr">
            <a:normAutofit/>
          </a:bodyPr>
          <a:lstStyle/>
          <a:p>
            <a:r>
              <a:rPr lang="en-GB" dirty="0"/>
              <a:t>VirtualBox - Type 1 vs Type 2 hypervisor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2</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Hypervisors</a:t>
            </a:r>
          </a:p>
        </p:txBody>
      </p:sp>
    </p:spTree>
    <p:extLst>
      <p:ext uri="{BB962C8B-B14F-4D97-AF65-F5344CB8AC3E}">
        <p14:creationId xmlns:p14="http://schemas.microsoft.com/office/powerpoint/2010/main" val="69240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3</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WLAN Controllers</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WLAN Controllers</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3154207"/>
            <a:ext cx="8382544" cy="2965109"/>
          </a:xfrm>
        </p:spPr>
        <p:txBody>
          <a:bodyPr/>
          <a:lstStyle/>
          <a:p>
            <a:r>
              <a:rPr lang="nb-NO" sz="1800" dirty="0"/>
              <a:t>This lab </a:t>
            </a:r>
            <a:r>
              <a:rPr lang="nb-NO" sz="1800" dirty="0" err="1"/>
              <a:t>use</a:t>
            </a:r>
            <a:r>
              <a:rPr lang="nb-NO" sz="1800" dirty="0"/>
              <a:t> Cisco 9800-CL </a:t>
            </a:r>
            <a:r>
              <a:rPr lang="nb-NO" sz="1800" dirty="0" err="1"/>
              <a:t>WLC</a:t>
            </a:r>
            <a:endParaRPr lang="nb-NO" sz="1800" dirty="0"/>
          </a:p>
          <a:p>
            <a:r>
              <a:rPr lang="nb-NO" sz="1800" dirty="0"/>
              <a:t>Project </a:t>
            </a:r>
            <a:r>
              <a:rPr lang="nb-NO" sz="1800" dirty="0" err="1"/>
              <a:t>the</a:t>
            </a:r>
            <a:r>
              <a:rPr lang="nb-NO" sz="1800" dirty="0"/>
              <a:t> </a:t>
            </a:r>
            <a:r>
              <a:rPr lang="nb-NO" sz="1800" dirty="0" err="1"/>
              <a:t>knowledge</a:t>
            </a:r>
            <a:r>
              <a:rPr lang="nb-NO" sz="1800" dirty="0"/>
              <a:t> to </a:t>
            </a:r>
            <a:r>
              <a:rPr lang="nb-NO" sz="1800" dirty="0" err="1"/>
              <a:t>your</a:t>
            </a:r>
            <a:r>
              <a:rPr lang="nb-NO" sz="1800" dirty="0"/>
              <a:t> </a:t>
            </a:r>
            <a:r>
              <a:rPr lang="nb-NO" sz="1800" dirty="0" err="1"/>
              <a:t>platform</a:t>
            </a:r>
            <a:r>
              <a:rPr lang="nb-NO" sz="1800" dirty="0"/>
              <a:t> </a:t>
            </a:r>
            <a:r>
              <a:rPr lang="nb-NO" sz="1800" dirty="0" err="1"/>
              <a:t>of</a:t>
            </a:r>
            <a:r>
              <a:rPr lang="nb-NO" sz="1800" dirty="0"/>
              <a:t> </a:t>
            </a:r>
            <a:r>
              <a:rPr lang="nb-NO" sz="1800" dirty="0" err="1"/>
              <a:t>choice</a:t>
            </a:r>
            <a:endParaRPr lang="nb-NO" sz="1800" dirty="0"/>
          </a:p>
          <a:p>
            <a:pPr lvl="1"/>
            <a:r>
              <a:rPr lang="nb-NO" dirty="0" err="1"/>
              <a:t>Other</a:t>
            </a:r>
            <a:r>
              <a:rPr lang="nb-NO" dirty="0"/>
              <a:t> </a:t>
            </a:r>
            <a:r>
              <a:rPr lang="nb-NO" dirty="0" err="1"/>
              <a:t>vendors</a:t>
            </a:r>
            <a:r>
              <a:rPr lang="nb-NO" dirty="0"/>
              <a:t> </a:t>
            </a:r>
            <a:r>
              <a:rPr lang="nb-NO" dirty="0" err="1"/>
              <a:t>WLAN</a:t>
            </a:r>
            <a:r>
              <a:rPr lang="nb-NO" dirty="0"/>
              <a:t> Controllers or </a:t>
            </a:r>
            <a:r>
              <a:rPr lang="nb-NO" dirty="0" err="1"/>
              <a:t>similar</a:t>
            </a:r>
            <a:r>
              <a:rPr lang="nb-NO" dirty="0"/>
              <a:t> </a:t>
            </a:r>
            <a:r>
              <a:rPr lang="nb-NO" dirty="0" err="1"/>
              <a:t>concepts</a:t>
            </a:r>
            <a:endParaRPr lang="nb-NO" dirty="0"/>
          </a:p>
          <a:p>
            <a:pPr lvl="1"/>
            <a:r>
              <a:rPr lang="nb-NO" dirty="0" err="1"/>
              <a:t>Cloud-managed</a:t>
            </a:r>
            <a:r>
              <a:rPr lang="nb-NO" dirty="0"/>
              <a:t> </a:t>
            </a:r>
            <a:r>
              <a:rPr lang="nb-NO" dirty="0" err="1"/>
              <a:t>solutions</a:t>
            </a:r>
            <a:r>
              <a:rPr lang="nb-NO" dirty="0"/>
              <a:t> </a:t>
            </a:r>
            <a:r>
              <a:rPr lang="nb-NO" dirty="0" err="1"/>
              <a:t>often</a:t>
            </a:r>
            <a:r>
              <a:rPr lang="nb-NO" dirty="0"/>
              <a:t> have </a:t>
            </a:r>
            <a:r>
              <a:rPr lang="nb-NO" dirty="0" err="1"/>
              <a:t>good</a:t>
            </a:r>
            <a:r>
              <a:rPr lang="nb-NO" dirty="0"/>
              <a:t> APIs</a:t>
            </a:r>
          </a:p>
          <a:p>
            <a:pPr lvl="1"/>
            <a:r>
              <a:rPr lang="nb-NO" dirty="0" err="1"/>
              <a:t>Ansible</a:t>
            </a:r>
            <a:r>
              <a:rPr lang="nb-NO" dirty="0"/>
              <a:t>, Python, </a:t>
            </a:r>
            <a:r>
              <a:rPr lang="nb-NO" dirty="0" err="1"/>
              <a:t>etc</a:t>
            </a:r>
            <a:r>
              <a:rPr lang="nb-NO" dirty="0"/>
              <a:t> have </a:t>
            </a:r>
            <a:r>
              <a:rPr lang="nb-NO" dirty="0" err="1"/>
              <a:t>lots</a:t>
            </a:r>
            <a:r>
              <a:rPr lang="nb-NO" dirty="0"/>
              <a:t> </a:t>
            </a:r>
            <a:r>
              <a:rPr lang="nb-NO" dirty="0" err="1"/>
              <a:t>of</a:t>
            </a:r>
            <a:r>
              <a:rPr lang="nb-NO" dirty="0"/>
              <a:t> </a:t>
            </a:r>
            <a:r>
              <a:rPr lang="nb-NO" dirty="0" err="1"/>
              <a:t>collections</a:t>
            </a:r>
            <a:endParaRPr lang="nb-NO" dirty="0"/>
          </a:p>
        </p:txBody>
      </p:sp>
      <p:pic>
        <p:nvPicPr>
          <p:cNvPr id="5" name="Picture 4">
            <a:extLst>
              <a:ext uri="{FF2B5EF4-FFF2-40B4-BE49-F238E27FC236}">
                <a16:creationId xmlns:a16="http://schemas.microsoft.com/office/drawing/2014/main" id="{9BF54B70-3515-DA9B-554D-AB4C29AA3C3E}"/>
              </a:ext>
            </a:extLst>
          </p:cNvPr>
          <p:cNvPicPr>
            <a:picLocks noChangeAspect="1"/>
          </p:cNvPicPr>
          <p:nvPr/>
        </p:nvPicPr>
        <p:blipFill>
          <a:blip r:embed="rId3"/>
          <a:stretch>
            <a:fillRect/>
          </a:stretch>
        </p:blipFill>
        <p:spPr>
          <a:xfrm>
            <a:off x="540000" y="908486"/>
            <a:ext cx="6687688" cy="2256873"/>
          </a:xfrm>
          <a:prstGeom prst="rect">
            <a:avLst/>
          </a:prstGeom>
        </p:spPr>
      </p:pic>
    </p:spTree>
    <p:extLst>
      <p:ext uri="{BB962C8B-B14F-4D97-AF65-F5344CB8AC3E}">
        <p14:creationId xmlns:p14="http://schemas.microsoft.com/office/powerpoint/2010/main" val="366290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4</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Ubuntu Server</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Ubuntu Server</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1512000"/>
            <a:ext cx="8382544" cy="3926274"/>
          </a:xfrm>
        </p:spPr>
        <p:txBody>
          <a:bodyPr/>
          <a:lstStyle/>
          <a:p>
            <a:r>
              <a:rPr lang="nb-NO" dirty="0"/>
              <a:t>This lab </a:t>
            </a:r>
            <a:r>
              <a:rPr lang="nb-NO" dirty="0" err="1"/>
              <a:t>use</a:t>
            </a:r>
            <a:r>
              <a:rPr lang="nb-NO" dirty="0"/>
              <a:t> </a:t>
            </a:r>
            <a:r>
              <a:rPr lang="nb-NO" dirty="0" err="1"/>
              <a:t>Ubuntu</a:t>
            </a:r>
            <a:r>
              <a:rPr lang="nb-NO" dirty="0"/>
              <a:t> Server</a:t>
            </a:r>
          </a:p>
          <a:p>
            <a:r>
              <a:rPr lang="nb-NO" dirty="0"/>
              <a:t>Most </a:t>
            </a:r>
            <a:r>
              <a:rPr lang="nb-NO" dirty="0" err="1"/>
              <a:t>stuff</a:t>
            </a:r>
            <a:r>
              <a:rPr lang="nb-NO" dirty="0"/>
              <a:t> </a:t>
            </a:r>
            <a:r>
              <a:rPr lang="nb-NO" dirty="0" err="1"/>
              <a:t>can</a:t>
            </a:r>
            <a:r>
              <a:rPr lang="nb-NO" dirty="0"/>
              <a:t> be done </a:t>
            </a:r>
            <a:r>
              <a:rPr lang="nb-NO" dirty="0" err="1"/>
              <a:t>directly</a:t>
            </a:r>
            <a:r>
              <a:rPr lang="nb-NO" dirty="0"/>
              <a:t> </a:t>
            </a:r>
            <a:r>
              <a:rPr lang="nb-NO" dirty="0" err="1"/>
              <a:t>on</a:t>
            </a:r>
            <a:r>
              <a:rPr lang="nb-NO" dirty="0"/>
              <a:t> </a:t>
            </a:r>
            <a:r>
              <a:rPr lang="nb-NO" dirty="0" err="1"/>
              <a:t>your</a:t>
            </a:r>
            <a:r>
              <a:rPr lang="nb-NO" dirty="0"/>
              <a:t> </a:t>
            </a:r>
            <a:r>
              <a:rPr lang="nb-NO" dirty="0" err="1"/>
              <a:t>own</a:t>
            </a:r>
            <a:r>
              <a:rPr lang="nb-NO" dirty="0"/>
              <a:t> laptop</a:t>
            </a:r>
          </a:p>
          <a:p>
            <a:pPr lvl="1"/>
            <a:r>
              <a:rPr lang="nb-NO" dirty="0" err="1"/>
              <a:t>Currently</a:t>
            </a:r>
            <a:r>
              <a:rPr lang="nb-NO" dirty="0"/>
              <a:t> </a:t>
            </a:r>
            <a:r>
              <a:rPr lang="nb-NO" dirty="0" err="1"/>
              <a:t>Ansible</a:t>
            </a:r>
            <a:r>
              <a:rPr lang="nb-NO" dirty="0"/>
              <a:t> </a:t>
            </a:r>
            <a:r>
              <a:rPr lang="nb-NO" dirty="0" err="1"/>
              <a:t>can</a:t>
            </a:r>
            <a:r>
              <a:rPr lang="nb-NO" dirty="0"/>
              <a:t> not run </a:t>
            </a:r>
            <a:r>
              <a:rPr lang="nb-NO" dirty="0" err="1"/>
              <a:t>directly</a:t>
            </a:r>
            <a:r>
              <a:rPr lang="nb-NO" dirty="0"/>
              <a:t> </a:t>
            </a:r>
            <a:r>
              <a:rPr lang="nb-NO" dirty="0" err="1"/>
              <a:t>on</a:t>
            </a:r>
            <a:r>
              <a:rPr lang="nb-NO" dirty="0"/>
              <a:t> Windows</a:t>
            </a:r>
          </a:p>
          <a:p>
            <a:pPr lvl="1"/>
            <a:r>
              <a:rPr lang="nb-NO" dirty="0" err="1"/>
              <a:t>TIG</a:t>
            </a:r>
            <a:r>
              <a:rPr lang="nb-NO" dirty="0"/>
              <a:t> </a:t>
            </a:r>
            <a:r>
              <a:rPr lang="nb-NO" dirty="0" err="1"/>
              <a:t>stack</a:t>
            </a:r>
            <a:r>
              <a:rPr lang="nb-NO" dirty="0"/>
              <a:t> ... </a:t>
            </a:r>
            <a:r>
              <a:rPr lang="nb-NO" dirty="0" err="1"/>
              <a:t>maybe</a:t>
            </a:r>
            <a:r>
              <a:rPr lang="nb-NO" dirty="0"/>
              <a:t>(?)</a:t>
            </a:r>
          </a:p>
          <a:p>
            <a:r>
              <a:rPr lang="nb-NO" dirty="0"/>
              <a:t>I like to play </a:t>
            </a:r>
            <a:r>
              <a:rPr lang="nb-NO" dirty="0" err="1"/>
              <a:t>with</a:t>
            </a:r>
            <a:r>
              <a:rPr lang="nb-NO" dirty="0"/>
              <a:t> </a:t>
            </a:r>
            <a:r>
              <a:rPr lang="nb-NO" dirty="0" err="1"/>
              <a:t>stuff</a:t>
            </a:r>
            <a:r>
              <a:rPr lang="nb-NO" dirty="0"/>
              <a:t> </a:t>
            </a:r>
            <a:r>
              <a:rPr lang="nb-NO" dirty="0" err="1"/>
              <a:t>using</a:t>
            </a:r>
            <a:r>
              <a:rPr lang="nb-NO" dirty="0"/>
              <a:t> a server, I </a:t>
            </a:r>
            <a:r>
              <a:rPr lang="nb-NO" dirty="0" err="1"/>
              <a:t>find</a:t>
            </a:r>
            <a:r>
              <a:rPr lang="nb-NO" dirty="0"/>
              <a:t> it </a:t>
            </a:r>
            <a:r>
              <a:rPr lang="nb-NO" dirty="0" err="1"/>
              <a:t>easier</a:t>
            </a:r>
            <a:r>
              <a:rPr lang="nb-NO" dirty="0"/>
              <a:t> to transfer to live systems</a:t>
            </a:r>
          </a:p>
          <a:p>
            <a:r>
              <a:rPr lang="nb-NO" dirty="0" err="1"/>
              <a:t>WSL</a:t>
            </a:r>
            <a:r>
              <a:rPr lang="nb-NO" dirty="0"/>
              <a:t> (Windows Subsystem for Linux) is a </a:t>
            </a:r>
            <a:r>
              <a:rPr lang="nb-NO" dirty="0" err="1"/>
              <a:t>very</a:t>
            </a:r>
            <a:r>
              <a:rPr lang="nb-NO" dirty="0"/>
              <a:t> </a:t>
            </a:r>
            <a:r>
              <a:rPr lang="nb-NO" dirty="0" err="1"/>
              <a:t>good</a:t>
            </a:r>
            <a:r>
              <a:rPr lang="nb-NO" dirty="0"/>
              <a:t> alternative for Python and </a:t>
            </a:r>
            <a:r>
              <a:rPr lang="nb-NO" dirty="0" err="1"/>
              <a:t>Ansible</a:t>
            </a:r>
            <a:r>
              <a:rPr lang="nb-NO" dirty="0"/>
              <a:t>. For </a:t>
            </a:r>
            <a:r>
              <a:rPr lang="nb-NO" dirty="0" err="1"/>
              <a:t>Grafana</a:t>
            </a:r>
            <a:r>
              <a:rPr lang="nb-NO" dirty="0"/>
              <a:t> it </a:t>
            </a:r>
            <a:r>
              <a:rPr lang="nb-NO" dirty="0" err="1"/>
              <a:t>might</a:t>
            </a:r>
            <a:r>
              <a:rPr lang="nb-NO" dirty="0"/>
              <a:t> be more </a:t>
            </a:r>
            <a:r>
              <a:rPr lang="nb-NO" dirty="0" err="1"/>
              <a:t>tinkering</a:t>
            </a:r>
            <a:endParaRPr lang="nb-NO" dirty="0"/>
          </a:p>
        </p:txBody>
      </p:sp>
      <p:pic>
        <p:nvPicPr>
          <p:cNvPr id="5" name="Picture 4">
            <a:extLst>
              <a:ext uri="{FF2B5EF4-FFF2-40B4-BE49-F238E27FC236}">
                <a16:creationId xmlns:a16="http://schemas.microsoft.com/office/drawing/2014/main" id="{BD6519B1-0AE7-7540-4CEF-A9B8220147EA}"/>
              </a:ext>
            </a:extLst>
          </p:cNvPr>
          <p:cNvPicPr>
            <a:picLocks noChangeAspect="1"/>
          </p:cNvPicPr>
          <p:nvPr/>
        </p:nvPicPr>
        <p:blipFill>
          <a:blip r:embed="rId3"/>
          <a:stretch>
            <a:fillRect/>
          </a:stretch>
        </p:blipFill>
        <p:spPr>
          <a:xfrm>
            <a:off x="540000" y="999078"/>
            <a:ext cx="1562318" cy="485843"/>
          </a:xfrm>
          <a:prstGeom prst="rect">
            <a:avLst/>
          </a:prstGeom>
        </p:spPr>
      </p:pic>
    </p:spTree>
    <p:extLst>
      <p:ext uri="{BB962C8B-B14F-4D97-AF65-F5344CB8AC3E}">
        <p14:creationId xmlns:p14="http://schemas.microsoft.com/office/powerpoint/2010/main" val="323293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5</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Docker</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Docker</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1512000"/>
            <a:ext cx="8382544" cy="3926274"/>
          </a:xfrm>
        </p:spPr>
        <p:txBody>
          <a:bodyPr/>
          <a:lstStyle/>
          <a:p>
            <a:r>
              <a:rPr lang="nb-NO" dirty="0"/>
              <a:t>This lab </a:t>
            </a:r>
            <a:r>
              <a:rPr lang="nb-NO" dirty="0" err="1"/>
              <a:t>use</a:t>
            </a:r>
            <a:r>
              <a:rPr lang="nb-NO" dirty="0"/>
              <a:t> </a:t>
            </a:r>
            <a:r>
              <a:rPr lang="nb-NO" dirty="0" err="1"/>
              <a:t>Docker</a:t>
            </a:r>
            <a:r>
              <a:rPr lang="nb-NO" dirty="0"/>
              <a:t> as </a:t>
            </a:r>
            <a:r>
              <a:rPr lang="nb-NO" dirty="0" err="1"/>
              <a:t>the</a:t>
            </a:r>
            <a:r>
              <a:rPr lang="nb-NO" dirty="0"/>
              <a:t> container </a:t>
            </a:r>
            <a:r>
              <a:rPr lang="nb-NO" dirty="0" err="1"/>
              <a:t>platform</a:t>
            </a:r>
            <a:endParaRPr lang="nb-NO" dirty="0"/>
          </a:p>
          <a:p>
            <a:pPr lvl="1"/>
            <a:r>
              <a:rPr lang="nb-NO" dirty="0"/>
              <a:t>Pre-</a:t>
            </a:r>
            <a:r>
              <a:rPr lang="nb-NO" dirty="0" err="1"/>
              <a:t>made</a:t>
            </a:r>
            <a:r>
              <a:rPr lang="nb-NO" dirty="0"/>
              <a:t> </a:t>
            </a:r>
            <a:r>
              <a:rPr lang="nb-NO" dirty="0" err="1"/>
              <a:t>packages</a:t>
            </a:r>
            <a:r>
              <a:rPr lang="nb-NO" dirty="0"/>
              <a:t> for </a:t>
            </a:r>
            <a:r>
              <a:rPr lang="nb-NO" dirty="0" err="1"/>
              <a:t>TIG</a:t>
            </a:r>
            <a:r>
              <a:rPr lang="nb-NO" dirty="0"/>
              <a:t> </a:t>
            </a:r>
            <a:r>
              <a:rPr lang="nb-NO" dirty="0" err="1"/>
              <a:t>stack</a:t>
            </a:r>
            <a:r>
              <a:rPr lang="nb-NO" dirty="0"/>
              <a:t> and </a:t>
            </a:r>
            <a:r>
              <a:rPr lang="nb-NO" dirty="0" err="1"/>
              <a:t>YANG</a:t>
            </a:r>
            <a:r>
              <a:rPr lang="nb-NO" dirty="0"/>
              <a:t> Suite</a:t>
            </a:r>
          </a:p>
          <a:p>
            <a:pPr lvl="1"/>
            <a:r>
              <a:rPr lang="nb-NO" dirty="0" err="1"/>
              <a:t>Could</a:t>
            </a:r>
            <a:r>
              <a:rPr lang="nb-NO" dirty="0"/>
              <a:t> just as </a:t>
            </a:r>
            <a:r>
              <a:rPr lang="nb-NO" dirty="0" err="1"/>
              <a:t>well</a:t>
            </a:r>
            <a:r>
              <a:rPr lang="nb-NO" dirty="0"/>
              <a:t> be </a:t>
            </a:r>
            <a:r>
              <a:rPr lang="nb-NO" dirty="0" err="1"/>
              <a:t>using</a:t>
            </a:r>
            <a:r>
              <a:rPr lang="nb-NO" dirty="0"/>
              <a:t> </a:t>
            </a:r>
            <a:r>
              <a:rPr lang="nb-NO" dirty="0" err="1"/>
              <a:t>Kubernetes</a:t>
            </a:r>
            <a:r>
              <a:rPr lang="nb-NO" dirty="0"/>
              <a:t> </a:t>
            </a:r>
            <a:r>
              <a:rPr lang="nb-NO" dirty="0" err="1"/>
              <a:t>etc</a:t>
            </a:r>
            <a:endParaRPr lang="nb-NO" dirty="0"/>
          </a:p>
        </p:txBody>
      </p:sp>
    </p:spTree>
    <p:extLst>
      <p:ext uri="{BB962C8B-B14F-4D97-AF65-F5344CB8AC3E}">
        <p14:creationId xmlns:p14="http://schemas.microsoft.com/office/powerpoint/2010/main" val="352668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6</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ostman</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Postman</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972000"/>
            <a:ext cx="3612614" cy="3926274"/>
          </a:xfrm>
        </p:spPr>
        <p:txBody>
          <a:bodyPr/>
          <a:lstStyle/>
          <a:p>
            <a:r>
              <a:rPr lang="en-US" sz="1600" dirty="0"/>
              <a:t>Postman is a "go-to" tool for </a:t>
            </a:r>
            <a:r>
              <a:rPr lang="en-US" sz="1600" dirty="0" err="1"/>
              <a:t>RESTCONF</a:t>
            </a:r>
            <a:r>
              <a:rPr lang="en-US" sz="1600" dirty="0"/>
              <a:t> APIs. Some examples for automation are </a:t>
            </a:r>
          </a:p>
          <a:p>
            <a:pPr lvl="1"/>
            <a:r>
              <a:rPr lang="en-US" sz="1400" dirty="0"/>
              <a:t>Exploring </a:t>
            </a:r>
            <a:r>
              <a:rPr lang="en-US" sz="1400" dirty="0" err="1"/>
              <a:t>RESTCONF</a:t>
            </a:r>
            <a:r>
              <a:rPr lang="en-US" sz="1400" dirty="0"/>
              <a:t> calls</a:t>
            </a:r>
          </a:p>
          <a:p>
            <a:pPr lvl="1"/>
            <a:r>
              <a:rPr lang="en-US" sz="1400" dirty="0"/>
              <a:t>Checking the </a:t>
            </a:r>
            <a:r>
              <a:rPr lang="en-US" sz="1400" dirty="0" err="1"/>
              <a:t>datastructure</a:t>
            </a:r>
            <a:r>
              <a:rPr lang="en-US" sz="1400" dirty="0"/>
              <a:t> you get in return</a:t>
            </a:r>
          </a:p>
          <a:p>
            <a:pPr lvl="1"/>
            <a:r>
              <a:rPr lang="en-US" sz="1400" dirty="0"/>
              <a:t>Validating the calls to devices before implementing in Python, Ansible, </a:t>
            </a:r>
            <a:r>
              <a:rPr lang="en-US" sz="1400" dirty="0" err="1"/>
              <a:t>etc</a:t>
            </a:r>
            <a:endParaRPr lang="en-US" sz="1400" dirty="0"/>
          </a:p>
          <a:p>
            <a:pPr lvl="1"/>
            <a:r>
              <a:rPr lang="en-US" sz="1400" dirty="0"/>
              <a:t>Get example code in your preferred language for that specific </a:t>
            </a:r>
            <a:r>
              <a:rPr lang="en-US" sz="1400" dirty="0" err="1"/>
              <a:t>RESTCONF</a:t>
            </a:r>
            <a:r>
              <a:rPr lang="en-US" sz="1400" dirty="0"/>
              <a:t> call</a:t>
            </a:r>
          </a:p>
        </p:txBody>
      </p:sp>
      <p:pic>
        <p:nvPicPr>
          <p:cNvPr id="5" name="Picture 4">
            <a:extLst>
              <a:ext uri="{FF2B5EF4-FFF2-40B4-BE49-F238E27FC236}">
                <a16:creationId xmlns:a16="http://schemas.microsoft.com/office/drawing/2014/main" id="{824078E7-896D-0BCE-8170-7F43FBF2A74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223883" y="1772984"/>
            <a:ext cx="7800836" cy="4252121"/>
          </a:xfrm>
          <a:prstGeom prst="rect">
            <a:avLst/>
          </a:prstGeom>
        </p:spPr>
      </p:pic>
    </p:spTree>
    <p:extLst>
      <p:ext uri="{BB962C8B-B14F-4D97-AF65-F5344CB8AC3E}">
        <p14:creationId xmlns:p14="http://schemas.microsoft.com/office/powerpoint/2010/main" val="40976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7</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VS Code</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VS Code</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817606"/>
            <a:ext cx="8800850" cy="3926274"/>
          </a:xfrm>
        </p:spPr>
        <p:txBody>
          <a:bodyPr/>
          <a:lstStyle/>
          <a:p>
            <a:r>
              <a:rPr lang="nb-NO" dirty="0"/>
              <a:t>This lab </a:t>
            </a:r>
            <a:r>
              <a:rPr lang="nb-NO" dirty="0" err="1"/>
              <a:t>use</a:t>
            </a:r>
            <a:r>
              <a:rPr lang="nb-NO" dirty="0"/>
              <a:t> </a:t>
            </a:r>
            <a:r>
              <a:rPr lang="nb-NO" dirty="0" err="1"/>
              <a:t>VS</a:t>
            </a:r>
            <a:r>
              <a:rPr lang="nb-NO" dirty="0"/>
              <a:t> Code as </a:t>
            </a:r>
            <a:r>
              <a:rPr lang="nb-NO" dirty="0" err="1"/>
              <a:t>text</a:t>
            </a:r>
            <a:r>
              <a:rPr lang="nb-NO" dirty="0"/>
              <a:t> editor / </a:t>
            </a:r>
            <a:r>
              <a:rPr lang="nb-NO" dirty="0" err="1"/>
              <a:t>development</a:t>
            </a:r>
            <a:r>
              <a:rPr lang="nb-NO" dirty="0"/>
              <a:t> </a:t>
            </a:r>
            <a:r>
              <a:rPr lang="nb-NO" dirty="0" err="1"/>
              <a:t>environment</a:t>
            </a:r>
            <a:endParaRPr lang="nb-NO" dirty="0"/>
          </a:p>
          <a:p>
            <a:pPr lvl="1"/>
            <a:r>
              <a:rPr lang="nb-NO" dirty="0" err="1"/>
              <a:t>Some</a:t>
            </a:r>
            <a:r>
              <a:rPr lang="nb-NO" dirty="0"/>
              <a:t> </a:t>
            </a:r>
            <a:r>
              <a:rPr lang="nb-NO" dirty="0" err="1"/>
              <a:t>other</a:t>
            </a:r>
            <a:r>
              <a:rPr lang="nb-NO" dirty="0"/>
              <a:t> </a:t>
            </a:r>
            <a:r>
              <a:rPr lang="nb-NO" dirty="0" err="1"/>
              <a:t>popular</a:t>
            </a:r>
            <a:r>
              <a:rPr lang="nb-NO" dirty="0"/>
              <a:t> alternatives for all or parts </a:t>
            </a:r>
            <a:r>
              <a:rPr lang="nb-NO" dirty="0" err="1"/>
              <a:t>of</a:t>
            </a:r>
            <a:r>
              <a:rPr lang="nb-NO" dirty="0"/>
              <a:t> </a:t>
            </a:r>
            <a:r>
              <a:rPr lang="nb-NO" dirty="0" err="1"/>
              <a:t>the</a:t>
            </a:r>
            <a:r>
              <a:rPr lang="nb-NO" dirty="0"/>
              <a:t> </a:t>
            </a:r>
            <a:r>
              <a:rPr lang="nb-NO" dirty="0" err="1"/>
              <a:t>process</a:t>
            </a:r>
            <a:endParaRPr lang="nb-NO" dirty="0"/>
          </a:p>
          <a:p>
            <a:pPr lvl="2"/>
            <a:r>
              <a:rPr lang="nb-NO" dirty="0" err="1"/>
              <a:t>VS</a:t>
            </a:r>
            <a:r>
              <a:rPr lang="nb-NO" dirty="0"/>
              <a:t> </a:t>
            </a:r>
            <a:r>
              <a:rPr lang="nb-NO" dirty="0" err="1"/>
              <a:t>Codium</a:t>
            </a:r>
            <a:endParaRPr lang="nb-NO" dirty="0"/>
          </a:p>
          <a:p>
            <a:pPr lvl="2"/>
            <a:r>
              <a:rPr lang="nb-NO" dirty="0"/>
              <a:t>Atom</a:t>
            </a:r>
          </a:p>
          <a:p>
            <a:pPr lvl="2"/>
            <a:r>
              <a:rPr lang="nb-NO" dirty="0" err="1"/>
              <a:t>Notepad</a:t>
            </a:r>
            <a:r>
              <a:rPr lang="nb-NO" dirty="0"/>
              <a:t>++</a:t>
            </a:r>
          </a:p>
          <a:p>
            <a:pPr lvl="2"/>
            <a:r>
              <a:rPr lang="nb-NO" dirty="0" err="1"/>
              <a:t>Jupyter</a:t>
            </a:r>
            <a:r>
              <a:rPr lang="nb-NO" dirty="0"/>
              <a:t> Notebook</a:t>
            </a:r>
          </a:p>
          <a:p>
            <a:pPr lvl="2"/>
            <a:r>
              <a:rPr lang="nb-NO" dirty="0" err="1"/>
              <a:t>Anaconda</a:t>
            </a:r>
            <a:r>
              <a:rPr lang="nb-NO" dirty="0"/>
              <a:t> </a:t>
            </a:r>
            <a:r>
              <a:rPr lang="nb-NO" dirty="0" err="1"/>
              <a:t>ecosystem</a:t>
            </a:r>
            <a:endParaRPr lang="nb-NO" dirty="0"/>
          </a:p>
        </p:txBody>
      </p:sp>
      <p:pic>
        <p:nvPicPr>
          <p:cNvPr id="5" name="Picture 4">
            <a:extLst>
              <a:ext uri="{FF2B5EF4-FFF2-40B4-BE49-F238E27FC236}">
                <a16:creationId xmlns:a16="http://schemas.microsoft.com/office/drawing/2014/main" id="{A9FD8E2C-3336-2A5D-6D75-D8B3D73C567B}"/>
              </a:ext>
            </a:extLst>
          </p:cNvPr>
          <p:cNvPicPr>
            <a:picLocks noChangeAspect="1"/>
          </p:cNvPicPr>
          <p:nvPr/>
        </p:nvPicPr>
        <p:blipFill>
          <a:blip r:embed="rId3"/>
          <a:stretch>
            <a:fillRect/>
          </a:stretch>
        </p:blipFill>
        <p:spPr>
          <a:xfrm>
            <a:off x="4056360" y="2234491"/>
            <a:ext cx="8072519" cy="3805903"/>
          </a:xfrm>
          <a:prstGeom prst="rect">
            <a:avLst/>
          </a:prstGeom>
        </p:spPr>
      </p:pic>
    </p:spTree>
    <p:extLst>
      <p:ext uri="{BB962C8B-B14F-4D97-AF65-F5344CB8AC3E}">
        <p14:creationId xmlns:p14="http://schemas.microsoft.com/office/powerpoint/2010/main" val="142900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8</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YANG Suite</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YANG Suite</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1512000"/>
            <a:ext cx="6137526" cy="3926274"/>
          </a:xfrm>
        </p:spPr>
        <p:txBody>
          <a:bodyPr/>
          <a:lstStyle/>
          <a:p>
            <a:pPr>
              <a:lnSpc>
                <a:spcPct val="110000"/>
              </a:lnSpc>
            </a:pPr>
            <a:r>
              <a:rPr lang="nb-NO" sz="2000" dirty="0"/>
              <a:t>Testing and </a:t>
            </a:r>
            <a:r>
              <a:rPr lang="nb-NO" sz="2000" dirty="0" err="1"/>
              <a:t>validation</a:t>
            </a:r>
            <a:r>
              <a:rPr lang="nb-NO" sz="2000" dirty="0"/>
              <a:t> </a:t>
            </a:r>
            <a:r>
              <a:rPr lang="nb-NO" sz="2000" dirty="0" err="1"/>
              <a:t>environment</a:t>
            </a:r>
            <a:r>
              <a:rPr lang="nb-NO" sz="2000" dirty="0"/>
              <a:t> for </a:t>
            </a:r>
            <a:r>
              <a:rPr lang="nb-NO" sz="2000" dirty="0" err="1"/>
              <a:t>YANG</a:t>
            </a:r>
            <a:r>
              <a:rPr lang="nb-NO" sz="2000" dirty="0"/>
              <a:t> </a:t>
            </a:r>
            <a:r>
              <a:rPr lang="nb-NO" sz="2000" dirty="0" err="1"/>
              <a:t>related</a:t>
            </a:r>
            <a:r>
              <a:rPr lang="nb-NO" sz="2000" dirty="0"/>
              <a:t> </a:t>
            </a:r>
            <a:r>
              <a:rPr lang="nb-NO" sz="2000" dirty="0" err="1"/>
              <a:t>tasks</a:t>
            </a:r>
            <a:endParaRPr lang="nb-NO" sz="2000" dirty="0"/>
          </a:p>
          <a:p>
            <a:pPr>
              <a:lnSpc>
                <a:spcPct val="110000"/>
              </a:lnSpc>
            </a:pPr>
            <a:r>
              <a:rPr lang="nb-NO" sz="2000" dirty="0" err="1"/>
              <a:t>Install</a:t>
            </a:r>
            <a:r>
              <a:rPr lang="nb-NO" sz="2000" dirty="0"/>
              <a:t> as a </a:t>
            </a:r>
            <a:r>
              <a:rPr lang="nb-NO" sz="2000" dirty="0" err="1"/>
              <a:t>docker</a:t>
            </a:r>
            <a:r>
              <a:rPr lang="nb-NO" sz="2000" dirty="0"/>
              <a:t> container</a:t>
            </a:r>
          </a:p>
          <a:p>
            <a:pPr>
              <a:lnSpc>
                <a:spcPct val="110000"/>
              </a:lnSpc>
            </a:pPr>
            <a:r>
              <a:rPr lang="nb-NO" dirty="0" err="1"/>
              <a:t>We</a:t>
            </a:r>
            <a:r>
              <a:rPr lang="nb-NO" dirty="0"/>
              <a:t> </a:t>
            </a:r>
            <a:r>
              <a:rPr lang="nb-NO" dirty="0" err="1"/>
              <a:t>will</a:t>
            </a:r>
            <a:r>
              <a:rPr lang="nb-NO" dirty="0"/>
              <a:t> </a:t>
            </a:r>
            <a:r>
              <a:rPr lang="nb-NO" dirty="0" err="1"/>
              <a:t>use</a:t>
            </a:r>
            <a:r>
              <a:rPr lang="nb-NO" dirty="0"/>
              <a:t> </a:t>
            </a:r>
            <a:r>
              <a:rPr lang="nb-NO" dirty="0" err="1"/>
              <a:t>this</a:t>
            </a:r>
            <a:r>
              <a:rPr lang="nb-NO" dirty="0"/>
              <a:t> to </a:t>
            </a:r>
            <a:r>
              <a:rPr lang="nb-NO" dirty="0" err="1"/>
              <a:t>explore</a:t>
            </a:r>
            <a:r>
              <a:rPr lang="nb-NO" dirty="0"/>
              <a:t> </a:t>
            </a:r>
            <a:r>
              <a:rPr lang="nb-NO" dirty="0" err="1"/>
              <a:t>the</a:t>
            </a:r>
            <a:r>
              <a:rPr lang="nb-NO" dirty="0"/>
              <a:t> </a:t>
            </a:r>
            <a:r>
              <a:rPr lang="nb-NO" dirty="0" err="1"/>
              <a:t>world</a:t>
            </a:r>
            <a:r>
              <a:rPr lang="nb-NO" dirty="0"/>
              <a:t> </a:t>
            </a:r>
            <a:r>
              <a:rPr lang="nb-NO" dirty="0" err="1"/>
              <a:t>of</a:t>
            </a:r>
            <a:r>
              <a:rPr lang="nb-NO" dirty="0"/>
              <a:t> </a:t>
            </a:r>
            <a:r>
              <a:rPr lang="nb-NO" dirty="0" err="1"/>
              <a:t>YANG</a:t>
            </a:r>
            <a:r>
              <a:rPr lang="nb-NO" dirty="0"/>
              <a:t> </a:t>
            </a:r>
            <a:r>
              <a:rPr lang="nb-NO" dirty="0" err="1"/>
              <a:t>models</a:t>
            </a:r>
            <a:r>
              <a:rPr lang="nb-NO" dirty="0"/>
              <a:t> present in </a:t>
            </a:r>
            <a:r>
              <a:rPr lang="nb-NO" dirty="0" err="1"/>
              <a:t>the</a:t>
            </a:r>
            <a:r>
              <a:rPr lang="nb-NO" dirty="0"/>
              <a:t> Cisco 9800 </a:t>
            </a:r>
            <a:r>
              <a:rPr lang="nb-NO" dirty="0" err="1"/>
              <a:t>WLC</a:t>
            </a:r>
            <a:endParaRPr lang="nb-NO" sz="2000" dirty="0"/>
          </a:p>
        </p:txBody>
      </p:sp>
      <p:pic>
        <p:nvPicPr>
          <p:cNvPr id="4" name="Picture 2" descr="YANG Suite">
            <a:extLst>
              <a:ext uri="{FF2B5EF4-FFF2-40B4-BE49-F238E27FC236}">
                <a16:creationId xmlns:a16="http://schemas.microsoft.com/office/drawing/2014/main" id="{9A1B1F48-C012-6DB4-09D1-8247500614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7342" y="270000"/>
            <a:ext cx="5324346" cy="27679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54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9</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TIG Stack</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TIG Stack</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1512000"/>
            <a:ext cx="6137526" cy="3926274"/>
          </a:xfrm>
        </p:spPr>
        <p:txBody>
          <a:bodyPr/>
          <a:lstStyle/>
          <a:p>
            <a:pPr>
              <a:lnSpc>
                <a:spcPct val="110000"/>
              </a:lnSpc>
            </a:pPr>
            <a:r>
              <a:rPr lang="nb-NO" sz="2000" dirty="0"/>
              <a:t>Bla </a:t>
            </a:r>
            <a:r>
              <a:rPr lang="nb-NO" sz="2000" dirty="0" err="1"/>
              <a:t>bla</a:t>
            </a:r>
            <a:r>
              <a:rPr lang="nb-NO" sz="2000" dirty="0"/>
              <a:t> </a:t>
            </a:r>
            <a:r>
              <a:rPr lang="nb-NO" sz="2000" dirty="0" err="1"/>
              <a:t>about</a:t>
            </a:r>
            <a:r>
              <a:rPr lang="nb-NO" sz="2000" dirty="0"/>
              <a:t> </a:t>
            </a:r>
            <a:r>
              <a:rPr lang="nb-NO" sz="2000" dirty="0" err="1"/>
              <a:t>what</a:t>
            </a:r>
            <a:r>
              <a:rPr lang="nb-NO" sz="2000" dirty="0"/>
              <a:t> is </a:t>
            </a:r>
            <a:r>
              <a:rPr lang="nb-NO" sz="2000" dirty="0" err="1"/>
              <a:t>TIG</a:t>
            </a:r>
            <a:r>
              <a:rPr lang="nb-NO" sz="2000" dirty="0"/>
              <a:t> </a:t>
            </a:r>
            <a:r>
              <a:rPr lang="nb-NO" sz="2000" dirty="0" err="1"/>
              <a:t>stack</a:t>
            </a:r>
            <a:endParaRPr lang="nb-NO" sz="2000" dirty="0"/>
          </a:p>
        </p:txBody>
      </p:sp>
      <p:pic>
        <p:nvPicPr>
          <p:cNvPr id="5" name="Bilde 5">
            <a:extLst>
              <a:ext uri="{FF2B5EF4-FFF2-40B4-BE49-F238E27FC236}">
                <a16:creationId xmlns:a16="http://schemas.microsoft.com/office/drawing/2014/main" id="{C9EB1EFF-3AEB-D37E-E63D-152DCEE7CE15}"/>
              </a:ext>
            </a:extLst>
          </p:cNvPr>
          <p:cNvPicPr>
            <a:picLocks noChangeAspect="1"/>
          </p:cNvPicPr>
          <p:nvPr/>
        </p:nvPicPr>
        <p:blipFill>
          <a:blip r:embed="rId3"/>
          <a:stretch>
            <a:fillRect/>
          </a:stretch>
        </p:blipFill>
        <p:spPr>
          <a:xfrm>
            <a:off x="7443292" y="2332582"/>
            <a:ext cx="2170148" cy="811270"/>
          </a:xfrm>
          <a:prstGeom prst="rect">
            <a:avLst/>
          </a:prstGeom>
        </p:spPr>
      </p:pic>
      <p:cxnSp>
        <p:nvCxnSpPr>
          <p:cNvPr id="6" name="Rett pilkobling 23">
            <a:extLst>
              <a:ext uri="{FF2B5EF4-FFF2-40B4-BE49-F238E27FC236}">
                <a16:creationId xmlns:a16="http://schemas.microsoft.com/office/drawing/2014/main" id="{A6613379-BF42-117C-8D3C-D4193FC8A931}"/>
              </a:ext>
            </a:extLst>
          </p:cNvPr>
          <p:cNvCxnSpPr>
            <a:cxnSpLocks/>
          </p:cNvCxnSpPr>
          <p:nvPr/>
        </p:nvCxnSpPr>
        <p:spPr>
          <a:xfrm>
            <a:off x="8657351" y="3027506"/>
            <a:ext cx="0" cy="70709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 name="Rett linje 14">
            <a:extLst>
              <a:ext uri="{FF2B5EF4-FFF2-40B4-BE49-F238E27FC236}">
                <a16:creationId xmlns:a16="http://schemas.microsoft.com/office/drawing/2014/main" id="{8C3EE96A-AD90-F2DE-1D09-B17CD504ADC9}"/>
              </a:ext>
            </a:extLst>
          </p:cNvPr>
          <p:cNvCxnSpPr>
            <a:cxnSpLocks/>
          </p:cNvCxnSpPr>
          <p:nvPr/>
        </p:nvCxnSpPr>
        <p:spPr>
          <a:xfrm flipV="1">
            <a:off x="3785417" y="2825529"/>
            <a:ext cx="3657875" cy="1"/>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10" name="Picture 2">
            <a:extLst>
              <a:ext uri="{FF2B5EF4-FFF2-40B4-BE49-F238E27FC236}">
                <a16:creationId xmlns:a16="http://schemas.microsoft.com/office/drawing/2014/main" id="{435379EF-4D17-9CDF-626B-C1236648CD4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0758" y="3266254"/>
            <a:ext cx="3426713" cy="12707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1">
            <a:extLst>
              <a:ext uri="{FF2B5EF4-FFF2-40B4-BE49-F238E27FC236}">
                <a16:creationId xmlns:a16="http://schemas.microsoft.com/office/drawing/2014/main" id="{10723956-74B1-DFB4-04A6-85CE273C58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59135" y="1926002"/>
            <a:ext cx="2148365" cy="1450701"/>
          </a:xfrm>
          <a:prstGeom prst="rect">
            <a:avLst/>
          </a:prstGeom>
        </p:spPr>
      </p:pic>
      <p:pic>
        <p:nvPicPr>
          <p:cNvPr id="12" name="Bilde 7">
            <a:extLst>
              <a:ext uri="{FF2B5EF4-FFF2-40B4-BE49-F238E27FC236}">
                <a16:creationId xmlns:a16="http://schemas.microsoft.com/office/drawing/2014/main" id="{D755C2AE-CF2E-F42D-F7C6-9586B0F30A79}"/>
              </a:ext>
            </a:extLst>
          </p:cNvPr>
          <p:cNvPicPr>
            <a:picLocks noChangeAspect="1"/>
          </p:cNvPicPr>
          <p:nvPr/>
        </p:nvPicPr>
        <p:blipFill>
          <a:blip r:embed="rId6"/>
          <a:stretch>
            <a:fillRect/>
          </a:stretch>
        </p:blipFill>
        <p:spPr>
          <a:xfrm>
            <a:off x="2055404" y="2651353"/>
            <a:ext cx="1555825" cy="309833"/>
          </a:xfrm>
          <a:prstGeom prst="rect">
            <a:avLst/>
          </a:prstGeom>
        </p:spPr>
      </p:pic>
      <p:pic>
        <p:nvPicPr>
          <p:cNvPr id="13" name="Bilde 11">
            <a:extLst>
              <a:ext uri="{FF2B5EF4-FFF2-40B4-BE49-F238E27FC236}">
                <a16:creationId xmlns:a16="http://schemas.microsoft.com/office/drawing/2014/main" id="{B1B3056A-4A70-7BB3-3556-9ADBBF5D29FA}"/>
              </a:ext>
            </a:extLst>
          </p:cNvPr>
          <p:cNvPicPr>
            <a:picLocks noChangeAspect="1"/>
          </p:cNvPicPr>
          <p:nvPr/>
        </p:nvPicPr>
        <p:blipFill>
          <a:blip r:embed="rId7"/>
          <a:stretch>
            <a:fillRect/>
          </a:stretch>
        </p:blipFill>
        <p:spPr>
          <a:xfrm>
            <a:off x="7490802" y="4714107"/>
            <a:ext cx="2122639" cy="645397"/>
          </a:xfrm>
          <a:prstGeom prst="rect">
            <a:avLst/>
          </a:prstGeom>
        </p:spPr>
      </p:pic>
      <p:sp>
        <p:nvSpPr>
          <p:cNvPr id="14" name="TekstSylinder 19">
            <a:extLst>
              <a:ext uri="{FF2B5EF4-FFF2-40B4-BE49-F238E27FC236}">
                <a16:creationId xmlns:a16="http://schemas.microsoft.com/office/drawing/2014/main" id="{B1DE3214-9DAA-6CF3-C47A-06A0A43528FC}"/>
              </a:ext>
            </a:extLst>
          </p:cNvPr>
          <p:cNvSpPr txBox="1"/>
          <p:nvPr/>
        </p:nvSpPr>
        <p:spPr>
          <a:xfrm>
            <a:off x="4912531" y="2478507"/>
            <a:ext cx="2052550" cy="369332"/>
          </a:xfrm>
          <a:prstGeom prst="rect">
            <a:avLst/>
          </a:prstGeom>
          <a:noFill/>
        </p:spPr>
        <p:txBody>
          <a:bodyPr wrap="squar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gRPC</a:t>
            </a:r>
            <a:r>
              <a:rPr lang="nb-NO">
                <a:latin typeface="Tahoma" panose="020B0604030504040204" pitchFamily="34" charset="0"/>
                <a:ea typeface="Tahoma" panose="020B0604030504040204" pitchFamily="34" charset="0"/>
                <a:cs typeface="Tahoma" panose="020B0604030504040204" pitchFamily="34" charset="0"/>
              </a:rPr>
              <a:t> / TCP 57000</a:t>
            </a:r>
          </a:p>
        </p:txBody>
      </p:sp>
      <p:sp>
        <p:nvSpPr>
          <p:cNvPr id="15" name="TekstSylinder 26">
            <a:extLst>
              <a:ext uri="{FF2B5EF4-FFF2-40B4-BE49-F238E27FC236}">
                <a16:creationId xmlns:a16="http://schemas.microsoft.com/office/drawing/2014/main" id="{93860A05-BD8A-0981-4F6B-97513DA982B8}"/>
              </a:ext>
            </a:extLst>
          </p:cNvPr>
          <p:cNvSpPr txBox="1"/>
          <p:nvPr/>
        </p:nvSpPr>
        <p:spPr>
          <a:xfrm>
            <a:off x="2376193" y="2959210"/>
            <a:ext cx="936475" cy="369332"/>
          </a:xfrm>
          <a:prstGeom prst="rect">
            <a:avLst/>
          </a:prstGeom>
          <a:noFill/>
        </p:spPr>
        <p:txBody>
          <a:bodyPr wrap="square" rtlCol="0">
            <a:spAutoFit/>
          </a:bodyPr>
          <a:lstStyle/>
          <a:p>
            <a:r>
              <a:rPr lang="nb-NO" err="1"/>
              <a:t>C9800</a:t>
            </a:r>
            <a:endParaRPr lang="nb-NO"/>
          </a:p>
        </p:txBody>
      </p:sp>
      <p:sp>
        <p:nvSpPr>
          <p:cNvPr id="16" name="TekstSylinder 35">
            <a:extLst>
              <a:ext uri="{FF2B5EF4-FFF2-40B4-BE49-F238E27FC236}">
                <a16:creationId xmlns:a16="http://schemas.microsoft.com/office/drawing/2014/main" id="{1CB0A1EE-F5FD-C791-CE26-12BF9C4D9755}"/>
              </a:ext>
            </a:extLst>
          </p:cNvPr>
          <p:cNvSpPr txBox="1"/>
          <p:nvPr/>
        </p:nvSpPr>
        <p:spPr>
          <a:xfrm>
            <a:off x="8641500" y="3200675"/>
            <a:ext cx="3140194" cy="369284"/>
          </a:xfrm>
          <a:prstGeom prst="rect">
            <a:avLst/>
          </a:prstGeom>
          <a:noFill/>
        </p:spPr>
        <p:txBody>
          <a:bodyPr wrap="squar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metrics</a:t>
            </a:r>
            <a:r>
              <a:rPr lang="nb-NO">
                <a:latin typeface="Tahoma" panose="020B0604030504040204" pitchFamily="34" charset="0"/>
                <a:ea typeface="Tahoma" panose="020B0604030504040204" pitchFamily="34" charset="0"/>
                <a:cs typeface="Tahoma" panose="020B0604030504040204" pitchFamily="34" charset="0"/>
              </a:rPr>
              <a:t> </a:t>
            </a:r>
            <a:r>
              <a:rPr lang="nb-NO" err="1">
                <a:latin typeface="Tahoma" panose="020B0604030504040204" pitchFamily="34" charset="0"/>
                <a:ea typeface="Tahoma" panose="020B0604030504040204" pitchFamily="34" charset="0"/>
                <a:cs typeface="Tahoma" panose="020B0604030504040204" pitchFamily="34" charset="0"/>
              </a:rPr>
              <a:t>goes</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the</a:t>
            </a:r>
            <a:r>
              <a:rPr lang="nb-NO">
                <a:latin typeface="Tahoma" panose="020B0604030504040204" pitchFamily="34" charset="0"/>
                <a:ea typeface="Tahoma" panose="020B0604030504040204" pitchFamily="34" charset="0"/>
                <a:cs typeface="Tahoma" panose="020B0604030504040204" pitchFamily="34" charset="0"/>
              </a:rPr>
              <a:t> database</a:t>
            </a:r>
          </a:p>
        </p:txBody>
      </p:sp>
      <p:cxnSp>
        <p:nvCxnSpPr>
          <p:cNvPr id="17" name="Rett pilkobling 36">
            <a:extLst>
              <a:ext uri="{FF2B5EF4-FFF2-40B4-BE49-F238E27FC236}">
                <a16:creationId xmlns:a16="http://schemas.microsoft.com/office/drawing/2014/main" id="{62E10220-4C2F-0D0D-9697-AA3CC19D9239}"/>
              </a:ext>
            </a:extLst>
          </p:cNvPr>
          <p:cNvCxnSpPr>
            <a:cxnSpLocks/>
          </p:cNvCxnSpPr>
          <p:nvPr/>
        </p:nvCxnSpPr>
        <p:spPr>
          <a:xfrm>
            <a:off x="8666878" y="4187383"/>
            <a:ext cx="0" cy="60456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8" name="TekstSylinder 39">
            <a:extLst>
              <a:ext uri="{FF2B5EF4-FFF2-40B4-BE49-F238E27FC236}">
                <a16:creationId xmlns:a16="http://schemas.microsoft.com/office/drawing/2014/main" id="{F754CD5D-54F6-4C0E-4E72-2A2C4F648A5B}"/>
              </a:ext>
            </a:extLst>
          </p:cNvPr>
          <p:cNvSpPr txBox="1"/>
          <p:nvPr/>
        </p:nvSpPr>
        <p:spPr>
          <a:xfrm>
            <a:off x="8694628" y="4211257"/>
            <a:ext cx="2167305" cy="369284"/>
          </a:xfrm>
          <a:prstGeom prst="rect">
            <a:avLst/>
          </a:prstGeom>
          <a:noFill/>
        </p:spPr>
        <p:txBody>
          <a:bodyPr wrap="square">
            <a:spAutoFit/>
          </a:bodyPr>
          <a:lstStyle/>
          <a:p>
            <a:r>
              <a:rPr lang="nb-NO" err="1">
                <a:latin typeface="Tahoma" panose="020B0604030504040204" pitchFamily="34" charset="0"/>
                <a:ea typeface="Tahoma" panose="020B0604030504040204" pitchFamily="34" charset="0"/>
                <a:cs typeface="Tahoma" panose="020B0604030504040204" pitchFamily="34" charset="0"/>
              </a:rPr>
              <a:t>Grafana</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visualize</a:t>
            </a:r>
            <a:endParaRPr lang="nb-NO">
              <a:latin typeface="Tahoma" panose="020B0604030504040204" pitchFamily="34" charset="0"/>
              <a:ea typeface="Tahoma" panose="020B0604030504040204" pitchFamily="34" charset="0"/>
              <a:cs typeface="Tahoma" panose="020B0604030504040204" pitchFamily="34" charset="0"/>
            </a:endParaRPr>
          </a:p>
        </p:txBody>
      </p:sp>
      <p:sp>
        <p:nvSpPr>
          <p:cNvPr id="19" name="TekstSylinder 40">
            <a:extLst>
              <a:ext uri="{FF2B5EF4-FFF2-40B4-BE49-F238E27FC236}">
                <a16:creationId xmlns:a16="http://schemas.microsoft.com/office/drawing/2014/main" id="{0F0B0CAB-40E3-9A94-1BFB-2AB921ADDE52}"/>
              </a:ext>
            </a:extLst>
          </p:cNvPr>
          <p:cNvSpPr txBox="1"/>
          <p:nvPr/>
        </p:nvSpPr>
        <p:spPr>
          <a:xfrm>
            <a:off x="9426022" y="3701668"/>
            <a:ext cx="1157923" cy="369284"/>
          </a:xfrm>
          <a:prstGeom prst="rect">
            <a:avLst/>
          </a:prstGeom>
          <a:noFill/>
        </p:spPr>
        <p:txBody>
          <a:bodyPr wrap="squar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8086</a:t>
            </a:r>
          </a:p>
        </p:txBody>
      </p:sp>
      <p:sp>
        <p:nvSpPr>
          <p:cNvPr id="20" name="TekstSylinder 41">
            <a:extLst>
              <a:ext uri="{FF2B5EF4-FFF2-40B4-BE49-F238E27FC236}">
                <a16:creationId xmlns:a16="http://schemas.microsoft.com/office/drawing/2014/main" id="{8CFB5AD9-EFE7-6D65-C14A-192822C031CC}"/>
              </a:ext>
            </a:extLst>
          </p:cNvPr>
          <p:cNvSpPr txBox="1"/>
          <p:nvPr/>
        </p:nvSpPr>
        <p:spPr>
          <a:xfrm>
            <a:off x="9554916" y="4909271"/>
            <a:ext cx="1157923" cy="369284"/>
          </a:xfrm>
          <a:prstGeom prst="rect">
            <a:avLst/>
          </a:prstGeom>
          <a:noFill/>
        </p:spPr>
        <p:txBody>
          <a:bodyPr wrap="squar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3000</a:t>
            </a:r>
          </a:p>
        </p:txBody>
      </p:sp>
      <p:sp>
        <p:nvSpPr>
          <p:cNvPr id="21" name="Rektangel: avrundede hjørner 32">
            <a:extLst>
              <a:ext uri="{FF2B5EF4-FFF2-40B4-BE49-F238E27FC236}">
                <a16:creationId xmlns:a16="http://schemas.microsoft.com/office/drawing/2014/main" id="{8E6E7575-F544-8C5D-AFFE-E7F5DE564A88}"/>
              </a:ext>
            </a:extLst>
          </p:cNvPr>
          <p:cNvSpPr/>
          <p:nvPr/>
        </p:nvSpPr>
        <p:spPr>
          <a:xfrm>
            <a:off x="7443292" y="2267358"/>
            <a:ext cx="4386012" cy="32914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Tahoma" charset="0"/>
              <a:ea typeface="Tahoma" charset="0"/>
              <a:cs typeface="Tahoma" charset="0"/>
            </a:endParaRPr>
          </a:p>
        </p:txBody>
      </p:sp>
      <p:pic>
        <p:nvPicPr>
          <p:cNvPr id="22" name="Graphic 286">
            <a:extLst>
              <a:ext uri="{FF2B5EF4-FFF2-40B4-BE49-F238E27FC236}">
                <a16:creationId xmlns:a16="http://schemas.microsoft.com/office/drawing/2014/main" id="{3142EC36-907F-4B2E-FB03-8904E0EBFE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81720" y="1077650"/>
            <a:ext cx="1152375" cy="1599992"/>
          </a:xfrm>
          <a:prstGeom prst="rect">
            <a:avLst/>
          </a:prstGeom>
        </p:spPr>
      </p:pic>
      <p:pic>
        <p:nvPicPr>
          <p:cNvPr id="23" name="Picture 2" descr="Docker Logos | Docker">
            <a:extLst>
              <a:ext uri="{FF2B5EF4-FFF2-40B4-BE49-F238E27FC236}">
                <a16:creationId xmlns:a16="http://schemas.microsoft.com/office/drawing/2014/main" id="{DC528D60-8C4F-CDEB-8CE5-75A2F11C3E3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069646" y="1611704"/>
            <a:ext cx="1916783" cy="1373695"/>
          </a:xfrm>
          <a:prstGeom prst="rect">
            <a:avLst/>
          </a:prstGeom>
          <a:noFill/>
          <a:extLst>
            <a:ext uri="{909E8E84-426E-40DD-AFC4-6F175D3DCCD1}">
              <a14:hiddenFill xmlns:a14="http://schemas.microsoft.com/office/drawing/2010/main">
                <a:solidFill>
                  <a:srgbClr val="FFFFFF"/>
                </a:solidFill>
              </a14:hiddenFill>
            </a:ext>
          </a:extLst>
        </p:spPr>
      </p:pic>
      <p:pic>
        <p:nvPicPr>
          <p:cNvPr id="24" name="Graphic 278">
            <a:extLst>
              <a:ext uri="{FF2B5EF4-FFF2-40B4-BE49-F238E27FC236}">
                <a16:creationId xmlns:a16="http://schemas.microsoft.com/office/drawing/2014/main" id="{95032200-7A71-9449-8181-F969896E01C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77980" y="4256325"/>
            <a:ext cx="1380945" cy="1599992"/>
          </a:xfrm>
          <a:prstGeom prst="rect">
            <a:avLst/>
          </a:prstGeom>
        </p:spPr>
      </p:pic>
      <p:cxnSp>
        <p:nvCxnSpPr>
          <p:cNvPr id="25" name="Rett linje 49">
            <a:extLst>
              <a:ext uri="{FF2B5EF4-FFF2-40B4-BE49-F238E27FC236}">
                <a16:creationId xmlns:a16="http://schemas.microsoft.com/office/drawing/2014/main" id="{DE38E8C3-8B48-1BA0-F4F8-3EBD3D93AF07}"/>
              </a:ext>
            </a:extLst>
          </p:cNvPr>
          <p:cNvCxnSpPr>
            <a:cxnSpLocks/>
            <a:stCxn id="24" idx="3"/>
          </p:cNvCxnSpPr>
          <p:nvPr/>
        </p:nvCxnSpPr>
        <p:spPr>
          <a:xfrm>
            <a:off x="5058924" y="5056321"/>
            <a:ext cx="2384367"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6" name="TekstSylinder 54">
            <a:extLst>
              <a:ext uri="{FF2B5EF4-FFF2-40B4-BE49-F238E27FC236}">
                <a16:creationId xmlns:a16="http://schemas.microsoft.com/office/drawing/2014/main" id="{5182A614-3C62-72B7-3D41-8415F08F32AF}"/>
              </a:ext>
            </a:extLst>
          </p:cNvPr>
          <p:cNvSpPr txBox="1"/>
          <p:nvPr/>
        </p:nvSpPr>
        <p:spPr>
          <a:xfrm>
            <a:off x="5073568" y="4717976"/>
            <a:ext cx="2357261" cy="369284"/>
          </a:xfrm>
          <a:prstGeom prst="rect">
            <a:avLst/>
          </a:prstGeom>
          <a:noFill/>
        </p:spPr>
        <p:txBody>
          <a:bodyPr wrap="squar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WebUI</a:t>
            </a:r>
            <a:r>
              <a:rPr lang="nb-NO">
                <a:latin typeface="Tahoma" panose="020B0604030504040204" pitchFamily="34" charset="0"/>
                <a:ea typeface="Tahoma" panose="020B0604030504040204" pitchFamily="34" charset="0"/>
                <a:cs typeface="Tahoma" panose="020B0604030504040204" pitchFamily="34" charset="0"/>
              </a:rPr>
              <a:t> – server:3000</a:t>
            </a:r>
          </a:p>
        </p:txBody>
      </p:sp>
      <p:sp>
        <p:nvSpPr>
          <p:cNvPr id="27" name="Snakkeboble: oval 50">
            <a:extLst>
              <a:ext uri="{FF2B5EF4-FFF2-40B4-BE49-F238E27FC236}">
                <a16:creationId xmlns:a16="http://schemas.microsoft.com/office/drawing/2014/main" id="{5D3D777D-FCA8-AEFD-7EDF-A4D4D66C319C}"/>
              </a:ext>
            </a:extLst>
          </p:cNvPr>
          <p:cNvSpPr/>
          <p:nvPr/>
        </p:nvSpPr>
        <p:spPr>
          <a:xfrm>
            <a:off x="3985166" y="3522180"/>
            <a:ext cx="1097564" cy="791390"/>
          </a:xfrm>
          <a:prstGeom prst="wedgeEllipse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latin typeface="Tahoma" charset="0"/>
                <a:ea typeface="Tahoma" charset="0"/>
                <a:cs typeface="Tahoma" charset="0"/>
              </a:rPr>
              <a:t>Wow! </a:t>
            </a:r>
          </a:p>
        </p:txBody>
      </p:sp>
      <p:pic>
        <p:nvPicPr>
          <p:cNvPr id="28" name="Picture 27" descr="A blue logo with a black background&#10;&#10;Description automatically generated">
            <a:extLst>
              <a:ext uri="{FF2B5EF4-FFF2-40B4-BE49-F238E27FC236}">
                <a16:creationId xmlns:a16="http://schemas.microsoft.com/office/drawing/2014/main" id="{41855C38-1831-5512-CD6F-E16C5650AA0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870957" y="5093913"/>
            <a:ext cx="1703044" cy="708180"/>
          </a:xfrm>
          <a:prstGeom prst="rect">
            <a:avLst/>
          </a:prstGeom>
        </p:spPr>
      </p:pic>
      <p:pic>
        <p:nvPicPr>
          <p:cNvPr id="32" name="Picture 31">
            <a:extLst>
              <a:ext uri="{FF2B5EF4-FFF2-40B4-BE49-F238E27FC236}">
                <a16:creationId xmlns:a16="http://schemas.microsoft.com/office/drawing/2014/main" id="{E3268CD9-F914-F6E3-409E-6B9B4F391EB6}"/>
              </a:ext>
            </a:extLst>
          </p:cNvPr>
          <p:cNvPicPr>
            <a:picLocks noChangeAspect="1"/>
          </p:cNvPicPr>
          <p:nvPr/>
        </p:nvPicPr>
        <p:blipFill>
          <a:blip r:embed="rId14"/>
          <a:stretch>
            <a:fillRect/>
          </a:stretch>
        </p:blipFill>
        <p:spPr>
          <a:xfrm>
            <a:off x="132859" y="4070952"/>
            <a:ext cx="3443342" cy="1907322"/>
          </a:xfrm>
          <a:prstGeom prst="rect">
            <a:avLst/>
          </a:prstGeom>
        </p:spPr>
      </p:pic>
    </p:spTree>
    <p:extLst>
      <p:ext uri="{BB962C8B-B14F-4D97-AF65-F5344CB8AC3E}">
        <p14:creationId xmlns:p14="http://schemas.microsoft.com/office/powerpoint/2010/main" val="2455441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extLst>
              <p:ext uri="{D42A27DB-BD31-4B8C-83A1-F6EECF244321}">
                <p14:modId xmlns:p14="http://schemas.microsoft.com/office/powerpoint/2010/main" val="9280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15350"/>
            <a:ext cx="10738494" cy="2827790"/>
          </a:xfrm>
          <a:prstGeom prst="rect">
            <a:avLst/>
          </a:prstGeom>
          <a:noFill/>
        </p:spPr>
        <p:txBody>
          <a:bodyPr wrap="none" lIns="90000" tIns="46800" rIns="90000" bIns="46800" rtlCol="0">
            <a:noAutofit/>
          </a:bodyPr>
          <a:lstStyle/>
          <a:p>
            <a:pPr algn="l"/>
            <a:r>
              <a:rPr lang="en-US" sz="1400" dirty="0">
                <a:hlinkClick r:id="rId7"/>
              </a:rPr>
              <a:t>https://</a:t>
            </a:r>
            <a:r>
              <a:rPr lang="en-US" sz="1400" dirty="0" err="1">
                <a:hlinkClick r:id="rId7"/>
              </a:rPr>
              <a:t>github.com</a:t>
            </a:r>
            <a:r>
              <a:rPr lang="en-US" sz="1400" dirty="0">
                <a:hlinkClick r:id="rId7"/>
              </a:rPr>
              <a:t>/</a:t>
            </a:r>
            <a:r>
              <a:rPr lang="en-US" sz="1400" dirty="0" err="1">
                <a:hlinkClick r:id="rId7"/>
              </a:rPr>
              <a:t>CiscoDevNet</a:t>
            </a:r>
            <a:r>
              <a:rPr lang="en-US" sz="1400" dirty="0">
                <a:hlinkClick r:id="rId7"/>
              </a:rPr>
              <a:t>/</a:t>
            </a:r>
            <a:r>
              <a:rPr lang="en-US" sz="1400" dirty="0" err="1">
                <a:hlinkClick r:id="rId7"/>
              </a:rPr>
              <a:t>yangsuite</a:t>
            </a:r>
            <a:r>
              <a:rPr lang="en-US" sz="1400" dirty="0">
                <a:hlinkClick r:id="rId7"/>
              </a:rPr>
              <a:t>/</a:t>
            </a:r>
            <a:endParaRPr lang="en-US" sz="1400" dirty="0"/>
          </a:p>
          <a:p>
            <a:pPr algn="l"/>
            <a:r>
              <a:rPr lang="en-US" sz="1400" dirty="0">
                <a:hlinkClick r:id="rId8"/>
              </a:rPr>
              <a:t>https://</a:t>
            </a:r>
            <a:r>
              <a:rPr lang="en-US" sz="1400" dirty="0" err="1">
                <a:hlinkClick r:id="rId8"/>
              </a:rPr>
              <a:t>postman.com</a:t>
            </a:r>
            <a:endParaRPr lang="en-US" sz="1400" dirty="0"/>
          </a:p>
          <a:p>
            <a:pPr algn="l"/>
            <a:r>
              <a:rPr lang="en-US" sz="1400" dirty="0">
                <a:hlinkClick r:id="rId9"/>
              </a:rPr>
              <a:t>https://</a:t>
            </a:r>
            <a:r>
              <a:rPr lang="en-US" sz="1400" dirty="0" err="1">
                <a:hlinkClick r:id="rId9"/>
              </a:rPr>
              <a:t>docs.ansible.com</a:t>
            </a:r>
            <a:r>
              <a:rPr lang="en-US" sz="1400" dirty="0">
                <a:hlinkClick r:id="rId9"/>
              </a:rPr>
              <a:t>/ansible/latest/collections/cisco/</a:t>
            </a:r>
            <a:r>
              <a:rPr lang="en-US" sz="1400" dirty="0" err="1">
                <a:hlinkClick r:id="rId9"/>
              </a:rPr>
              <a:t>ios</a:t>
            </a:r>
            <a:r>
              <a:rPr lang="en-US" sz="1400" dirty="0">
                <a:hlinkClick r:id="rId9"/>
              </a:rPr>
              <a:t>/</a:t>
            </a:r>
            <a:r>
              <a:rPr lang="en-US" sz="1400" dirty="0" err="1">
                <a:hlinkClick r:id="rId9"/>
              </a:rPr>
              <a:t>ios_facts_module.html</a:t>
            </a:r>
            <a:endParaRPr lang="en-US" sz="1400" dirty="0"/>
          </a:p>
          <a:p>
            <a:pPr algn="l"/>
            <a:r>
              <a:rPr lang="en-US" sz="1400" dirty="0">
                <a:hlinkClick r:id="rId10"/>
              </a:rPr>
              <a:t>https://</a:t>
            </a:r>
            <a:r>
              <a:rPr lang="en-US" sz="1400" dirty="0" err="1">
                <a:hlinkClick r:id="rId10"/>
              </a:rPr>
              <a:t>www.wifireference.com</a:t>
            </a:r>
            <a:r>
              <a:rPr lang="en-US" sz="1400" dirty="0">
                <a:hlinkClick r:id="rId10"/>
              </a:rPr>
              <a:t>/2020/01/14/viewing-network-telemetry-from-the-catalyst-9800-with-</a:t>
            </a:r>
            <a:r>
              <a:rPr lang="en-US" sz="1400" dirty="0" err="1">
                <a:hlinkClick r:id="rId10"/>
              </a:rPr>
              <a:t>grafana</a:t>
            </a:r>
            <a:r>
              <a:rPr lang="en-US" sz="1400" dirty="0">
                <a:hlinkClick r:id="rId10"/>
              </a:rPr>
              <a:t>/</a:t>
            </a:r>
            <a:endParaRPr lang="en-US" sz="1400" dirty="0"/>
          </a:p>
          <a:p>
            <a:pPr algn="l"/>
            <a:r>
              <a:rPr lang="en-US" sz="1400" dirty="0">
                <a:hlinkClick r:id="rId11"/>
              </a:rPr>
              <a:t>https://</a:t>
            </a:r>
            <a:r>
              <a:rPr lang="en-US" sz="1400" dirty="0" err="1">
                <a:hlinkClick r:id="rId11"/>
              </a:rPr>
              <a:t>grafana.com</a:t>
            </a:r>
            <a:r>
              <a:rPr lang="en-US" sz="1400" dirty="0">
                <a:hlinkClick r:id="rId11"/>
              </a:rPr>
              <a:t>/</a:t>
            </a:r>
            <a:r>
              <a:rPr lang="en-US" sz="1400" dirty="0" err="1">
                <a:hlinkClick r:id="rId11"/>
              </a:rPr>
              <a:t>grafana</a:t>
            </a:r>
            <a:r>
              <a:rPr lang="en-US" sz="1400" dirty="0">
                <a:hlinkClick r:id="rId11"/>
              </a:rPr>
              <a:t>/dashboards/13462-device-health-monitoring/</a:t>
            </a:r>
            <a:endParaRPr lang="en-US" sz="1400" dirty="0"/>
          </a:p>
          <a:p>
            <a:pPr algn="l"/>
            <a:r>
              <a:rPr lang="nb-NO" sz="1400" dirty="0" err="1">
                <a:hlinkClick r:id="rId12"/>
              </a:rPr>
              <a:t>https</a:t>
            </a:r>
            <a:r>
              <a:rPr lang="nb-NO" sz="1400" dirty="0">
                <a:hlinkClick r:id="rId12"/>
              </a:rPr>
              <a:t>://</a:t>
            </a:r>
            <a:r>
              <a:rPr lang="nb-NO" sz="1400" dirty="0" err="1">
                <a:hlinkClick r:id="rId12"/>
              </a:rPr>
              <a:t>grafana.com</a:t>
            </a:r>
            <a:r>
              <a:rPr lang="nb-NO" sz="1400" dirty="0">
                <a:hlinkClick r:id="rId12"/>
              </a:rPr>
              <a:t>/</a:t>
            </a:r>
            <a:r>
              <a:rPr lang="nb-NO" sz="1400" dirty="0" err="1">
                <a:hlinkClick r:id="rId12"/>
              </a:rPr>
              <a:t>grafana</a:t>
            </a:r>
            <a:r>
              <a:rPr lang="nb-NO" sz="1400" dirty="0">
                <a:hlinkClick r:id="rId12"/>
              </a:rPr>
              <a:t>/</a:t>
            </a:r>
            <a:r>
              <a:rPr lang="nb-NO" sz="1400" dirty="0" err="1">
                <a:hlinkClick r:id="rId12"/>
              </a:rPr>
              <a:t>dashboards</a:t>
            </a:r>
            <a:r>
              <a:rPr lang="nb-NO" sz="1400" dirty="0">
                <a:hlinkClick r:id="rId12"/>
              </a:rPr>
              <a:t>/12468-</a:t>
            </a:r>
            <a:r>
              <a:rPr lang="nb-NO" sz="1400" dirty="0" err="1">
                <a:hlinkClick r:id="rId12"/>
              </a:rPr>
              <a:t>catalyst</a:t>
            </a:r>
            <a:r>
              <a:rPr lang="nb-NO" sz="1400" dirty="0">
                <a:hlinkClick r:id="rId12"/>
              </a:rPr>
              <a:t>-9800-</a:t>
            </a:r>
            <a:r>
              <a:rPr lang="nb-NO" sz="1400" dirty="0" err="1">
                <a:hlinkClick r:id="rId12"/>
              </a:rPr>
              <a:t>client</a:t>
            </a:r>
            <a:r>
              <a:rPr lang="nb-NO" sz="1400" dirty="0">
                <a:hlinkClick r:id="rId12"/>
              </a:rPr>
              <a:t>-stats/</a:t>
            </a:r>
            <a:endParaRPr lang="nb-NO" sz="1400" dirty="0"/>
          </a:p>
          <a:p>
            <a:pPr algn="l"/>
            <a:r>
              <a:rPr lang="en-US" sz="1400" dirty="0">
                <a:hlinkClick r:id="rId13"/>
              </a:rPr>
              <a:t>https://</a:t>
            </a:r>
            <a:r>
              <a:rPr lang="en-US" sz="1400" dirty="0" err="1">
                <a:hlinkClick r:id="rId13"/>
              </a:rPr>
              <a:t>wirelessisfun.wordpress.com</a:t>
            </a:r>
            <a:r>
              <a:rPr lang="en-US" sz="1400" dirty="0">
                <a:hlinkClick r:id="rId13"/>
              </a:rPr>
              <a:t>/2020/12/10/network-telemetry-data-and-grafana-part-1-the-advanced-netconf-explorer/</a:t>
            </a:r>
            <a:endParaRPr lang="en-US" sz="1400" dirty="0"/>
          </a:p>
          <a:p>
            <a:pPr algn="l"/>
            <a:r>
              <a:rPr lang="en-US" sz="1400" dirty="0">
                <a:hlinkClick r:id="rId14"/>
              </a:rPr>
              <a:t>https://</a:t>
            </a:r>
            <a:r>
              <a:rPr lang="en-US" sz="1400" dirty="0" err="1">
                <a:hlinkClick r:id="rId14"/>
              </a:rPr>
              <a:t>python.org</a:t>
            </a:r>
            <a:endParaRPr lang="en-US" sz="1400" dirty="0"/>
          </a:p>
          <a:p>
            <a:pPr algn="l"/>
            <a:r>
              <a:rPr lang="en-US" sz="1400" dirty="0">
                <a:hlinkClick r:id="rId15"/>
              </a:rPr>
              <a:t>https://</a:t>
            </a:r>
            <a:r>
              <a:rPr lang="en-US" sz="1400" dirty="0" err="1">
                <a:hlinkClick r:id="rId15"/>
              </a:rPr>
              <a:t>codeium.com</a:t>
            </a:r>
            <a:endParaRPr lang="nb-NO" sz="1400" dirty="0"/>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dirty="0"/>
              <a:t>Automation </a:t>
            </a:r>
            <a:r>
              <a:rPr lang="nb-NO" sz="1600" dirty="0" err="1"/>
              <a:t>using</a:t>
            </a:r>
            <a:r>
              <a:rPr lang="nb-NO" sz="1600" dirty="0"/>
              <a:t> "</a:t>
            </a:r>
            <a:r>
              <a:rPr lang="nb-NO" sz="1600" dirty="0" err="1"/>
              <a:t>playbooks</a:t>
            </a:r>
            <a:r>
              <a:rPr lang="nb-NO" sz="1600" dirty="0"/>
              <a:t>" </a:t>
            </a:r>
            <a:r>
              <a:rPr lang="nb-NO" sz="1600" dirty="0" err="1"/>
              <a:t>written</a:t>
            </a:r>
            <a:r>
              <a:rPr lang="nb-NO" sz="1600" dirty="0"/>
              <a:t> in </a:t>
            </a:r>
            <a:r>
              <a:rPr lang="nb-NO" sz="1600" dirty="0" err="1"/>
              <a:t>YAML</a:t>
            </a:r>
            <a:r>
              <a:rPr lang="nb-NO" sz="1600" dirty="0"/>
              <a:t> format</a:t>
            </a:r>
          </a:p>
          <a:p>
            <a:pPr>
              <a:lnSpc>
                <a:spcPct val="110000"/>
              </a:lnSpc>
            </a:pPr>
            <a:r>
              <a:rPr lang="nb-NO" sz="1600" dirty="0"/>
              <a:t>Agent-less </a:t>
            </a:r>
            <a:r>
              <a:rPr lang="nb-NO" sz="1600" dirty="0" err="1"/>
              <a:t>architecture</a:t>
            </a:r>
            <a:endParaRPr lang="nb-NO" sz="1600" dirty="0"/>
          </a:p>
          <a:p>
            <a:pPr lvl="1">
              <a:lnSpc>
                <a:spcPct val="110000"/>
              </a:lnSpc>
            </a:pPr>
            <a:r>
              <a:rPr lang="nb-NO" sz="1400" dirty="0"/>
              <a:t>No </a:t>
            </a:r>
            <a:r>
              <a:rPr lang="nb-NO" sz="1400" dirty="0" err="1"/>
              <a:t>installation</a:t>
            </a:r>
            <a:r>
              <a:rPr lang="nb-NO" sz="1400" dirty="0"/>
              <a:t> </a:t>
            </a:r>
            <a:r>
              <a:rPr lang="nb-NO" sz="1400" dirty="0" err="1"/>
              <a:t>on</a:t>
            </a:r>
            <a:r>
              <a:rPr lang="nb-NO" sz="1400" dirty="0"/>
              <a:t> </a:t>
            </a:r>
            <a:r>
              <a:rPr lang="nb-NO" sz="1400" dirty="0" err="1"/>
              <a:t>the</a:t>
            </a:r>
            <a:r>
              <a:rPr lang="nb-NO" sz="1400" dirty="0"/>
              <a:t> </a:t>
            </a:r>
            <a:r>
              <a:rPr lang="nb-NO" sz="1400" dirty="0" err="1"/>
              <a:t>managed</a:t>
            </a:r>
            <a:r>
              <a:rPr lang="nb-NO" sz="1400" dirty="0"/>
              <a:t> nodes</a:t>
            </a:r>
          </a:p>
          <a:p>
            <a:pPr>
              <a:lnSpc>
                <a:spcPct val="110000"/>
              </a:lnSpc>
            </a:pPr>
            <a:r>
              <a:rPr lang="nb-NO" sz="1600" dirty="0" err="1"/>
              <a:t>Idempotency</a:t>
            </a:r>
            <a:endParaRPr lang="nb-NO" sz="1600" dirty="0"/>
          </a:p>
          <a:p>
            <a:pPr lvl="1">
              <a:lnSpc>
                <a:spcPct val="110000"/>
              </a:lnSpc>
            </a:pPr>
            <a:r>
              <a:rPr lang="nb-NO" sz="1400" dirty="0" err="1"/>
              <a:t>Does</a:t>
            </a:r>
            <a:r>
              <a:rPr lang="nb-NO" sz="1400" dirty="0"/>
              <a:t> not </a:t>
            </a:r>
            <a:r>
              <a:rPr lang="nb-NO" sz="1400" dirty="0" err="1"/>
              <a:t>change</a:t>
            </a:r>
            <a:r>
              <a:rPr lang="nb-NO" sz="1400" dirty="0"/>
              <a:t>/</a:t>
            </a:r>
            <a:r>
              <a:rPr lang="nb-NO" sz="1400" dirty="0" err="1"/>
              <a:t>write</a:t>
            </a:r>
            <a:r>
              <a:rPr lang="nb-NO" sz="1400" dirty="0"/>
              <a:t> </a:t>
            </a:r>
            <a:r>
              <a:rPr lang="nb-NO" sz="1400" dirty="0" err="1"/>
              <a:t>if</a:t>
            </a:r>
            <a:r>
              <a:rPr lang="nb-NO" sz="1400" dirty="0"/>
              <a:t> target is </a:t>
            </a:r>
            <a:r>
              <a:rPr lang="nb-NO" sz="1400" dirty="0" err="1"/>
              <a:t>already</a:t>
            </a:r>
            <a:r>
              <a:rPr lang="nb-NO" sz="1400" dirty="0"/>
              <a:t> in </a:t>
            </a:r>
            <a:r>
              <a:rPr lang="nb-NO" sz="1400" dirty="0" err="1"/>
              <a:t>state</a:t>
            </a:r>
            <a:r>
              <a:rPr lang="nb-NO" sz="1400" dirty="0"/>
              <a:t> </a:t>
            </a:r>
            <a:r>
              <a:rPr lang="nb-NO" sz="1400" dirty="0" err="1"/>
              <a:t>described</a:t>
            </a:r>
            <a:r>
              <a:rPr lang="nb-NO" sz="1400" dirty="0"/>
              <a:t> by </a:t>
            </a:r>
            <a:r>
              <a:rPr lang="nb-NO" sz="1400" dirty="0" err="1"/>
              <a:t>playbook</a:t>
            </a:r>
            <a:endParaRPr lang="nb-NO" sz="1400" dirty="0"/>
          </a:p>
          <a:p>
            <a:pPr lvl="1">
              <a:lnSpc>
                <a:spcPct val="110000"/>
              </a:lnSpc>
            </a:pPr>
            <a:endParaRPr lang="nb-NO" sz="1400" dirty="0"/>
          </a:p>
          <a:p>
            <a:pPr>
              <a:lnSpc>
                <a:spcPct val="110000"/>
              </a:lnSpc>
            </a:pPr>
            <a:r>
              <a:rPr lang="nb-NO" sz="1600" dirty="0"/>
              <a:t>Control node</a:t>
            </a:r>
          </a:p>
          <a:p>
            <a:pPr lvl="1">
              <a:lnSpc>
                <a:spcPct val="110000"/>
              </a:lnSpc>
            </a:pPr>
            <a:r>
              <a:rPr lang="nb-NO" sz="1400" dirty="0"/>
              <a:t>System </a:t>
            </a:r>
            <a:r>
              <a:rPr lang="nb-NO" sz="1400" dirty="0" err="1"/>
              <a:t>where</a:t>
            </a:r>
            <a:r>
              <a:rPr lang="nb-NO" sz="1400" dirty="0"/>
              <a:t> </a:t>
            </a:r>
            <a:r>
              <a:rPr lang="nb-NO" sz="1400" dirty="0" err="1"/>
              <a:t>Ansible</a:t>
            </a:r>
            <a:r>
              <a:rPr lang="nb-NO" sz="1400" dirty="0"/>
              <a:t> is </a:t>
            </a:r>
            <a:r>
              <a:rPr lang="nb-NO" sz="1400" dirty="0" err="1"/>
              <a:t>installed</a:t>
            </a:r>
            <a:r>
              <a:rPr lang="nb-NO" sz="1400" dirty="0"/>
              <a:t> and runs </a:t>
            </a:r>
            <a:r>
              <a:rPr lang="nb-NO" sz="1400" dirty="0" err="1"/>
              <a:t>the</a:t>
            </a:r>
            <a:r>
              <a:rPr lang="nb-NO" sz="1400" dirty="0"/>
              <a:t> </a:t>
            </a:r>
            <a:r>
              <a:rPr lang="nb-NO" sz="1400" dirty="0" err="1"/>
              <a:t>playbooks</a:t>
            </a:r>
            <a:endParaRPr lang="nb-NO" sz="1400" dirty="0"/>
          </a:p>
          <a:p>
            <a:pPr>
              <a:lnSpc>
                <a:spcPct val="110000"/>
              </a:lnSpc>
            </a:pPr>
            <a:r>
              <a:rPr lang="nb-NO" sz="1600" dirty="0"/>
              <a:t>Inventory</a:t>
            </a:r>
          </a:p>
          <a:p>
            <a:pPr lvl="1">
              <a:lnSpc>
                <a:spcPct val="110000"/>
              </a:lnSpc>
            </a:pPr>
            <a:r>
              <a:rPr lang="nb-NO" sz="1400" dirty="0"/>
              <a:t>List </a:t>
            </a:r>
            <a:r>
              <a:rPr lang="nb-NO" sz="1400" dirty="0" err="1"/>
              <a:t>of</a:t>
            </a:r>
            <a:r>
              <a:rPr lang="nb-NO" sz="1400" dirty="0"/>
              <a:t> </a:t>
            </a:r>
            <a:r>
              <a:rPr lang="nb-NO" sz="1400" dirty="0" err="1"/>
              <a:t>managed</a:t>
            </a:r>
            <a:r>
              <a:rPr lang="nb-NO" sz="1400" dirty="0"/>
              <a:t> nodes </a:t>
            </a:r>
            <a:r>
              <a:rPr lang="nb-NO" sz="1400" dirty="0" err="1"/>
              <a:t>where</a:t>
            </a:r>
            <a:r>
              <a:rPr lang="nb-NO" sz="1400" dirty="0"/>
              <a:t> </a:t>
            </a:r>
            <a:r>
              <a:rPr lang="nb-NO" sz="1400" dirty="0" err="1"/>
              <a:t>the</a:t>
            </a:r>
            <a:r>
              <a:rPr lang="nb-NO" sz="1400" dirty="0"/>
              <a:t> </a:t>
            </a:r>
            <a:r>
              <a:rPr lang="nb-NO" sz="1400" dirty="0" err="1"/>
              <a:t>playbook</a:t>
            </a:r>
            <a:r>
              <a:rPr lang="nb-NO" sz="1400" dirty="0"/>
              <a:t> </a:t>
            </a:r>
            <a:r>
              <a:rPr lang="nb-NO" sz="1400" dirty="0" err="1"/>
              <a:t>will</a:t>
            </a:r>
            <a:r>
              <a:rPr lang="nb-NO" sz="1400" dirty="0"/>
              <a:t> </a:t>
            </a:r>
            <a:r>
              <a:rPr lang="nb-NO" sz="1400" dirty="0" err="1"/>
              <a:t>affect</a:t>
            </a:r>
            <a:endParaRPr lang="nb-NO" sz="1400" dirty="0"/>
          </a:p>
          <a:p>
            <a:pPr>
              <a:lnSpc>
                <a:spcPct val="110000"/>
              </a:lnSpc>
            </a:pPr>
            <a:r>
              <a:rPr lang="nb-NO" sz="1600" dirty="0" err="1"/>
              <a:t>Managed</a:t>
            </a:r>
            <a:r>
              <a:rPr lang="nb-NO" sz="1600" dirty="0"/>
              <a:t> nodes</a:t>
            </a:r>
          </a:p>
          <a:p>
            <a:pPr lvl="1">
              <a:lnSpc>
                <a:spcPct val="110000"/>
              </a:lnSpc>
            </a:pPr>
            <a:r>
              <a:rPr lang="nb-NO" sz="1400" dirty="0"/>
              <a:t>Remote systems </a:t>
            </a:r>
            <a:r>
              <a:rPr lang="nb-NO" sz="1400" dirty="0" err="1"/>
              <a:t>that</a:t>
            </a:r>
            <a:r>
              <a:rPr lang="nb-NO" sz="1400" dirty="0"/>
              <a:t> </a:t>
            </a:r>
            <a:r>
              <a:rPr lang="nb-NO" sz="1400" dirty="0" err="1"/>
              <a:t>are</a:t>
            </a:r>
            <a:r>
              <a:rPr lang="nb-NO" sz="1400" dirty="0"/>
              <a:t> </a:t>
            </a:r>
            <a:r>
              <a:rPr lang="nb-NO" sz="1400" dirty="0" err="1"/>
              <a:t>the</a:t>
            </a:r>
            <a:r>
              <a:rPr lang="nb-NO" sz="1400" dirty="0"/>
              <a:t> targets </a:t>
            </a:r>
            <a:r>
              <a:rPr lang="nb-NO" sz="1400" dirty="0" err="1"/>
              <a:t>of</a:t>
            </a:r>
            <a:r>
              <a:rPr lang="nb-NO" sz="1400" dirty="0"/>
              <a:t> </a:t>
            </a:r>
            <a:r>
              <a:rPr lang="nb-NO" sz="1400" dirty="0" err="1"/>
              <a:t>your</a:t>
            </a:r>
            <a:r>
              <a:rPr lang="nb-NO" sz="1400" dirty="0"/>
              <a:t> </a:t>
            </a:r>
            <a:r>
              <a:rPr lang="nb-NO" sz="1400" dirty="0" err="1"/>
              <a:t>playbooks</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nsible</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nsible</a:t>
            </a:r>
          </a:p>
        </p:txBody>
      </p:sp>
      <p:pic>
        <p:nvPicPr>
          <p:cNvPr id="5" name="Picture 4">
            <a:extLst>
              <a:ext uri="{FF2B5EF4-FFF2-40B4-BE49-F238E27FC236}">
                <a16:creationId xmlns:a16="http://schemas.microsoft.com/office/drawing/2014/main" id="{82DD04DF-520F-28F7-2148-51D7BB4981B2}"/>
              </a:ext>
            </a:extLst>
          </p:cNvPr>
          <p:cNvPicPr>
            <a:picLocks noChangeAspect="1"/>
          </p:cNvPicPr>
          <p:nvPr/>
        </p:nvPicPr>
        <p:blipFill>
          <a:blip r:embed="rId3"/>
          <a:stretch>
            <a:fillRect/>
          </a:stretch>
        </p:blipFill>
        <p:spPr>
          <a:xfrm>
            <a:off x="8401050" y="362149"/>
            <a:ext cx="3754063" cy="3352167"/>
          </a:xfrm>
          <a:prstGeom prst="rect">
            <a:avLst/>
          </a:prstGeom>
        </p:spPr>
      </p:pic>
    </p:spTree>
    <p:extLst>
      <p:ext uri="{BB962C8B-B14F-4D97-AF65-F5344CB8AC3E}">
        <p14:creationId xmlns:p14="http://schemas.microsoft.com/office/powerpoint/2010/main" val="33852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dirty="0"/>
              <a:t>Students </a:t>
            </a:r>
            <a:r>
              <a:rPr lang="nb-NO" sz="1600" dirty="0" err="1"/>
              <a:t>get</a:t>
            </a:r>
            <a:r>
              <a:rPr lang="nb-NO" sz="1600" dirty="0"/>
              <a:t> pod </a:t>
            </a:r>
            <a:r>
              <a:rPr lang="nb-NO" sz="1600" dirty="0" err="1"/>
              <a:t>numbers</a:t>
            </a:r>
            <a:r>
              <a:rPr lang="nb-NO" sz="1600"/>
              <a:t> ranging from 11 and up</a:t>
            </a:r>
            <a:endParaRPr lang="nb-NO" sz="1400" dirty="0"/>
          </a:p>
          <a:p>
            <a:pPr>
              <a:lnSpc>
                <a:spcPct val="110000"/>
              </a:lnSpc>
            </a:pPr>
            <a:r>
              <a:rPr lang="nb-NO" sz="1400"/>
              <a:t>Your WLC will have last octed equal to your assigned Pod#. Ubuntu will have Pod# +20</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od numbers</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nsible</a:t>
            </a:r>
          </a:p>
        </p:txBody>
      </p:sp>
      <p:graphicFrame>
        <p:nvGraphicFramePr>
          <p:cNvPr id="4" name="Table 3">
            <a:extLst>
              <a:ext uri="{FF2B5EF4-FFF2-40B4-BE49-F238E27FC236}">
                <a16:creationId xmlns:a16="http://schemas.microsoft.com/office/drawing/2014/main" id="{E773EFB9-1255-A285-694E-D49A8D5C3ACF}"/>
              </a:ext>
            </a:extLst>
          </p:cNvPr>
          <p:cNvGraphicFramePr>
            <a:graphicFrameLocks noGrp="1"/>
          </p:cNvGraphicFramePr>
          <p:nvPr>
            <p:extLst>
              <p:ext uri="{D42A27DB-BD31-4B8C-83A1-F6EECF244321}">
                <p14:modId xmlns:p14="http://schemas.microsoft.com/office/powerpoint/2010/main" val="2784601683"/>
              </p:ext>
            </p:extLst>
          </p:nvPr>
        </p:nvGraphicFramePr>
        <p:xfrm>
          <a:off x="720000" y="1823591"/>
          <a:ext cx="3870325" cy="4062409"/>
        </p:xfrm>
        <a:graphic>
          <a:graphicData uri="http://schemas.openxmlformats.org/drawingml/2006/table">
            <a:tbl>
              <a:tblPr firstRow="1" firstCol="1" bandRow="1">
                <a:tableStyleId>{5C22544A-7EE6-4342-B048-85BDC9FD1C3A}</a:tableStyleId>
              </a:tblPr>
              <a:tblGrid>
                <a:gridCol w="517525">
                  <a:extLst>
                    <a:ext uri="{9D8B030D-6E8A-4147-A177-3AD203B41FA5}">
                      <a16:colId xmlns:a16="http://schemas.microsoft.com/office/drawing/2014/main" val="2822892389"/>
                    </a:ext>
                  </a:extLst>
                </a:gridCol>
                <a:gridCol w="1289050">
                  <a:extLst>
                    <a:ext uri="{9D8B030D-6E8A-4147-A177-3AD203B41FA5}">
                      <a16:colId xmlns:a16="http://schemas.microsoft.com/office/drawing/2014/main" val="1285954305"/>
                    </a:ext>
                  </a:extLst>
                </a:gridCol>
                <a:gridCol w="1289050">
                  <a:extLst>
                    <a:ext uri="{9D8B030D-6E8A-4147-A177-3AD203B41FA5}">
                      <a16:colId xmlns:a16="http://schemas.microsoft.com/office/drawing/2014/main" val="563619586"/>
                    </a:ext>
                  </a:extLst>
                </a:gridCol>
                <a:gridCol w="774700">
                  <a:extLst>
                    <a:ext uri="{9D8B030D-6E8A-4147-A177-3AD203B41FA5}">
                      <a16:colId xmlns:a16="http://schemas.microsoft.com/office/drawing/2014/main" val="3977250043"/>
                    </a:ext>
                  </a:extLst>
                </a:gridCol>
              </a:tblGrid>
              <a:tr h="213811">
                <a:tc>
                  <a:txBody>
                    <a:bodyPr/>
                    <a:lstStyle/>
                    <a:p>
                      <a:r>
                        <a:rPr lang="nb-NO" sz="1100" b="1">
                          <a:solidFill>
                            <a:sysClr val="windowText" lastClr="000000"/>
                          </a:solidFill>
                          <a:effectLst/>
                          <a:latin typeface="Intel One Mono" panose="020B0509020203020204" pitchFamily="49" charset="0"/>
                        </a:rPr>
                        <a:t>Pod#</a:t>
                      </a:r>
                      <a:endParaRPr lang="nb-NO" sz="1100" b="1">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b="1">
                          <a:solidFill>
                            <a:sysClr val="windowText" lastClr="000000"/>
                          </a:solidFill>
                          <a:effectLst/>
                          <a:latin typeface="Intel One Mono" panose="020B0509020203020204" pitchFamily="49" charset="0"/>
                        </a:rPr>
                        <a:t>WLC IP</a:t>
                      </a:r>
                      <a:endParaRPr lang="nb-NO" sz="1100" b="1">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b="1">
                          <a:solidFill>
                            <a:sysClr val="windowText" lastClr="000000"/>
                          </a:solidFill>
                          <a:effectLst/>
                          <a:latin typeface="Intel One Mono" panose="020B0509020203020204" pitchFamily="49" charset="0"/>
                        </a:rPr>
                        <a:t>Ubuntu IP</a:t>
                      </a:r>
                      <a:endParaRPr lang="nb-NO" sz="1100" b="1">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b="1">
                          <a:solidFill>
                            <a:sysClr val="windowText" lastClr="000000"/>
                          </a:solidFill>
                          <a:effectLst/>
                          <a:latin typeface="Intel One Mono" panose="020B0509020203020204" pitchFamily="49" charset="0"/>
                        </a:rPr>
                        <a:t>Name</a:t>
                      </a:r>
                      <a:endParaRPr lang="nb-NO" sz="1100" b="1">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1412470058"/>
                  </a:ext>
                </a:extLst>
              </a:tr>
              <a:tr h="213811">
                <a:tc>
                  <a:txBody>
                    <a:bodyPr/>
                    <a:lstStyle/>
                    <a:p>
                      <a:r>
                        <a:rPr lang="nb-NO" sz="1100">
                          <a:solidFill>
                            <a:sysClr val="windowText" lastClr="000000"/>
                          </a:solidFill>
                          <a:effectLst/>
                          <a:latin typeface="Intel One Mono" panose="020B0509020203020204" pitchFamily="49" charset="0"/>
                        </a:rPr>
                        <a:t>11</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11</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31</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Tauni</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3531386935"/>
                  </a:ext>
                </a:extLst>
              </a:tr>
              <a:tr h="213811">
                <a:tc>
                  <a:txBody>
                    <a:bodyPr/>
                    <a:lstStyle/>
                    <a:p>
                      <a:r>
                        <a:rPr lang="nb-NO" sz="1100">
                          <a:solidFill>
                            <a:sysClr val="windowText" lastClr="000000"/>
                          </a:solidFill>
                          <a:effectLst/>
                          <a:latin typeface="Intel One Mono" panose="020B0509020203020204" pitchFamily="49" charset="0"/>
                        </a:rPr>
                        <a:t>12</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12</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32</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Samuel</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900073852"/>
                  </a:ext>
                </a:extLst>
              </a:tr>
              <a:tr h="213811">
                <a:tc>
                  <a:txBody>
                    <a:bodyPr/>
                    <a:lstStyle/>
                    <a:p>
                      <a:r>
                        <a:rPr lang="nb-NO" sz="1100">
                          <a:solidFill>
                            <a:sysClr val="windowText" lastClr="000000"/>
                          </a:solidFill>
                          <a:effectLst/>
                          <a:latin typeface="Intel One Mono" panose="020B0509020203020204" pitchFamily="49" charset="0"/>
                        </a:rPr>
                        <a:t>13</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13</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33</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Payman</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3380830979"/>
                  </a:ext>
                </a:extLst>
              </a:tr>
              <a:tr h="213811">
                <a:tc>
                  <a:txBody>
                    <a:bodyPr/>
                    <a:lstStyle/>
                    <a:p>
                      <a:r>
                        <a:rPr lang="nb-NO" sz="1100">
                          <a:solidFill>
                            <a:sysClr val="windowText" lastClr="000000"/>
                          </a:solidFill>
                          <a:effectLst/>
                          <a:latin typeface="Intel One Mono" panose="020B0509020203020204" pitchFamily="49" charset="0"/>
                        </a:rPr>
                        <a:t>14</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14</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34</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Hans</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4069697797"/>
                  </a:ext>
                </a:extLst>
              </a:tr>
              <a:tr h="213811">
                <a:tc>
                  <a:txBody>
                    <a:bodyPr/>
                    <a:lstStyle/>
                    <a:p>
                      <a:r>
                        <a:rPr lang="nb-NO" sz="1100">
                          <a:solidFill>
                            <a:sysClr val="windowText" lastClr="000000"/>
                          </a:solidFill>
                          <a:effectLst/>
                          <a:latin typeface="Intel One Mono" panose="020B0509020203020204" pitchFamily="49" charset="0"/>
                        </a:rPr>
                        <a:t>15</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15</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35</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Michal</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2184990922"/>
                  </a:ext>
                </a:extLst>
              </a:tr>
              <a:tr h="213811">
                <a:tc>
                  <a:txBody>
                    <a:bodyPr/>
                    <a:lstStyle/>
                    <a:p>
                      <a:r>
                        <a:rPr lang="nb-NO" sz="1100">
                          <a:solidFill>
                            <a:sysClr val="windowText" lastClr="000000"/>
                          </a:solidFill>
                          <a:effectLst/>
                          <a:latin typeface="Intel One Mono" panose="020B0509020203020204" pitchFamily="49" charset="0"/>
                        </a:rPr>
                        <a:t>16</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16</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36</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Stephen</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3236062111"/>
                  </a:ext>
                </a:extLst>
              </a:tr>
              <a:tr h="213811">
                <a:tc>
                  <a:txBody>
                    <a:bodyPr/>
                    <a:lstStyle/>
                    <a:p>
                      <a:r>
                        <a:rPr lang="nb-NO" sz="1100">
                          <a:solidFill>
                            <a:sysClr val="windowText" lastClr="000000"/>
                          </a:solidFill>
                          <a:effectLst/>
                          <a:latin typeface="Intel One Mono" panose="020B0509020203020204" pitchFamily="49" charset="0"/>
                        </a:rPr>
                        <a:t>17</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17</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37</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Sigurd</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1028223707"/>
                  </a:ext>
                </a:extLst>
              </a:tr>
              <a:tr h="213811">
                <a:tc>
                  <a:txBody>
                    <a:bodyPr/>
                    <a:lstStyle/>
                    <a:p>
                      <a:r>
                        <a:rPr lang="nb-NO" sz="1100">
                          <a:solidFill>
                            <a:sysClr val="windowText" lastClr="000000"/>
                          </a:solidFill>
                          <a:effectLst/>
                          <a:latin typeface="Intel One Mono" panose="020B0509020203020204" pitchFamily="49" charset="0"/>
                        </a:rPr>
                        <a:t>18</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18</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38</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Konrad</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2483432060"/>
                  </a:ext>
                </a:extLst>
              </a:tr>
              <a:tr h="213811">
                <a:tc>
                  <a:txBody>
                    <a:bodyPr/>
                    <a:lstStyle/>
                    <a:p>
                      <a:r>
                        <a:rPr lang="nb-NO" sz="1100">
                          <a:solidFill>
                            <a:sysClr val="windowText" lastClr="000000"/>
                          </a:solidFill>
                          <a:effectLst/>
                          <a:latin typeface="Intel One Mono" panose="020B0509020203020204" pitchFamily="49" charset="0"/>
                        </a:rPr>
                        <a:t>19</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19</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39</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Ed</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4179744371"/>
                  </a:ext>
                </a:extLst>
              </a:tr>
              <a:tr h="213811">
                <a:tc>
                  <a:txBody>
                    <a:bodyPr/>
                    <a:lstStyle/>
                    <a:p>
                      <a:r>
                        <a:rPr lang="nb-NO" sz="1100">
                          <a:solidFill>
                            <a:sysClr val="windowText" lastClr="000000"/>
                          </a:solidFill>
                          <a:effectLst/>
                          <a:latin typeface="Intel One Mono" panose="020B0509020203020204" pitchFamily="49" charset="0"/>
                        </a:rPr>
                        <a:t>20</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20</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40</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Yifan</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2582651443"/>
                  </a:ext>
                </a:extLst>
              </a:tr>
              <a:tr h="213811">
                <a:tc>
                  <a:txBody>
                    <a:bodyPr/>
                    <a:lstStyle/>
                    <a:p>
                      <a:r>
                        <a:rPr lang="nb-NO" sz="1100">
                          <a:solidFill>
                            <a:sysClr val="windowText" lastClr="000000"/>
                          </a:solidFill>
                          <a:effectLst/>
                          <a:latin typeface="Intel One Mono" panose="020B0509020203020204" pitchFamily="49" charset="0"/>
                        </a:rPr>
                        <a:t>21</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21</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41</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Nick</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994497869"/>
                  </a:ext>
                </a:extLst>
              </a:tr>
              <a:tr h="213811">
                <a:tc>
                  <a:txBody>
                    <a:bodyPr/>
                    <a:lstStyle/>
                    <a:p>
                      <a:r>
                        <a:rPr lang="nb-NO" sz="1100">
                          <a:solidFill>
                            <a:sysClr val="windowText" lastClr="000000"/>
                          </a:solidFill>
                          <a:effectLst/>
                          <a:latin typeface="Intel One Mono" panose="020B0509020203020204" pitchFamily="49" charset="0"/>
                        </a:rPr>
                        <a:t>22</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22</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42</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Marek</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1162998298"/>
                  </a:ext>
                </a:extLst>
              </a:tr>
              <a:tr h="213811">
                <a:tc>
                  <a:txBody>
                    <a:bodyPr/>
                    <a:lstStyle/>
                    <a:p>
                      <a:r>
                        <a:rPr lang="nb-NO" sz="1100">
                          <a:solidFill>
                            <a:sysClr val="windowText" lastClr="000000"/>
                          </a:solidFill>
                          <a:effectLst/>
                          <a:latin typeface="Intel One Mono" panose="020B0509020203020204" pitchFamily="49" charset="0"/>
                        </a:rPr>
                        <a:t>23</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23</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43</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Martin</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3208679107"/>
                  </a:ext>
                </a:extLst>
              </a:tr>
              <a:tr h="213811">
                <a:tc>
                  <a:txBody>
                    <a:bodyPr/>
                    <a:lstStyle/>
                    <a:p>
                      <a:r>
                        <a:rPr lang="nb-NO" sz="1100">
                          <a:solidFill>
                            <a:sysClr val="windowText" lastClr="000000"/>
                          </a:solidFill>
                          <a:effectLst/>
                          <a:latin typeface="Intel One Mono" panose="020B0509020203020204" pitchFamily="49" charset="0"/>
                        </a:rPr>
                        <a:t>24</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24</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44</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Igor</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828961272"/>
                  </a:ext>
                </a:extLst>
              </a:tr>
              <a:tr h="213811">
                <a:tc>
                  <a:txBody>
                    <a:bodyPr/>
                    <a:lstStyle/>
                    <a:p>
                      <a:r>
                        <a:rPr lang="nb-NO" sz="1100">
                          <a:solidFill>
                            <a:sysClr val="windowText" lastClr="000000"/>
                          </a:solidFill>
                          <a:effectLst/>
                          <a:latin typeface="Intel One Mono" panose="020B0509020203020204" pitchFamily="49" charset="0"/>
                        </a:rPr>
                        <a:t>25</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25</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45</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Piotr</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extLst>
                  <a:ext uri="{0D108BD9-81ED-4DB2-BD59-A6C34878D82A}">
                    <a16:rowId xmlns:a16="http://schemas.microsoft.com/office/drawing/2014/main" val="4228040423"/>
                  </a:ext>
                </a:extLst>
              </a:tr>
              <a:tr h="213811">
                <a:tc>
                  <a:txBody>
                    <a:bodyPr/>
                    <a:lstStyle/>
                    <a:p>
                      <a:r>
                        <a:rPr lang="nb-NO" sz="1100">
                          <a:solidFill>
                            <a:sysClr val="windowText" lastClr="000000"/>
                          </a:solidFill>
                          <a:effectLst/>
                          <a:latin typeface="Intel One Mono" panose="020B0509020203020204" pitchFamily="49" charset="0"/>
                        </a:rPr>
                        <a:t>26</a:t>
                      </a:r>
                      <a:endPar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26</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192.168.10.46</a:t>
                      </a:r>
                      <a:endParaRPr lang="nb-NO" sz="1100">
                        <a:effectLst/>
                        <a:latin typeface="Intel One Mono" panose="020B0509020203020204" pitchFamily="49" charset="0"/>
                        <a:ea typeface="Aptos" panose="020B0004020202020204" pitchFamily="34" charset="0"/>
                        <a:cs typeface="Aptos" panose="020B0004020202020204" pitchFamily="34" charset="0"/>
                      </a:endParaRPr>
                    </a:p>
                  </a:txBody>
                  <a:tcPr marL="44450" marR="44450" marT="0" marB="0" anchor="b"/>
                </a:tc>
                <a:tc>
                  <a:txBody>
                    <a:bodyPr/>
                    <a:lstStyle/>
                    <a:p>
                      <a:r>
                        <a:rPr lang="nb-NO" sz="1100">
                          <a:effectLst/>
                          <a:latin typeface="Intel One Mono" panose="020B0509020203020204" pitchFamily="49" charset="0"/>
                        </a:rPr>
                        <a:t>Tór</a:t>
                      </a:r>
                    </a:p>
                  </a:txBody>
                  <a:tcPr marL="44450" marR="44450" marT="0" marB="0" anchor="b"/>
                </a:tc>
                <a:extLst>
                  <a:ext uri="{0D108BD9-81ED-4DB2-BD59-A6C34878D82A}">
                    <a16:rowId xmlns:a16="http://schemas.microsoft.com/office/drawing/2014/main" val="1870952165"/>
                  </a:ext>
                </a:extLst>
              </a:tr>
              <a:tr h="213811">
                <a:tc>
                  <a:txBody>
                    <a:bodyPr/>
                    <a:lstStyle/>
                    <a:p>
                      <a:r>
                        <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rPr>
                        <a:t>29</a:t>
                      </a:r>
                    </a:p>
                  </a:txBody>
                  <a:tcPr marL="44450" marR="44450" marT="0" marB="0" anchor="b"/>
                </a:tc>
                <a:tc>
                  <a:txBody>
                    <a:bodyPr/>
                    <a:lstStyle/>
                    <a:p>
                      <a:r>
                        <a:rPr lang="nb-NO" sz="1100">
                          <a:effectLst/>
                          <a:latin typeface="Intel One Mono" panose="020B0509020203020204" pitchFamily="49" charset="0"/>
                          <a:ea typeface="Aptos" panose="020B0004020202020204" pitchFamily="34" charset="0"/>
                          <a:cs typeface="Aptos" panose="020B0004020202020204" pitchFamily="34" charset="0"/>
                        </a:rPr>
                        <a:t>192.168.10.29</a:t>
                      </a:r>
                    </a:p>
                  </a:txBody>
                  <a:tcPr marL="44450" marR="44450" marT="0" marB="0" anchor="b"/>
                </a:tc>
                <a:tc>
                  <a:txBody>
                    <a:bodyPr/>
                    <a:lstStyle/>
                    <a:p>
                      <a:r>
                        <a:rPr lang="nb-NO" sz="1100">
                          <a:effectLst/>
                          <a:latin typeface="Intel One Mono" panose="020B0509020203020204" pitchFamily="49" charset="0"/>
                          <a:ea typeface="Aptos" panose="020B0004020202020204" pitchFamily="34" charset="0"/>
                          <a:cs typeface="Aptos" panose="020B0004020202020204" pitchFamily="34" charset="0"/>
                        </a:rPr>
                        <a:t>192.168.10.49</a:t>
                      </a:r>
                    </a:p>
                  </a:txBody>
                  <a:tcPr marL="44450" marR="44450" marT="0" marB="0" anchor="b"/>
                </a:tc>
                <a:tc>
                  <a:txBody>
                    <a:bodyPr/>
                    <a:lstStyle/>
                    <a:p>
                      <a:r>
                        <a:rPr lang="nb-NO" sz="1100">
                          <a:effectLst/>
                          <a:latin typeface="Intel One Mono" panose="020B0509020203020204" pitchFamily="49" charset="0"/>
                        </a:rPr>
                        <a:t>Kjetil</a:t>
                      </a:r>
                    </a:p>
                  </a:txBody>
                  <a:tcPr marL="44450" marR="44450" marT="0" marB="0" anchor="b"/>
                </a:tc>
                <a:extLst>
                  <a:ext uri="{0D108BD9-81ED-4DB2-BD59-A6C34878D82A}">
                    <a16:rowId xmlns:a16="http://schemas.microsoft.com/office/drawing/2014/main" val="4169026243"/>
                  </a:ext>
                </a:extLst>
              </a:tr>
              <a:tr h="213811">
                <a:tc>
                  <a:txBody>
                    <a:bodyPr/>
                    <a:lstStyle/>
                    <a:p>
                      <a:r>
                        <a:rPr lang="nb-NO" sz="1100">
                          <a:solidFill>
                            <a:sysClr val="windowText" lastClr="000000"/>
                          </a:solidFill>
                          <a:effectLst/>
                          <a:latin typeface="Intel One Mono" panose="020B0509020203020204" pitchFamily="49" charset="0"/>
                          <a:ea typeface="Aptos" panose="020B0004020202020204" pitchFamily="34" charset="0"/>
                          <a:cs typeface="Aptos" panose="020B0004020202020204" pitchFamily="34" charset="0"/>
                        </a:rPr>
                        <a:t>30</a:t>
                      </a:r>
                    </a:p>
                  </a:txBody>
                  <a:tcPr marL="44450" marR="44450" marT="0" marB="0" anchor="b"/>
                </a:tc>
                <a:tc>
                  <a:txBody>
                    <a:bodyPr/>
                    <a:lstStyle/>
                    <a:p>
                      <a:r>
                        <a:rPr lang="nb-NO" sz="1100">
                          <a:effectLst/>
                          <a:latin typeface="Intel One Mono" panose="020B0509020203020204" pitchFamily="49" charset="0"/>
                          <a:ea typeface="Aptos" panose="020B0004020202020204" pitchFamily="34" charset="0"/>
                          <a:cs typeface="Aptos" panose="020B0004020202020204" pitchFamily="34" charset="0"/>
                        </a:rPr>
                        <a:t>192.168.10.30</a:t>
                      </a:r>
                    </a:p>
                  </a:txBody>
                  <a:tcPr marL="44450" marR="44450" marT="0" marB="0" anchor="b"/>
                </a:tc>
                <a:tc>
                  <a:txBody>
                    <a:bodyPr/>
                    <a:lstStyle/>
                    <a:p>
                      <a:r>
                        <a:rPr lang="nb-NO" sz="1100">
                          <a:effectLst/>
                          <a:latin typeface="Intel One Mono" panose="020B0509020203020204" pitchFamily="49" charset="0"/>
                          <a:ea typeface="Aptos" panose="020B0004020202020204" pitchFamily="34" charset="0"/>
                          <a:cs typeface="Aptos" panose="020B0004020202020204" pitchFamily="34" charset="0"/>
                        </a:rPr>
                        <a:t>192.168.10.50</a:t>
                      </a:r>
                    </a:p>
                  </a:txBody>
                  <a:tcPr marL="44450" marR="44450" marT="0" marB="0" anchor="b"/>
                </a:tc>
                <a:tc>
                  <a:txBody>
                    <a:bodyPr/>
                    <a:lstStyle/>
                    <a:p>
                      <a:r>
                        <a:rPr lang="nb-NO" sz="1100">
                          <a:effectLst/>
                          <a:latin typeface="Intel One Mono" panose="020B0509020203020204" pitchFamily="49" charset="0"/>
                        </a:rPr>
                        <a:t>Andreas</a:t>
                      </a:r>
                    </a:p>
                  </a:txBody>
                  <a:tcPr marL="44450" marR="44450" marT="0" marB="0" anchor="b"/>
                </a:tc>
                <a:extLst>
                  <a:ext uri="{0D108BD9-81ED-4DB2-BD59-A6C34878D82A}">
                    <a16:rowId xmlns:a16="http://schemas.microsoft.com/office/drawing/2014/main" val="1605495446"/>
                  </a:ext>
                </a:extLst>
              </a:tr>
            </a:tbl>
          </a:graphicData>
        </a:graphic>
      </p:graphicFrame>
    </p:spTree>
    <p:extLst>
      <p:ext uri="{BB962C8B-B14F-4D97-AF65-F5344CB8AC3E}">
        <p14:creationId xmlns:p14="http://schemas.microsoft.com/office/powerpoint/2010/main" val="121475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dirty="0" err="1"/>
              <a:t>We</a:t>
            </a:r>
            <a:r>
              <a:rPr lang="nb-NO" sz="1600" dirty="0"/>
              <a:t> </a:t>
            </a:r>
            <a:r>
              <a:rPr lang="nb-NO" sz="1600" dirty="0" err="1"/>
              <a:t>really</a:t>
            </a:r>
            <a:r>
              <a:rPr lang="nb-NO" sz="1600" dirty="0"/>
              <a:t> </a:t>
            </a:r>
            <a:r>
              <a:rPr lang="nb-NO" sz="1600" dirty="0" err="1"/>
              <a:t>need</a:t>
            </a:r>
            <a:r>
              <a:rPr lang="nb-NO" sz="1600" dirty="0"/>
              <a:t> feedback to make </a:t>
            </a:r>
            <a:r>
              <a:rPr lang="nb-NO" sz="1600" dirty="0" err="1"/>
              <a:t>this</a:t>
            </a:r>
            <a:r>
              <a:rPr lang="nb-NO" sz="1600" dirty="0"/>
              <a:t> </a:t>
            </a:r>
            <a:r>
              <a:rPr lang="nb-NO" sz="1600" dirty="0" err="1"/>
              <a:t>deep</a:t>
            </a:r>
            <a:r>
              <a:rPr lang="nb-NO" sz="1600" dirty="0"/>
              <a:t> </a:t>
            </a:r>
            <a:r>
              <a:rPr lang="nb-NO" sz="1600" dirty="0" err="1"/>
              <a:t>dive</a:t>
            </a:r>
            <a:r>
              <a:rPr lang="nb-NO" sz="1600" dirty="0"/>
              <a:t> </a:t>
            </a:r>
            <a:r>
              <a:rPr lang="nb-NO" sz="1600" err="1"/>
              <a:t>better</a:t>
            </a:r>
            <a:r>
              <a:rPr lang="nb-NO" sz="1600"/>
              <a:t> </a:t>
            </a:r>
            <a:r>
              <a:rPr lang="nb-NO" sz="1600">
                <a:sym typeface="Wingdings" panose="05000000000000000000" pitchFamily="2" charset="2"/>
              </a:rPr>
              <a:t></a:t>
            </a:r>
          </a:p>
          <a:p>
            <a:pPr>
              <a:lnSpc>
                <a:spcPct val="110000"/>
              </a:lnSpc>
            </a:pPr>
            <a:r>
              <a:rPr lang="nb-NO" sz="1600">
                <a:sym typeface="Wingdings" panose="05000000000000000000" pitchFamily="2" charset="2"/>
              </a:rPr>
              <a:t>Pre-lab or anything else!</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Feedback on pre-lab </a:t>
            </a:r>
            <a:r>
              <a:rPr lang="en-GB"/>
              <a:t>tasks?</a:t>
            </a:r>
            <a:endParaRPr lang="en-GB" dirty="0"/>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nsible</a:t>
            </a:r>
          </a:p>
        </p:txBody>
      </p:sp>
    </p:spTree>
    <p:extLst>
      <p:ext uri="{BB962C8B-B14F-4D97-AF65-F5344CB8AC3E}">
        <p14:creationId xmlns:p14="http://schemas.microsoft.com/office/powerpoint/2010/main" val="244894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093994" cy="1754326"/>
          </a:xfrm>
          <a:prstGeom prst="rect">
            <a:avLst/>
          </a:prstGeom>
          <a:noFill/>
        </p:spPr>
        <p:txBody>
          <a:bodyPr wrap="square">
            <a:spAutoFit/>
          </a:bodyPr>
          <a:lstStyle/>
          <a:p>
            <a:r>
              <a:rPr lang="en-US"/>
              <a:t>© Andreas Koksrud 2024. All rights reserved. This presentation is provided for educational and informational purposes only. You may distribute and learn from this presentation, but commercial use or any form of monetization is strictly prohibited without prior written consent.</a:t>
            </a:r>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2965109"/>
          </a:xfrm>
        </p:spPr>
        <p:txBody>
          <a:bodyPr/>
          <a:lstStyle/>
          <a:p>
            <a:r>
              <a:rPr lang="nb-NO"/>
              <a:t>Cisco.com </a:t>
            </a:r>
            <a:r>
              <a:rPr lang="nb-NO" err="1"/>
              <a:t>account</a:t>
            </a:r>
            <a:r>
              <a:rPr lang="nb-NO"/>
              <a:t> </a:t>
            </a:r>
            <a:r>
              <a:rPr lang="nb-NO" err="1"/>
              <a:t>with</a:t>
            </a:r>
            <a:endParaRPr lang="nb-NO"/>
          </a:p>
          <a:p>
            <a:pPr lvl="1"/>
            <a:r>
              <a:rPr lang="nb-NO"/>
              <a:t>Access to </a:t>
            </a:r>
            <a:r>
              <a:rPr lang="nb-NO" err="1"/>
              <a:t>downloading</a:t>
            </a:r>
            <a:r>
              <a:rPr lang="nb-NO"/>
              <a:t> </a:t>
            </a:r>
            <a:r>
              <a:rPr lang="nb-NO" err="1"/>
              <a:t>WLC</a:t>
            </a:r>
            <a:r>
              <a:rPr lang="nb-NO"/>
              <a:t> (9800-CL at </a:t>
            </a:r>
            <a:r>
              <a:rPr lang="nb-NO" err="1">
                <a:hlinkClick r:id="rId3"/>
              </a:rPr>
              <a:t>https</a:t>
            </a:r>
            <a:r>
              <a:rPr lang="nb-NO">
                <a:hlinkClick r:id="rId3"/>
              </a:rPr>
              <a:t>://</a:t>
            </a:r>
            <a:r>
              <a:rPr lang="nb-NO" err="1">
                <a:hlinkClick r:id="rId3"/>
              </a:rPr>
              <a:t>software.cisco.com</a:t>
            </a:r>
            <a:r>
              <a:rPr lang="nb-NO"/>
              <a:t>)</a:t>
            </a:r>
          </a:p>
          <a:p>
            <a:pPr lvl="1"/>
            <a:r>
              <a:rPr lang="nb-NO"/>
              <a:t>Access to </a:t>
            </a:r>
            <a:r>
              <a:rPr lang="nb-NO" err="1"/>
              <a:t>DevNet</a:t>
            </a:r>
            <a:r>
              <a:rPr lang="nb-NO"/>
              <a:t> </a:t>
            </a:r>
            <a:r>
              <a:rPr lang="nb-NO" err="1"/>
              <a:t>Sandbox</a:t>
            </a:r>
            <a:r>
              <a:rPr lang="nb-NO"/>
              <a:t> (</a:t>
            </a:r>
            <a:r>
              <a:rPr lang="nb-NO" err="1">
                <a:hlinkClick r:id="rId4"/>
              </a:rPr>
              <a:t>https</a:t>
            </a:r>
            <a:r>
              <a:rPr lang="nb-NO">
                <a:hlinkClick r:id="rId4"/>
              </a:rPr>
              <a:t>://</a:t>
            </a:r>
            <a:r>
              <a:rPr lang="nb-NO" err="1">
                <a:hlinkClick r:id="rId4"/>
              </a:rPr>
              <a:t>devnetsandbox.cisco.com</a:t>
            </a:r>
            <a:r>
              <a:rPr lang="nb-NO">
                <a:hlinkClick r:id="rId4"/>
              </a:rPr>
              <a:t>/</a:t>
            </a:r>
            <a:r>
              <a:rPr lang="nb-NO"/>
              <a:t>)</a:t>
            </a:r>
          </a:p>
          <a:p>
            <a:r>
              <a:rPr lang="nb-NO"/>
              <a:t>Postman </a:t>
            </a:r>
            <a:r>
              <a:rPr lang="nb-NO" err="1"/>
              <a:t>account</a:t>
            </a:r>
            <a:r>
              <a:rPr lang="nb-NO"/>
              <a:t> (</a:t>
            </a:r>
            <a:r>
              <a:rPr lang="nb-NO" err="1">
                <a:hlinkClick r:id="rId5"/>
              </a:rPr>
              <a:t>https</a:t>
            </a:r>
            <a:r>
              <a:rPr lang="nb-NO">
                <a:hlinkClick r:id="rId5"/>
              </a:rPr>
              <a:t>://</a:t>
            </a:r>
            <a:r>
              <a:rPr lang="nb-NO" err="1">
                <a:hlinkClick r:id="rId5"/>
              </a:rPr>
              <a:t>postman.com</a:t>
            </a:r>
            <a:r>
              <a:rPr lang="nb-NO"/>
              <a:t>)</a:t>
            </a:r>
          </a:p>
          <a:p>
            <a:r>
              <a:rPr lang="nb-NO"/>
              <a:t>Windows laptop </a:t>
            </a:r>
            <a:r>
              <a:rPr lang="nb-NO" err="1"/>
              <a:t>with</a:t>
            </a:r>
            <a:r>
              <a:rPr lang="nb-NO"/>
              <a:t> administrative </a:t>
            </a:r>
            <a:r>
              <a:rPr lang="nb-NO" err="1"/>
              <a:t>privileges</a:t>
            </a:r>
            <a:endParaRPr lang="nb-NO"/>
          </a:p>
          <a:p>
            <a:endParaRPr lang="nb-NO"/>
          </a:p>
          <a:p>
            <a:r>
              <a:rPr lang="nb-NO" err="1"/>
              <a:t>Without</a:t>
            </a:r>
            <a:r>
              <a:rPr lang="nb-NO"/>
              <a:t> </a:t>
            </a:r>
            <a:r>
              <a:rPr lang="nb-NO" err="1"/>
              <a:t>these</a:t>
            </a:r>
            <a:r>
              <a:rPr lang="nb-NO"/>
              <a:t>, parts </a:t>
            </a:r>
            <a:r>
              <a:rPr lang="nb-NO" err="1"/>
              <a:t>of</a:t>
            </a:r>
            <a:r>
              <a:rPr lang="nb-NO"/>
              <a:t> </a:t>
            </a:r>
            <a:r>
              <a:rPr lang="nb-NO" err="1"/>
              <a:t>the</a:t>
            </a:r>
            <a:r>
              <a:rPr lang="nb-NO"/>
              <a:t> Deep </a:t>
            </a:r>
            <a:r>
              <a:rPr lang="nb-NO" err="1"/>
              <a:t>Dive</a:t>
            </a:r>
            <a:r>
              <a:rPr lang="nb-NO"/>
              <a:t> </a:t>
            </a:r>
            <a:r>
              <a:rPr lang="nb-NO" err="1"/>
              <a:t>might</a:t>
            </a:r>
            <a:r>
              <a:rPr lang="nb-NO"/>
              <a:t> be </a:t>
            </a:r>
            <a:r>
              <a:rPr lang="nb-NO" err="1"/>
              <a:t>difficult</a:t>
            </a:r>
            <a:r>
              <a:rPr lang="nb-NO"/>
              <a:t> to </a:t>
            </a:r>
            <a:r>
              <a:rPr lang="nb-NO" err="1"/>
              <a:t>complete</a:t>
            </a:r>
            <a:r>
              <a:rPr lang="nb-NO"/>
              <a:t>, or </a:t>
            </a:r>
            <a:r>
              <a:rPr lang="nb-NO" err="1"/>
              <a:t>steps</a:t>
            </a:r>
            <a:r>
              <a:rPr lang="nb-NO"/>
              <a:t> </a:t>
            </a:r>
            <a:r>
              <a:rPr lang="nb-NO" err="1"/>
              <a:t>might</a:t>
            </a:r>
            <a:r>
              <a:rPr lang="nb-NO"/>
              <a:t> </a:t>
            </a:r>
            <a:r>
              <a:rPr lang="nb-NO" err="1"/>
              <a:t>differ</a:t>
            </a:r>
            <a:r>
              <a:rPr lang="nb-NO"/>
              <a:t> </a:t>
            </a:r>
            <a:r>
              <a:rPr lang="nb-NO" err="1"/>
              <a:t>severely</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916536220"/>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270000"/>
            <a:ext cx="7148360" cy="675932"/>
          </a:xfrm>
        </p:spPr>
        <p:txBody>
          <a:bodyPr anchor="ctr">
            <a:normAutofit/>
          </a:bodyPr>
          <a:lstStyle/>
          <a:p>
            <a:r>
              <a:rPr lang="en-GB"/>
              <a:t>Agenda - About Day 2 choice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7</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2585929"/>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
        <p:nvSpPr>
          <p:cNvPr id="2" name="Content Placeholder 4">
            <a:extLst>
              <a:ext uri="{FF2B5EF4-FFF2-40B4-BE49-F238E27FC236}">
                <a16:creationId xmlns:a16="http://schemas.microsoft.com/office/drawing/2014/main" id="{08A20273-77FA-7EC2-AAB4-34B7901CC5F4}"/>
              </a:ext>
            </a:extLst>
          </p:cNvPr>
          <p:cNvSpPr txBox="1">
            <a:spLocks/>
          </p:cNvSpPr>
          <p:nvPr/>
        </p:nvSpPr>
        <p:spPr bwMode="gray">
          <a:xfrm>
            <a:off x="539999" y="640578"/>
            <a:ext cx="8382544" cy="1736862"/>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Clr>
                <a:srgbClr val="00B0F0"/>
              </a:buClr>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Clr>
                <a:srgbClr val="00B0F0"/>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Clr>
                <a:srgbClr val="00B0F0"/>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nb-NO" sz="1600"/>
              <a:t>Choose a track</a:t>
            </a:r>
            <a:br>
              <a:rPr lang="nb-NO"/>
            </a:br>
            <a:r>
              <a:rPr lang="nb-NO" sz="1400"/>
              <a:t>  </a:t>
            </a:r>
            <a:r>
              <a:rPr lang="nb-NO" sz="1400">
                <a:solidFill>
                  <a:srgbClr val="00B050"/>
                </a:solidFill>
              </a:rPr>
              <a:t>Horiontal</a:t>
            </a:r>
            <a:r>
              <a:rPr lang="nb-NO" sz="1400"/>
              <a:t> - A taste of everything (try to cut at 1h for each)</a:t>
            </a:r>
            <a:br>
              <a:rPr lang="nb-NO" sz="1400"/>
            </a:br>
            <a:r>
              <a:rPr lang="nb-NO" sz="1400"/>
              <a:t>  </a:t>
            </a:r>
            <a:r>
              <a:rPr lang="nb-NO" sz="1400">
                <a:solidFill>
                  <a:schemeClr val="accent6">
                    <a:lumMod val="50000"/>
                  </a:schemeClr>
                </a:solidFill>
              </a:rPr>
              <a:t>Vertical</a:t>
            </a:r>
            <a:r>
              <a:rPr lang="nb-NO" sz="1400"/>
              <a:t> - 3h deep dive into one of the topics</a:t>
            </a:r>
            <a:endParaRPr lang="nb-NO"/>
          </a:p>
        </p:txBody>
      </p:sp>
      <p:sp>
        <p:nvSpPr>
          <p:cNvPr id="5" name="Rectangle: Rounded Corners 4">
            <a:extLst>
              <a:ext uri="{FF2B5EF4-FFF2-40B4-BE49-F238E27FC236}">
                <a16:creationId xmlns:a16="http://schemas.microsoft.com/office/drawing/2014/main" id="{8BC6EA9D-EBF1-3AE4-EF97-23EAFDAA6573}"/>
              </a:ext>
            </a:extLst>
          </p:cNvPr>
          <p:cNvSpPr/>
          <p:nvPr/>
        </p:nvSpPr>
        <p:spPr>
          <a:xfrm>
            <a:off x="540000" y="3216166"/>
            <a:ext cx="11202821" cy="731520"/>
          </a:xfrm>
          <a:prstGeom prst="roundRect">
            <a:avLst/>
          </a:prstGeom>
          <a:noFill/>
          <a:ln>
            <a:solidFill>
              <a:srgbClr val="00B050"/>
            </a:solid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7" name="Rectangle: Rounded Corners 6">
            <a:extLst>
              <a:ext uri="{FF2B5EF4-FFF2-40B4-BE49-F238E27FC236}">
                <a16:creationId xmlns:a16="http://schemas.microsoft.com/office/drawing/2014/main" id="{39F29756-4C76-B25D-FB31-87156B937863}"/>
              </a:ext>
            </a:extLst>
          </p:cNvPr>
          <p:cNvSpPr/>
          <p:nvPr/>
        </p:nvSpPr>
        <p:spPr>
          <a:xfrm>
            <a:off x="8343112" y="3127878"/>
            <a:ext cx="3399709" cy="2282847"/>
          </a:xfrm>
          <a:prstGeom prst="roundRect">
            <a:avLst/>
          </a:prstGeom>
          <a:noFill/>
          <a:ln>
            <a:solidFill>
              <a:schemeClr val="accent6">
                <a:lumMod val="75000"/>
              </a:schemeClr>
            </a:solid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Tree>
    <p:extLst>
      <p:ext uri="{BB962C8B-B14F-4D97-AF65-F5344CB8AC3E}">
        <p14:creationId xmlns:p14="http://schemas.microsoft.com/office/powerpoint/2010/main" val="2703278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112423"/>
          </a:xfrm>
        </p:spPr>
        <p:txBody>
          <a:bodyPr/>
          <a:lstStyle/>
          <a:p>
            <a:r>
              <a:rPr lang="nb-NO"/>
              <a:t>In </a:t>
            </a:r>
            <a:r>
              <a:rPr lang="nb-NO" err="1"/>
              <a:t>scope</a:t>
            </a:r>
            <a:endParaRPr lang="nb-NO"/>
          </a:p>
          <a:p>
            <a:pPr lvl="1"/>
            <a:r>
              <a:rPr lang="nb-NO" err="1"/>
              <a:t>Getting</a:t>
            </a:r>
            <a:r>
              <a:rPr lang="nb-NO"/>
              <a:t> </a:t>
            </a:r>
            <a:r>
              <a:rPr lang="nb-NO" err="1"/>
              <a:t>started</a:t>
            </a:r>
            <a:r>
              <a:rPr lang="nb-NO"/>
              <a:t> </a:t>
            </a:r>
            <a:r>
              <a:rPr lang="nb-NO" err="1"/>
              <a:t>with</a:t>
            </a:r>
            <a:r>
              <a:rPr lang="nb-NO"/>
              <a:t> </a:t>
            </a:r>
            <a:r>
              <a:rPr lang="nb-NO" err="1"/>
              <a:t>various</a:t>
            </a:r>
            <a:r>
              <a:rPr lang="nb-NO"/>
              <a:t> systems/</a:t>
            </a:r>
            <a:r>
              <a:rPr lang="nb-NO" err="1"/>
              <a:t>languages</a:t>
            </a:r>
            <a:r>
              <a:rPr lang="nb-NO"/>
              <a:t>/</a:t>
            </a:r>
            <a:r>
              <a:rPr lang="nb-NO" err="1"/>
              <a:t>solutions</a:t>
            </a:r>
            <a:r>
              <a:rPr lang="nb-NO"/>
              <a:t> for lab purposes</a:t>
            </a:r>
          </a:p>
          <a:p>
            <a:pPr lvl="1"/>
            <a:r>
              <a:rPr lang="nb-NO" err="1"/>
              <a:t>Get</a:t>
            </a:r>
            <a:r>
              <a:rPr lang="nb-NO"/>
              <a:t> a lab </a:t>
            </a:r>
            <a:r>
              <a:rPr lang="nb-NO" err="1"/>
              <a:t>environment</a:t>
            </a:r>
            <a:r>
              <a:rPr lang="nb-NO"/>
              <a:t> up and </a:t>
            </a:r>
            <a:r>
              <a:rPr lang="nb-NO" err="1"/>
              <a:t>running</a:t>
            </a:r>
            <a:r>
              <a:rPr lang="nb-NO"/>
              <a:t> </a:t>
            </a:r>
            <a:r>
              <a:rPr lang="nb-NO" err="1"/>
              <a:t>on</a:t>
            </a:r>
            <a:r>
              <a:rPr lang="nb-NO"/>
              <a:t> </a:t>
            </a:r>
            <a:r>
              <a:rPr lang="nb-NO" err="1"/>
              <a:t>your</a:t>
            </a:r>
            <a:r>
              <a:rPr lang="nb-NO"/>
              <a:t> </a:t>
            </a:r>
            <a:r>
              <a:rPr lang="nb-NO" err="1"/>
              <a:t>own</a:t>
            </a:r>
            <a:r>
              <a:rPr lang="nb-NO"/>
              <a:t> laptop</a:t>
            </a:r>
          </a:p>
          <a:p>
            <a:pPr lvl="1"/>
            <a:r>
              <a:rPr lang="nb-NO" err="1"/>
              <a:t>Some</a:t>
            </a:r>
            <a:r>
              <a:rPr lang="nb-NO"/>
              <a:t> </a:t>
            </a:r>
            <a:r>
              <a:rPr lang="nb-NO" err="1"/>
              <a:t>nice</a:t>
            </a:r>
            <a:r>
              <a:rPr lang="nb-NO"/>
              <a:t> </a:t>
            </a:r>
            <a:r>
              <a:rPr lang="nb-NO" err="1"/>
              <a:t>examples</a:t>
            </a:r>
            <a:r>
              <a:rPr lang="nb-NO"/>
              <a:t> to </a:t>
            </a:r>
            <a:r>
              <a:rPr lang="nb-NO" err="1"/>
              <a:t>try</a:t>
            </a:r>
            <a:r>
              <a:rPr lang="nb-NO"/>
              <a:t> </a:t>
            </a:r>
            <a:r>
              <a:rPr lang="nb-NO" err="1"/>
              <a:t>various</a:t>
            </a:r>
            <a:r>
              <a:rPr lang="nb-NO"/>
              <a:t> </a:t>
            </a:r>
            <a:r>
              <a:rPr lang="nb-NO" err="1"/>
              <a:t>aspects</a:t>
            </a:r>
            <a:r>
              <a:rPr lang="nb-NO"/>
              <a:t> </a:t>
            </a:r>
            <a:r>
              <a:rPr lang="nb-NO" err="1"/>
              <a:t>of</a:t>
            </a:r>
            <a:r>
              <a:rPr lang="nb-NO"/>
              <a:t> </a:t>
            </a:r>
            <a:r>
              <a:rPr lang="nb-NO" err="1"/>
              <a:t>automation</a:t>
            </a:r>
            <a:endParaRPr lang="nb-NO"/>
          </a:p>
          <a:p>
            <a:pPr lvl="1"/>
            <a:r>
              <a:rPr lang="nb-NO" err="1"/>
              <a:t>Inspiring</a:t>
            </a:r>
            <a:r>
              <a:rPr lang="nb-NO"/>
              <a:t> </a:t>
            </a:r>
            <a:r>
              <a:rPr lang="nb-NO" err="1"/>
              <a:t>you</a:t>
            </a:r>
            <a:r>
              <a:rPr lang="nb-NO"/>
              <a:t> to </a:t>
            </a:r>
            <a:r>
              <a:rPr lang="nb-NO" err="1"/>
              <a:t>explore</a:t>
            </a:r>
            <a:r>
              <a:rPr lang="nb-NO"/>
              <a:t> </a:t>
            </a:r>
            <a:r>
              <a:rPr lang="nb-NO" err="1"/>
              <a:t>deeper</a:t>
            </a:r>
            <a:r>
              <a:rPr lang="nb-NO"/>
              <a:t> </a:t>
            </a:r>
            <a:r>
              <a:rPr lang="nb-NO" err="1"/>
              <a:t>on</a:t>
            </a:r>
            <a:r>
              <a:rPr lang="nb-NO"/>
              <a:t> </a:t>
            </a:r>
            <a:r>
              <a:rPr lang="nb-NO" err="1"/>
              <a:t>your</a:t>
            </a:r>
            <a:r>
              <a:rPr lang="nb-NO"/>
              <a:t> </a:t>
            </a:r>
            <a:r>
              <a:rPr lang="nb-NO" err="1"/>
              <a:t>own</a:t>
            </a:r>
            <a:endParaRPr lang="nb-NO"/>
          </a:p>
          <a:p>
            <a:r>
              <a:rPr lang="nb-NO"/>
              <a:t>Out </a:t>
            </a:r>
            <a:r>
              <a:rPr lang="nb-NO" err="1"/>
              <a:t>of</a:t>
            </a:r>
            <a:r>
              <a:rPr lang="nb-NO"/>
              <a:t> </a:t>
            </a:r>
            <a:r>
              <a:rPr lang="nb-NO" err="1"/>
              <a:t>scope</a:t>
            </a:r>
            <a:r>
              <a:rPr lang="nb-NO"/>
              <a:t> </a:t>
            </a:r>
            <a:r>
              <a:rPr lang="nb-NO" err="1"/>
              <a:t>topics</a:t>
            </a:r>
            <a:endParaRPr lang="nb-NO"/>
          </a:p>
          <a:p>
            <a:pPr lvl="1"/>
            <a:r>
              <a:rPr lang="nb-NO" err="1"/>
              <a:t>Git</a:t>
            </a:r>
            <a:endParaRPr lang="nb-NO"/>
          </a:p>
          <a:p>
            <a:pPr lvl="1"/>
            <a:r>
              <a:rPr lang="nb-NO"/>
              <a:t>Learning </a:t>
            </a:r>
            <a:r>
              <a:rPr lang="nb-NO" err="1"/>
              <a:t>the</a:t>
            </a:r>
            <a:r>
              <a:rPr lang="nb-NO"/>
              <a:t> </a:t>
            </a:r>
            <a:r>
              <a:rPr lang="nb-NO" err="1"/>
              <a:t>languages</a:t>
            </a:r>
            <a:r>
              <a:rPr lang="nb-NO"/>
              <a:t> (</a:t>
            </a:r>
            <a:r>
              <a:rPr lang="nb-NO" err="1"/>
              <a:t>Ansible</a:t>
            </a:r>
            <a:r>
              <a:rPr lang="nb-NO"/>
              <a:t>, Python, </a:t>
            </a:r>
            <a:r>
              <a:rPr lang="nb-NO" err="1"/>
              <a:t>InfluxQL</a:t>
            </a:r>
            <a:r>
              <a:rPr lang="nb-NO"/>
              <a:t>, </a:t>
            </a:r>
            <a:r>
              <a:rPr lang="nb-NO" err="1"/>
              <a:t>etc</a:t>
            </a:r>
            <a:r>
              <a:rPr lang="nb-NO"/>
              <a:t>)</a:t>
            </a:r>
          </a:p>
          <a:p>
            <a:pPr lvl="1"/>
            <a:r>
              <a:rPr lang="nb-NO" err="1"/>
              <a:t>Deploying</a:t>
            </a:r>
            <a:r>
              <a:rPr lang="nb-NO"/>
              <a:t> </a:t>
            </a:r>
            <a:r>
              <a:rPr lang="nb-NO" err="1"/>
              <a:t>the</a:t>
            </a:r>
            <a:r>
              <a:rPr lang="nb-NO"/>
              <a:t> systems for </a:t>
            </a:r>
            <a:r>
              <a:rPr lang="nb-NO" err="1"/>
              <a:t>production</a:t>
            </a:r>
            <a:r>
              <a:rPr lang="nb-NO"/>
              <a:t> </a:t>
            </a:r>
            <a:r>
              <a:rPr lang="nb-NO" err="1"/>
              <a:t>use</a:t>
            </a:r>
            <a:endParaRPr lang="nb-NO"/>
          </a:p>
          <a:p>
            <a:pPr lvl="1"/>
            <a:endParaRPr lang="nb-NO"/>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04162DF8-DA6B-0C05-E682-1ACFDB6ABE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321594" y="269999"/>
            <a:ext cx="10099155" cy="5812485"/>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10" name="Title 9">
            <a:extLst>
              <a:ext uri="{FF2B5EF4-FFF2-40B4-BE49-F238E27FC236}">
                <a16:creationId xmlns:a16="http://schemas.microsoft.com/office/drawing/2014/main" id="{6EB95855-BA56-A1F6-5B13-3868BD47F00C}"/>
              </a:ext>
            </a:extLst>
          </p:cNvPr>
          <p:cNvSpPr>
            <a:spLocks noGrp="1"/>
          </p:cNvSpPr>
          <p:nvPr>
            <p:ph type="title"/>
          </p:nvPr>
        </p:nvSpPr>
        <p:spPr>
          <a:xfrm>
            <a:off x="50240" y="270000"/>
            <a:ext cx="2660400" cy="540000"/>
          </a:xfrm>
        </p:spPr>
        <p:txBody>
          <a:bodyPr/>
          <a:lstStyle/>
          <a:p>
            <a:r>
              <a:rPr lang="nb-NO" err="1"/>
              <a:t>Topology</a:t>
            </a:r>
            <a:endParaRPr lang="nb-NO"/>
          </a:p>
        </p:txBody>
      </p:sp>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7FD3C0-83D3-4BD4-9F4F-A20B4E974B4E}">
  <ds:schemaRefs>
    <ds:schemaRef ds:uri="http://schemas.microsoft.com/sharepoint/v3/contenttype/forms"/>
  </ds:schemaRefs>
</ds:datastoreItem>
</file>

<file path=customXml/itemProps2.xml><?xml version="1.0" encoding="utf-8"?>
<ds:datastoreItem xmlns:ds="http://schemas.openxmlformats.org/officeDocument/2006/customXml" ds:itemID="{A9301065-C283-49CD-B802-A734C7C8E1EB}">
  <ds:schemaRefs>
    <ds:schemaRef ds:uri="http://www.w3.org/XML/1998/namespace"/>
    <ds:schemaRef ds:uri="299cf371-7032-47c8-b990-b0924425b877"/>
    <ds:schemaRef ds:uri="http://purl.org/dc/dcmitype/"/>
    <ds:schemaRef ds:uri="http://schemas.microsoft.com/office/infopath/2007/PartnerControls"/>
    <ds:schemaRef ds:uri="http://purl.org/dc/elements/1.1/"/>
    <ds:schemaRef ds:uri="http://purl.org/dc/terms/"/>
    <ds:schemaRef ds:uri="c4409e51-a2f5-4802-96f4-88cbb7d24b63"/>
    <ds:schemaRef ds:uri="http://schemas.microsoft.com/office/2006/documentManagement/type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F29A316A-F2BD-4716-B15F-6E86E905B0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4339</TotalTime>
  <Words>1345</Words>
  <Application>Microsoft Office PowerPoint</Application>
  <PresentationFormat>Custom</PresentationFormat>
  <Paragraphs>344</Paragraphs>
  <Slides>22</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Arial</vt:lpstr>
      <vt:lpstr>Intel One Mono</vt:lpstr>
      <vt:lpstr>Source Sans Pro</vt:lpstr>
      <vt:lpstr>Tahoma</vt:lpstr>
      <vt:lpstr>Verdana</vt:lpstr>
      <vt:lpstr>Wingdings</vt:lpstr>
      <vt:lpstr>TELENOR GROUP</vt:lpstr>
      <vt:lpstr>think-cell Slide</vt:lpstr>
      <vt:lpstr>Build your own Wi-Fi automation lab Day 1 presentations</vt:lpstr>
      <vt:lpstr>References / inspiration</vt:lpstr>
      <vt:lpstr>Copyright</vt:lpstr>
      <vt:lpstr>Prerequisites</vt:lpstr>
      <vt:lpstr>Communications</vt:lpstr>
      <vt:lpstr>Agenda</vt:lpstr>
      <vt:lpstr>Agenda - About Day 2 choices...</vt:lpstr>
      <vt:lpstr>Scope</vt:lpstr>
      <vt:lpstr>Topology</vt:lpstr>
      <vt:lpstr>About us</vt:lpstr>
      <vt:lpstr>Automation in the Wi-Fi lifecycle</vt:lpstr>
      <vt:lpstr>VirtualBox - Type 1 vs Type 2 hypervisors</vt:lpstr>
      <vt:lpstr>WLAN Controllers</vt:lpstr>
      <vt:lpstr>Ubuntu Server</vt:lpstr>
      <vt:lpstr>Docker</vt:lpstr>
      <vt:lpstr>Postman</vt:lpstr>
      <vt:lpstr>VS Code</vt:lpstr>
      <vt:lpstr>YANG Suite</vt:lpstr>
      <vt:lpstr>TIG Stack</vt:lpstr>
      <vt:lpstr>Ansible</vt:lpstr>
      <vt:lpstr>Pod numbers</vt:lpstr>
      <vt:lpstr>Feedback on pre-lab tas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nor Group | PowerPoint Template 16:9</dc:title>
  <dc:creator>expoadmin</dc:creator>
  <dc:description>www.telenor.com</dc:description>
  <cp:lastModifiedBy>Andreas Koksrud</cp:lastModifiedBy>
  <cp:revision>27</cp:revision>
  <dcterms:created xsi:type="dcterms:W3CDTF">2015-11-26T10:37:47Z</dcterms:created>
  <dcterms:modified xsi:type="dcterms:W3CDTF">2024-10-17T11:2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ies>
</file>